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ppt/charts/chart4.xml" ContentType="application/vnd.openxmlformats-officedocument.drawingml.chart+xml"/>
  <Override PartName="/ppt/drawings/drawing1.xml" ContentType="application/vnd.openxmlformats-officedocument.drawingml.chartshapes+xml"/>
  <Override PartName="/ppt/charts/chart5.xml" ContentType="application/vnd.openxmlformats-officedocument.drawingml.chart+xml"/>
  <Override PartName="/ppt/drawings/drawing2.xml" ContentType="application/vnd.openxmlformats-officedocument.drawingml.chartshapes+xml"/>
  <Override PartName="/ppt/charts/chart6.xml" ContentType="application/vnd.openxmlformats-officedocument.drawingml.chart+xml"/>
  <Override PartName="/ppt/drawings/drawing3.xml" ContentType="application/vnd.openxmlformats-officedocument.drawingml.chartshape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9.xml" ContentType="application/vnd.openxmlformats-officedocument.presentationml.notesSlide+xml"/>
  <Override PartName="/ppt/charts/chart7.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8"/>
  </p:notesMasterIdLst>
  <p:sldIdLst>
    <p:sldId id="267" r:id="rId2"/>
    <p:sldId id="266" r:id="rId3"/>
    <p:sldId id="302" r:id="rId4"/>
    <p:sldId id="282" r:id="rId5"/>
    <p:sldId id="303" r:id="rId6"/>
    <p:sldId id="269" r:id="rId7"/>
    <p:sldId id="280" r:id="rId8"/>
    <p:sldId id="284" r:id="rId9"/>
    <p:sldId id="279" r:id="rId10"/>
    <p:sldId id="273" r:id="rId11"/>
    <p:sldId id="261" r:id="rId12"/>
    <p:sldId id="271" r:id="rId13"/>
    <p:sldId id="270" r:id="rId14"/>
    <p:sldId id="283" r:id="rId15"/>
    <p:sldId id="268" r:id="rId16"/>
    <p:sldId id="305" r:id="rId17"/>
    <p:sldId id="272" r:id="rId18"/>
    <p:sldId id="297" r:id="rId19"/>
    <p:sldId id="307" r:id="rId20"/>
    <p:sldId id="256" r:id="rId21"/>
    <p:sldId id="290" r:id="rId22"/>
    <p:sldId id="257" r:id="rId23"/>
    <p:sldId id="285" r:id="rId24"/>
    <p:sldId id="278" r:id="rId25"/>
    <p:sldId id="287" r:id="rId26"/>
    <p:sldId id="260" r:id="rId27"/>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risnawanugroho" initials="t" lastIdx="13" clrIdx="0">
    <p:extLst>
      <p:ext uri="{19B8F6BF-5375-455C-9EA6-DF929625EA0E}">
        <p15:presenceInfo xmlns:p15="http://schemas.microsoft.com/office/powerpoint/2012/main" userId="trisnawanugroh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CBD8"/>
    <a:srgbClr val="F3EAF1"/>
    <a:srgbClr val="652D74"/>
    <a:srgbClr val="F2EAF1"/>
    <a:srgbClr val="883E77"/>
    <a:srgbClr val="8D198E"/>
    <a:srgbClr val="834C88"/>
    <a:srgbClr val="F2F2F2"/>
    <a:srgbClr val="A53975"/>
    <a:srgbClr val="1F8492"/>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165" autoAdjust="0"/>
  </p:normalViewPr>
  <p:slideViewPr>
    <p:cSldViewPr snapToGrid="0">
      <p:cViewPr varScale="1">
        <p:scale>
          <a:sx n="85" d="100"/>
          <a:sy n="85" d="100"/>
        </p:scale>
        <p:origin x="590" y="48"/>
      </p:cViewPr>
      <p:guideLst>
        <p:guide pos="3840"/>
        <p:guide orient="horz" pos="2160"/>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commentAuthors" Target="commentAuthor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00000000000001E-3"/>
          <c:y val="5.000000000000001E-3"/>
          <c:w val="0.99"/>
          <c:h val="0.98749999999999993"/>
        </c:manualLayout>
      </c:layout>
      <c:pieChart>
        <c:varyColors val="0"/>
        <c:ser>
          <c:idx val="0"/>
          <c:order val="0"/>
          <c:tx>
            <c:strRef>
              <c:f>Sheet1!$A$2</c:f>
              <c:strCache>
                <c:ptCount val="1"/>
                <c:pt idx="0">
                  <c:v>Region 1</c:v>
                </c:pt>
              </c:strCache>
            </c:strRef>
          </c:tx>
          <c:spPr>
            <a:solidFill>
              <a:srgbClr val="A4AADB"/>
            </a:solidFill>
            <a:ln w="12700" cap="flat">
              <a:noFill/>
              <a:miter lim="400000"/>
            </a:ln>
            <a:effectLst/>
          </c:spPr>
          <c:dPt>
            <c:idx val="1"/>
            <c:bubble3D val="0"/>
            <c:spPr>
              <a:solidFill>
                <a:srgbClr val="E583B7"/>
              </a:solidFill>
              <a:ln w="12700" cap="flat">
                <a:noFill/>
                <a:miter lim="400000"/>
              </a:ln>
              <a:effectLst/>
            </c:spPr>
            <c:extLst>
              <c:ext xmlns:c16="http://schemas.microsoft.com/office/drawing/2014/chart" uri="{C3380CC4-5D6E-409C-BE32-E72D297353CC}">
                <c16:uniqueId val="{00000003-A35C-47D8-B4FA-2D30B29F592D}"/>
              </c:ext>
            </c:extLst>
          </c:dPt>
          <c:dPt>
            <c:idx val="2"/>
            <c:bubble3D val="0"/>
            <c:spPr>
              <a:solidFill>
                <a:srgbClr val="1D1F30"/>
              </a:solidFill>
              <a:ln w="12700" cap="flat">
                <a:noFill/>
                <a:miter lim="400000"/>
              </a:ln>
              <a:effectLst/>
            </c:spPr>
            <c:extLst>
              <c:ext xmlns:c16="http://schemas.microsoft.com/office/drawing/2014/chart" uri="{C3380CC4-5D6E-409C-BE32-E72D297353CC}">
                <c16:uniqueId val="{00000005-A35C-47D8-B4FA-2D30B29F592D}"/>
              </c:ext>
            </c:extLst>
          </c:dPt>
          <c:cat>
            <c:strRef>
              <c:f>Sheet1!$B$1:$D$1</c:f>
              <c:strCache>
                <c:ptCount val="3"/>
                <c:pt idx="0">
                  <c:v>April</c:v>
                </c:pt>
                <c:pt idx="1">
                  <c:v>May</c:v>
                </c:pt>
                <c:pt idx="2">
                  <c:v>June</c:v>
                </c:pt>
              </c:strCache>
            </c:strRef>
          </c:cat>
          <c:val>
            <c:numRef>
              <c:f>Sheet1!$B$2:$D$2</c:f>
              <c:numCache>
                <c:formatCode>\О\с\н\о\в\н\о\й</c:formatCode>
                <c:ptCount val="3"/>
                <c:pt idx="0">
                  <c:v>91</c:v>
                </c:pt>
                <c:pt idx="1">
                  <c:v>76</c:v>
                </c:pt>
                <c:pt idx="2">
                  <c:v>28</c:v>
                </c:pt>
              </c:numCache>
            </c:numRef>
          </c:val>
          <c:extLst>
            <c:ext xmlns:c16="http://schemas.microsoft.com/office/drawing/2014/chart" uri="{C3380CC4-5D6E-409C-BE32-E72D297353CC}">
              <c16:uniqueId val="{00000006-A35C-47D8-B4FA-2D30B29F592D}"/>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zero"/>
    <c:showDLblsOverMax val="1"/>
  </c:chart>
  <c:spPr>
    <a:noFill/>
    <a:ln>
      <a:noFill/>
    </a:ln>
    <a:effectLst/>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00000000000001E-3"/>
          <c:y val="5.000000000000001E-3"/>
          <c:w val="0.99"/>
          <c:h val="0.98749999999999993"/>
        </c:manualLayout>
      </c:layout>
      <c:pieChart>
        <c:varyColors val="0"/>
        <c:ser>
          <c:idx val="0"/>
          <c:order val="0"/>
          <c:tx>
            <c:strRef>
              <c:f>Sheet1!$A$2</c:f>
              <c:strCache>
                <c:ptCount val="1"/>
                <c:pt idx="0">
                  <c:v>Region 1</c:v>
                </c:pt>
              </c:strCache>
            </c:strRef>
          </c:tx>
          <c:spPr>
            <a:solidFill>
              <a:srgbClr val="A4AADB"/>
            </a:solidFill>
            <a:ln w="12700" cap="flat">
              <a:noFill/>
              <a:miter lim="400000"/>
            </a:ln>
            <a:effectLst/>
          </c:spPr>
          <c:dPt>
            <c:idx val="1"/>
            <c:bubble3D val="0"/>
            <c:spPr>
              <a:solidFill>
                <a:srgbClr val="E583B7"/>
              </a:solidFill>
              <a:ln w="12700" cap="flat">
                <a:noFill/>
                <a:miter lim="400000"/>
              </a:ln>
              <a:effectLst/>
            </c:spPr>
            <c:extLst>
              <c:ext xmlns:c16="http://schemas.microsoft.com/office/drawing/2014/chart" uri="{C3380CC4-5D6E-409C-BE32-E72D297353CC}">
                <c16:uniqueId val="{00000003-F6C1-4005-AC0A-D2FA780C1A17}"/>
              </c:ext>
            </c:extLst>
          </c:dPt>
          <c:dPt>
            <c:idx val="2"/>
            <c:bubble3D val="0"/>
            <c:spPr>
              <a:solidFill>
                <a:srgbClr val="1D1F30"/>
              </a:solidFill>
              <a:ln w="12700" cap="flat">
                <a:noFill/>
                <a:miter lim="400000"/>
              </a:ln>
              <a:effectLst/>
            </c:spPr>
            <c:extLst>
              <c:ext xmlns:c16="http://schemas.microsoft.com/office/drawing/2014/chart" uri="{C3380CC4-5D6E-409C-BE32-E72D297353CC}">
                <c16:uniqueId val="{00000005-F6C1-4005-AC0A-D2FA780C1A17}"/>
              </c:ext>
            </c:extLst>
          </c:dPt>
          <c:cat>
            <c:strRef>
              <c:f>Sheet1!$B$1:$D$1</c:f>
              <c:strCache>
                <c:ptCount val="3"/>
                <c:pt idx="0">
                  <c:v>April</c:v>
                </c:pt>
                <c:pt idx="1">
                  <c:v>May</c:v>
                </c:pt>
                <c:pt idx="2">
                  <c:v>June</c:v>
                </c:pt>
              </c:strCache>
            </c:strRef>
          </c:cat>
          <c:val>
            <c:numRef>
              <c:f>Sheet1!$B$2:$D$2</c:f>
              <c:numCache>
                <c:formatCode>\О\с\н\о\в\н\о\й</c:formatCode>
                <c:ptCount val="3"/>
                <c:pt idx="0">
                  <c:v>91</c:v>
                </c:pt>
                <c:pt idx="1">
                  <c:v>76</c:v>
                </c:pt>
                <c:pt idx="2">
                  <c:v>28</c:v>
                </c:pt>
              </c:numCache>
            </c:numRef>
          </c:val>
          <c:extLst>
            <c:ext xmlns:c16="http://schemas.microsoft.com/office/drawing/2014/chart" uri="{C3380CC4-5D6E-409C-BE32-E72D297353CC}">
              <c16:uniqueId val="{00000006-F6C1-4005-AC0A-D2FA780C1A17}"/>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zero"/>
    <c:showDLblsOverMax val="1"/>
  </c:chart>
  <c:spPr>
    <a:noFill/>
    <a:ln>
      <a:noFill/>
    </a:ln>
    <a:effectLst/>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00000000000001E-3"/>
          <c:y val="5.000000000000001E-3"/>
          <c:w val="0.99"/>
          <c:h val="0.98749999999999993"/>
        </c:manualLayout>
      </c:layout>
      <c:pieChart>
        <c:varyColors val="0"/>
        <c:ser>
          <c:idx val="0"/>
          <c:order val="0"/>
          <c:tx>
            <c:strRef>
              <c:f>Sheet1!$A$2</c:f>
              <c:strCache>
                <c:ptCount val="1"/>
                <c:pt idx="0">
                  <c:v>Region 1</c:v>
                </c:pt>
              </c:strCache>
            </c:strRef>
          </c:tx>
          <c:spPr>
            <a:solidFill>
              <a:srgbClr val="A4AADB"/>
            </a:solidFill>
            <a:ln w="12700" cap="flat">
              <a:noFill/>
              <a:miter lim="400000"/>
            </a:ln>
            <a:effectLst/>
          </c:spPr>
          <c:dPt>
            <c:idx val="1"/>
            <c:bubble3D val="0"/>
            <c:spPr>
              <a:solidFill>
                <a:srgbClr val="E583B7"/>
              </a:solidFill>
              <a:ln w="12700" cap="flat">
                <a:noFill/>
                <a:miter lim="400000"/>
              </a:ln>
              <a:effectLst/>
            </c:spPr>
            <c:extLst>
              <c:ext xmlns:c16="http://schemas.microsoft.com/office/drawing/2014/chart" uri="{C3380CC4-5D6E-409C-BE32-E72D297353CC}">
                <c16:uniqueId val="{00000003-808A-4458-B07E-612B7260A376}"/>
              </c:ext>
            </c:extLst>
          </c:dPt>
          <c:dPt>
            <c:idx val="2"/>
            <c:bubble3D val="0"/>
            <c:spPr>
              <a:solidFill>
                <a:srgbClr val="1D1F30"/>
              </a:solidFill>
              <a:ln w="12700" cap="flat">
                <a:noFill/>
                <a:miter lim="400000"/>
              </a:ln>
              <a:effectLst/>
            </c:spPr>
            <c:extLst>
              <c:ext xmlns:c16="http://schemas.microsoft.com/office/drawing/2014/chart" uri="{C3380CC4-5D6E-409C-BE32-E72D297353CC}">
                <c16:uniqueId val="{00000005-808A-4458-B07E-612B7260A376}"/>
              </c:ext>
            </c:extLst>
          </c:dPt>
          <c:cat>
            <c:strRef>
              <c:f>Sheet1!$B$1:$D$1</c:f>
              <c:strCache>
                <c:ptCount val="3"/>
                <c:pt idx="0">
                  <c:v>April</c:v>
                </c:pt>
                <c:pt idx="1">
                  <c:v>May</c:v>
                </c:pt>
                <c:pt idx="2">
                  <c:v>June</c:v>
                </c:pt>
              </c:strCache>
            </c:strRef>
          </c:cat>
          <c:val>
            <c:numRef>
              <c:f>Sheet1!$B$2:$D$2</c:f>
              <c:numCache>
                <c:formatCode>\О\с\н\о\в\н\о\й</c:formatCode>
                <c:ptCount val="3"/>
                <c:pt idx="0">
                  <c:v>91</c:v>
                </c:pt>
                <c:pt idx="1">
                  <c:v>76</c:v>
                </c:pt>
                <c:pt idx="2">
                  <c:v>28</c:v>
                </c:pt>
              </c:numCache>
            </c:numRef>
          </c:val>
          <c:extLst>
            <c:ext xmlns:c16="http://schemas.microsoft.com/office/drawing/2014/chart" uri="{C3380CC4-5D6E-409C-BE32-E72D297353CC}">
              <c16:uniqueId val="{00000006-808A-4458-B07E-612B7260A376}"/>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zero"/>
    <c:showDLblsOverMax val="1"/>
  </c:chart>
  <c:spPr>
    <a:noFill/>
    <a:ln>
      <a:noFill/>
    </a:ln>
    <a:effectLst/>
  </c:sp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filled"/>
        <c:varyColors val="0"/>
        <c:ser>
          <c:idx val="0"/>
          <c:order val="0"/>
          <c:tx>
            <c:strRef>
              <c:f>Sheet1!$B$1</c:f>
              <c:strCache>
                <c:ptCount val="1"/>
                <c:pt idx="0">
                  <c:v>Sales</c:v>
                </c:pt>
              </c:strCache>
            </c:strRef>
          </c:tx>
          <c:spPr>
            <a:solidFill>
              <a:srgbClr val="8D198E"/>
            </a:solidFill>
            <a:ln w="19050">
              <a:noFill/>
            </a:ln>
            <a:effectLst/>
          </c:spPr>
          <c:dPt>
            <c:idx val="0"/>
            <c:bubble3D val="0"/>
            <c:spPr>
              <a:solidFill>
                <a:schemeClr val="bg1">
                  <a:lumMod val="50000"/>
                </a:schemeClr>
              </a:solidFill>
              <a:ln w="19050">
                <a:noFill/>
              </a:ln>
              <a:effectLst/>
            </c:spPr>
            <c:extLst>
              <c:ext xmlns:c16="http://schemas.microsoft.com/office/drawing/2014/chart" uri="{C3380CC4-5D6E-409C-BE32-E72D297353CC}">
                <c16:uniqueId val="{00000005-0B7B-4FC3-8F14-6901076BDFA1}"/>
              </c:ext>
            </c:extLst>
          </c:dPt>
          <c:dPt>
            <c:idx val="1"/>
            <c:bubble3D val="0"/>
            <c:spPr>
              <a:solidFill>
                <a:schemeClr val="bg1">
                  <a:lumMod val="65000"/>
                </a:schemeClr>
              </a:solidFill>
              <a:ln w="19050">
                <a:noFill/>
              </a:ln>
              <a:effectLst/>
            </c:spPr>
            <c:extLst>
              <c:ext xmlns:c16="http://schemas.microsoft.com/office/drawing/2014/chart" uri="{C3380CC4-5D6E-409C-BE32-E72D297353CC}">
                <c16:uniqueId val="{00000004-0B7B-4FC3-8F14-6901076BDFA1}"/>
              </c:ext>
            </c:extLst>
          </c:dPt>
          <c:dPt>
            <c:idx val="2"/>
            <c:bubble3D val="0"/>
            <c:spPr>
              <a:solidFill>
                <a:schemeClr val="bg1">
                  <a:lumMod val="75000"/>
                </a:schemeClr>
              </a:solidFill>
              <a:ln w="19050">
                <a:noFill/>
              </a:ln>
              <a:effectLst/>
            </c:spPr>
            <c:extLst>
              <c:ext xmlns:c16="http://schemas.microsoft.com/office/drawing/2014/chart" uri="{C3380CC4-5D6E-409C-BE32-E72D297353CC}">
                <c16:uniqueId val="{00000003-0B7B-4FC3-8F14-6901076BDFA1}"/>
              </c:ext>
            </c:extLst>
          </c:dPt>
          <c:dPt>
            <c:idx val="3"/>
            <c:bubble3D val="0"/>
            <c:spPr>
              <a:solidFill>
                <a:schemeClr val="bg1">
                  <a:lumMod val="85000"/>
                </a:schemeClr>
              </a:solidFill>
              <a:ln w="19050">
                <a:noFill/>
              </a:ln>
              <a:effectLst/>
            </c:spPr>
            <c:extLst>
              <c:ext xmlns:c16="http://schemas.microsoft.com/office/drawing/2014/chart" uri="{C3380CC4-5D6E-409C-BE32-E72D297353CC}">
                <c16:uniqueId val="{00000002-0B7B-4FC3-8F14-6901076BDFA1}"/>
              </c:ext>
            </c:extLst>
          </c:dPt>
          <c:cat>
            <c:strRef>
              <c:f>Sheet1!$A$2:$A$5</c:f>
              <c:strCache>
                <c:ptCount val="4"/>
                <c:pt idx="0">
                  <c:v>1st Qtr</c:v>
                </c:pt>
                <c:pt idx="1">
                  <c:v>2nd Qtr</c:v>
                </c:pt>
                <c:pt idx="2">
                  <c:v>3rd Qtr</c:v>
                </c:pt>
                <c:pt idx="3">
                  <c:v>4th Qtr</c:v>
                </c:pt>
              </c:strCache>
            </c:strRef>
          </c:cat>
          <c:val>
            <c:numRef>
              <c:f>Sheet1!$B$2:$B$5</c:f>
              <c:numCache>
                <c:formatCode>\О\с\н\о\в\н\о\й</c:formatCode>
                <c:ptCount val="4"/>
                <c:pt idx="0">
                  <c:v>8.2000000000000011</c:v>
                </c:pt>
                <c:pt idx="1">
                  <c:v>3.2</c:v>
                </c:pt>
                <c:pt idx="2">
                  <c:v>1.4</c:v>
                </c:pt>
                <c:pt idx="3">
                  <c:v>1.2</c:v>
                </c:pt>
              </c:numCache>
            </c:numRef>
          </c:val>
          <c:extLst>
            <c:ext xmlns:c16="http://schemas.microsoft.com/office/drawing/2014/chart" uri="{C3380CC4-5D6E-409C-BE32-E72D297353CC}">
              <c16:uniqueId val="{00000000-0B7B-4FC3-8F14-6901076BDFA1}"/>
            </c:ext>
          </c:extLst>
        </c:ser>
        <c:dLbls>
          <c:showLegendKey val="0"/>
          <c:showVal val="0"/>
          <c:showCatName val="0"/>
          <c:showSerName val="0"/>
          <c:showPercent val="0"/>
          <c:showBubbleSize val="0"/>
        </c:dLbls>
        <c:axId val="72718208"/>
        <c:axId val="72719744"/>
      </c:radarChart>
      <c:catAx>
        <c:axId val="7271820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IL"/>
          </a:p>
        </c:txPr>
        <c:crossAx val="72719744"/>
        <c:crosses val="autoZero"/>
        <c:auto val="1"/>
        <c:lblAlgn val="ctr"/>
        <c:lblOffset val="100"/>
        <c:noMultiLvlLbl val="0"/>
      </c:catAx>
      <c:valAx>
        <c:axId val="72719744"/>
        <c:scaling>
          <c:orientation val="minMax"/>
        </c:scaling>
        <c:delete val="1"/>
        <c:axPos val="l"/>
        <c:majorGridlines>
          <c:spPr>
            <a:ln w="9525" cap="flat" cmpd="sng" algn="ctr">
              <a:solidFill>
                <a:schemeClr val="tx1">
                  <a:lumMod val="15000"/>
                  <a:lumOff val="85000"/>
                </a:schemeClr>
              </a:solidFill>
              <a:round/>
            </a:ln>
            <a:effectLst/>
          </c:spPr>
        </c:majorGridlines>
        <c:numFmt formatCode="\О\с\н\о\в\н\о\й" sourceLinked="1"/>
        <c:majorTickMark val="out"/>
        <c:minorTickMark val="none"/>
        <c:tickLblPos val="nextTo"/>
        <c:crossAx val="72718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IL"/>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filled"/>
        <c:varyColors val="0"/>
        <c:ser>
          <c:idx val="0"/>
          <c:order val="0"/>
          <c:tx>
            <c:strRef>
              <c:f>Sheet1!$B$1</c:f>
              <c:strCache>
                <c:ptCount val="1"/>
                <c:pt idx="0">
                  <c:v>Sales</c:v>
                </c:pt>
              </c:strCache>
            </c:strRef>
          </c:tx>
          <c:spPr>
            <a:solidFill>
              <a:srgbClr val="8D198E"/>
            </a:solidFill>
            <a:ln w="19050">
              <a:noFill/>
            </a:ln>
            <a:effectLst/>
          </c:spPr>
          <c:dPt>
            <c:idx val="0"/>
            <c:bubble3D val="0"/>
            <c:spPr>
              <a:solidFill>
                <a:schemeClr val="bg1">
                  <a:lumMod val="50000"/>
                </a:schemeClr>
              </a:solidFill>
              <a:ln w="19050">
                <a:noFill/>
              </a:ln>
              <a:effectLst/>
            </c:spPr>
            <c:extLst>
              <c:ext xmlns:c16="http://schemas.microsoft.com/office/drawing/2014/chart" uri="{C3380CC4-5D6E-409C-BE32-E72D297353CC}">
                <c16:uniqueId val="{00000005-0B7B-4FC3-8F14-6901076BDFA1}"/>
              </c:ext>
            </c:extLst>
          </c:dPt>
          <c:dPt>
            <c:idx val="1"/>
            <c:bubble3D val="0"/>
            <c:spPr>
              <a:solidFill>
                <a:schemeClr val="bg1">
                  <a:lumMod val="65000"/>
                </a:schemeClr>
              </a:solidFill>
              <a:ln w="19050">
                <a:noFill/>
              </a:ln>
              <a:effectLst/>
            </c:spPr>
            <c:extLst>
              <c:ext xmlns:c16="http://schemas.microsoft.com/office/drawing/2014/chart" uri="{C3380CC4-5D6E-409C-BE32-E72D297353CC}">
                <c16:uniqueId val="{00000004-0B7B-4FC3-8F14-6901076BDFA1}"/>
              </c:ext>
            </c:extLst>
          </c:dPt>
          <c:dPt>
            <c:idx val="2"/>
            <c:bubble3D val="0"/>
            <c:spPr>
              <a:solidFill>
                <a:schemeClr val="bg1">
                  <a:lumMod val="75000"/>
                </a:schemeClr>
              </a:solidFill>
              <a:ln w="19050">
                <a:noFill/>
              </a:ln>
              <a:effectLst/>
            </c:spPr>
            <c:extLst>
              <c:ext xmlns:c16="http://schemas.microsoft.com/office/drawing/2014/chart" uri="{C3380CC4-5D6E-409C-BE32-E72D297353CC}">
                <c16:uniqueId val="{00000003-0B7B-4FC3-8F14-6901076BDFA1}"/>
              </c:ext>
            </c:extLst>
          </c:dPt>
          <c:dPt>
            <c:idx val="3"/>
            <c:bubble3D val="0"/>
            <c:spPr>
              <a:solidFill>
                <a:schemeClr val="bg1">
                  <a:lumMod val="85000"/>
                </a:schemeClr>
              </a:solidFill>
              <a:ln w="19050">
                <a:noFill/>
              </a:ln>
              <a:effectLst/>
            </c:spPr>
            <c:extLst>
              <c:ext xmlns:c16="http://schemas.microsoft.com/office/drawing/2014/chart" uri="{C3380CC4-5D6E-409C-BE32-E72D297353CC}">
                <c16:uniqueId val="{00000002-0B7B-4FC3-8F14-6901076BDFA1}"/>
              </c:ext>
            </c:extLst>
          </c:dPt>
          <c:cat>
            <c:strRef>
              <c:f>Sheet1!$A$2:$A$5</c:f>
              <c:strCache>
                <c:ptCount val="4"/>
                <c:pt idx="0">
                  <c:v>1st Qtr</c:v>
                </c:pt>
                <c:pt idx="1">
                  <c:v>2nd Qtr</c:v>
                </c:pt>
                <c:pt idx="2">
                  <c:v>3rd Qtr</c:v>
                </c:pt>
                <c:pt idx="3">
                  <c:v>4th Qtr</c:v>
                </c:pt>
              </c:strCache>
            </c:strRef>
          </c:cat>
          <c:val>
            <c:numRef>
              <c:f>Sheet1!$B$2:$B$5</c:f>
              <c:numCache>
                <c:formatCode>\О\с\н\о\в\н\о\й</c:formatCode>
                <c:ptCount val="4"/>
                <c:pt idx="0">
                  <c:v>2</c:v>
                </c:pt>
                <c:pt idx="1">
                  <c:v>10</c:v>
                </c:pt>
                <c:pt idx="2">
                  <c:v>7</c:v>
                </c:pt>
                <c:pt idx="3">
                  <c:v>1.2</c:v>
                </c:pt>
              </c:numCache>
            </c:numRef>
          </c:val>
          <c:extLst>
            <c:ext xmlns:c16="http://schemas.microsoft.com/office/drawing/2014/chart" uri="{C3380CC4-5D6E-409C-BE32-E72D297353CC}">
              <c16:uniqueId val="{00000000-0B7B-4FC3-8F14-6901076BDFA1}"/>
            </c:ext>
          </c:extLst>
        </c:ser>
        <c:dLbls>
          <c:showLegendKey val="0"/>
          <c:showVal val="0"/>
          <c:showCatName val="0"/>
          <c:showSerName val="0"/>
          <c:showPercent val="0"/>
          <c:showBubbleSize val="0"/>
        </c:dLbls>
        <c:axId val="72814976"/>
        <c:axId val="72816512"/>
      </c:radarChart>
      <c:catAx>
        <c:axId val="728149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IL"/>
          </a:p>
        </c:txPr>
        <c:crossAx val="72816512"/>
        <c:crosses val="autoZero"/>
        <c:auto val="1"/>
        <c:lblAlgn val="ctr"/>
        <c:lblOffset val="100"/>
        <c:noMultiLvlLbl val="0"/>
      </c:catAx>
      <c:valAx>
        <c:axId val="72816512"/>
        <c:scaling>
          <c:orientation val="minMax"/>
        </c:scaling>
        <c:delete val="1"/>
        <c:axPos val="l"/>
        <c:majorGridlines>
          <c:spPr>
            <a:ln w="9525" cap="flat" cmpd="sng" algn="ctr">
              <a:solidFill>
                <a:schemeClr val="tx1">
                  <a:lumMod val="15000"/>
                  <a:lumOff val="85000"/>
                </a:schemeClr>
              </a:solidFill>
              <a:round/>
            </a:ln>
            <a:effectLst/>
          </c:spPr>
        </c:majorGridlines>
        <c:numFmt formatCode="\О\с\н\о\в\н\о\й" sourceLinked="1"/>
        <c:majorTickMark val="out"/>
        <c:minorTickMark val="none"/>
        <c:tickLblPos val="nextTo"/>
        <c:crossAx val="728149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IL"/>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filled"/>
        <c:varyColors val="0"/>
        <c:ser>
          <c:idx val="0"/>
          <c:order val="0"/>
          <c:tx>
            <c:strRef>
              <c:f>Sheet1!$B$1</c:f>
              <c:strCache>
                <c:ptCount val="1"/>
                <c:pt idx="0">
                  <c:v>Sales</c:v>
                </c:pt>
              </c:strCache>
            </c:strRef>
          </c:tx>
          <c:spPr>
            <a:solidFill>
              <a:srgbClr val="8D198E"/>
            </a:solidFill>
            <a:ln w="19050">
              <a:noFill/>
            </a:ln>
            <a:effectLst/>
          </c:spPr>
          <c:dPt>
            <c:idx val="0"/>
            <c:bubble3D val="0"/>
            <c:spPr>
              <a:solidFill>
                <a:schemeClr val="bg1">
                  <a:lumMod val="50000"/>
                </a:schemeClr>
              </a:solidFill>
              <a:ln w="19050">
                <a:noFill/>
              </a:ln>
              <a:effectLst/>
            </c:spPr>
            <c:extLst>
              <c:ext xmlns:c16="http://schemas.microsoft.com/office/drawing/2014/chart" uri="{C3380CC4-5D6E-409C-BE32-E72D297353CC}">
                <c16:uniqueId val="{00000005-0B7B-4FC3-8F14-6901076BDFA1}"/>
              </c:ext>
            </c:extLst>
          </c:dPt>
          <c:dPt>
            <c:idx val="1"/>
            <c:bubble3D val="0"/>
            <c:spPr>
              <a:solidFill>
                <a:schemeClr val="bg1">
                  <a:lumMod val="65000"/>
                </a:schemeClr>
              </a:solidFill>
              <a:ln w="19050">
                <a:noFill/>
              </a:ln>
              <a:effectLst/>
            </c:spPr>
            <c:extLst>
              <c:ext xmlns:c16="http://schemas.microsoft.com/office/drawing/2014/chart" uri="{C3380CC4-5D6E-409C-BE32-E72D297353CC}">
                <c16:uniqueId val="{00000004-0B7B-4FC3-8F14-6901076BDFA1}"/>
              </c:ext>
            </c:extLst>
          </c:dPt>
          <c:dPt>
            <c:idx val="2"/>
            <c:bubble3D val="0"/>
            <c:spPr>
              <a:solidFill>
                <a:schemeClr val="bg1">
                  <a:lumMod val="75000"/>
                </a:schemeClr>
              </a:solidFill>
              <a:ln w="19050">
                <a:noFill/>
              </a:ln>
              <a:effectLst/>
            </c:spPr>
            <c:extLst>
              <c:ext xmlns:c16="http://schemas.microsoft.com/office/drawing/2014/chart" uri="{C3380CC4-5D6E-409C-BE32-E72D297353CC}">
                <c16:uniqueId val="{00000003-0B7B-4FC3-8F14-6901076BDFA1}"/>
              </c:ext>
            </c:extLst>
          </c:dPt>
          <c:dPt>
            <c:idx val="3"/>
            <c:bubble3D val="0"/>
            <c:spPr>
              <a:solidFill>
                <a:schemeClr val="bg1">
                  <a:lumMod val="85000"/>
                </a:schemeClr>
              </a:solidFill>
              <a:ln w="19050">
                <a:noFill/>
              </a:ln>
              <a:effectLst/>
            </c:spPr>
            <c:extLst>
              <c:ext xmlns:c16="http://schemas.microsoft.com/office/drawing/2014/chart" uri="{C3380CC4-5D6E-409C-BE32-E72D297353CC}">
                <c16:uniqueId val="{00000002-0B7B-4FC3-8F14-6901076BDFA1}"/>
              </c:ext>
            </c:extLst>
          </c:dPt>
          <c:cat>
            <c:strRef>
              <c:f>Sheet1!$A$2:$A$5</c:f>
              <c:strCache>
                <c:ptCount val="4"/>
                <c:pt idx="0">
                  <c:v>1st Qtr</c:v>
                </c:pt>
                <c:pt idx="1">
                  <c:v>2nd Qtr</c:v>
                </c:pt>
                <c:pt idx="2">
                  <c:v>3rd Qtr</c:v>
                </c:pt>
                <c:pt idx="3">
                  <c:v>4th Qtr</c:v>
                </c:pt>
              </c:strCache>
            </c:strRef>
          </c:cat>
          <c:val>
            <c:numRef>
              <c:f>Sheet1!$B$2:$B$5</c:f>
              <c:numCache>
                <c:formatCode>\О\с\н\о\в\н\о\й</c:formatCode>
                <c:ptCount val="4"/>
                <c:pt idx="0">
                  <c:v>5</c:v>
                </c:pt>
                <c:pt idx="1">
                  <c:v>5</c:v>
                </c:pt>
                <c:pt idx="2">
                  <c:v>1</c:v>
                </c:pt>
                <c:pt idx="3">
                  <c:v>4</c:v>
                </c:pt>
              </c:numCache>
            </c:numRef>
          </c:val>
          <c:extLst>
            <c:ext xmlns:c16="http://schemas.microsoft.com/office/drawing/2014/chart" uri="{C3380CC4-5D6E-409C-BE32-E72D297353CC}">
              <c16:uniqueId val="{00000000-0B7B-4FC3-8F14-6901076BDFA1}"/>
            </c:ext>
          </c:extLst>
        </c:ser>
        <c:dLbls>
          <c:showLegendKey val="0"/>
          <c:showVal val="0"/>
          <c:showCatName val="0"/>
          <c:showSerName val="0"/>
          <c:showPercent val="0"/>
          <c:showBubbleSize val="0"/>
        </c:dLbls>
        <c:axId val="72845952"/>
        <c:axId val="72851840"/>
      </c:radarChart>
      <c:catAx>
        <c:axId val="72845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IL"/>
          </a:p>
        </c:txPr>
        <c:crossAx val="72851840"/>
        <c:crosses val="autoZero"/>
        <c:auto val="1"/>
        <c:lblAlgn val="ctr"/>
        <c:lblOffset val="100"/>
        <c:noMultiLvlLbl val="0"/>
      </c:catAx>
      <c:valAx>
        <c:axId val="72851840"/>
        <c:scaling>
          <c:orientation val="minMax"/>
        </c:scaling>
        <c:delete val="1"/>
        <c:axPos val="l"/>
        <c:majorGridlines>
          <c:spPr>
            <a:ln w="9525" cap="flat" cmpd="sng" algn="ctr">
              <a:solidFill>
                <a:schemeClr val="tx1">
                  <a:lumMod val="15000"/>
                  <a:lumOff val="85000"/>
                </a:schemeClr>
              </a:solidFill>
              <a:round/>
            </a:ln>
            <a:effectLst/>
          </c:spPr>
        </c:majorGridlines>
        <c:numFmt formatCode="\О\с\н\о\в\н\о\й" sourceLinked="1"/>
        <c:majorTickMark val="out"/>
        <c:minorTickMark val="none"/>
        <c:tickLblPos val="nextTo"/>
        <c:crossAx val="72845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IL"/>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508359400280446E-2"/>
          <c:y val="1.7827945487148177E-2"/>
          <c:w val="0.96249175379651031"/>
          <c:h val="0.96434410902570367"/>
        </c:manualLayout>
      </c:layout>
      <c:doughnutChart>
        <c:varyColors val="1"/>
        <c:ser>
          <c:idx val="0"/>
          <c:order val="0"/>
          <c:tx>
            <c:strRef>
              <c:f>Sheet1!$B$1</c:f>
              <c:strCache>
                <c:ptCount val="1"/>
                <c:pt idx="0">
                  <c:v>Sales</c:v>
                </c:pt>
              </c:strCache>
            </c:strRef>
          </c:tx>
          <c:spPr>
            <a:solidFill>
              <a:srgbClr val="641266"/>
            </a:solidFill>
            <a:ln>
              <a:noFill/>
            </a:ln>
            <a:effectLst/>
          </c:spPr>
          <c:dPt>
            <c:idx val="0"/>
            <c:bubble3D val="0"/>
            <c:spPr>
              <a:solidFill>
                <a:srgbClr val="641266"/>
              </a:solidFill>
              <a:ln w="25400">
                <a:solidFill>
                  <a:srgbClr val="8D198E"/>
                </a:solidFill>
              </a:ln>
              <a:effectLst/>
            </c:spPr>
            <c:extLst>
              <c:ext xmlns:c16="http://schemas.microsoft.com/office/drawing/2014/chart" uri="{C3380CC4-5D6E-409C-BE32-E72D297353CC}">
                <c16:uniqueId val="{00000003-B651-4223-AAF8-A4A0B2544407}"/>
              </c:ext>
            </c:extLst>
          </c:dPt>
          <c:dPt>
            <c:idx val="1"/>
            <c:bubble3D val="0"/>
            <c:spPr>
              <a:solidFill>
                <a:srgbClr val="641266"/>
              </a:solidFill>
              <a:ln w="25400">
                <a:solidFill>
                  <a:srgbClr val="8D198E"/>
                </a:solidFill>
              </a:ln>
              <a:effectLst/>
            </c:spPr>
            <c:extLst>
              <c:ext xmlns:c16="http://schemas.microsoft.com/office/drawing/2014/chart" uri="{C3380CC4-5D6E-409C-BE32-E72D297353CC}">
                <c16:uniqueId val="{00000002-B651-4223-AAF8-A4A0B2544407}"/>
              </c:ext>
            </c:extLst>
          </c:dPt>
          <c:dPt>
            <c:idx val="2"/>
            <c:bubble3D val="0"/>
            <c:spPr>
              <a:solidFill>
                <a:srgbClr val="641266"/>
              </a:solidFill>
              <a:ln w="19050">
                <a:noFill/>
              </a:ln>
              <a:effectLst/>
            </c:spPr>
            <c:extLst>
              <c:ext xmlns:c16="http://schemas.microsoft.com/office/drawing/2014/chart" uri="{C3380CC4-5D6E-409C-BE32-E72D297353CC}">
                <c16:uniqueId val="{00000005-909F-4111-B072-9D593483C41C}"/>
              </c:ext>
            </c:extLst>
          </c:dPt>
          <c:dPt>
            <c:idx val="3"/>
            <c:bubble3D val="0"/>
            <c:spPr>
              <a:solidFill>
                <a:srgbClr val="641266"/>
              </a:solidFill>
              <a:ln w="19050">
                <a:noFill/>
              </a:ln>
              <a:effectLst/>
            </c:spPr>
            <c:extLst>
              <c:ext xmlns:c16="http://schemas.microsoft.com/office/drawing/2014/chart" uri="{C3380CC4-5D6E-409C-BE32-E72D297353CC}">
                <c16:uniqueId val="{00000007-909F-4111-B072-9D593483C41C}"/>
              </c:ext>
            </c:extLst>
          </c:dPt>
          <c:cat>
            <c:strRef>
              <c:f>Sheet1!$A$2:$A$5</c:f>
              <c:strCache>
                <c:ptCount val="2"/>
                <c:pt idx="0">
                  <c:v>1st Qtr</c:v>
                </c:pt>
                <c:pt idx="1">
                  <c:v>2nd Qtr</c:v>
                </c:pt>
              </c:strCache>
            </c:strRef>
          </c:cat>
          <c:val>
            <c:numRef>
              <c:f>Sheet1!$B$2:$B$5</c:f>
              <c:numCache>
                <c:formatCode>\О\с\н\о\в\н\о\й</c:formatCode>
                <c:ptCount val="4"/>
                <c:pt idx="0">
                  <c:v>30</c:v>
                </c:pt>
                <c:pt idx="1">
                  <c:v>70</c:v>
                </c:pt>
              </c:numCache>
            </c:numRef>
          </c:val>
          <c:extLst>
            <c:ext xmlns:c16="http://schemas.microsoft.com/office/drawing/2014/chart" uri="{C3380CC4-5D6E-409C-BE32-E72D297353CC}">
              <c16:uniqueId val="{00000000-B651-4223-AAF8-A4A0B2544407}"/>
            </c:ext>
          </c:extLst>
        </c:ser>
        <c:dLbls>
          <c:showLegendKey val="0"/>
          <c:showVal val="0"/>
          <c:showCatName val="0"/>
          <c:showSerName val="0"/>
          <c:showPercent val="0"/>
          <c:showBubbleSize val="0"/>
          <c:showLeaderLines val="0"/>
        </c:dLbls>
        <c:firstSliceAng val="0"/>
        <c:holeSize val="55"/>
      </c:doughnutChart>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IL"/>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D837EA-D943-42A7-9318-D97F0FC1EA7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L"/>
        </a:p>
      </dgm:t>
    </dgm:pt>
    <dgm:pt modelId="{F4867412-5F46-441B-9B8C-919AFF58D708}">
      <dgm:prSet phldrT="[Text]" custT="1"/>
      <dgm:spPr/>
      <dgm:t>
        <a:bodyPr/>
        <a:lstStyle/>
        <a:p>
          <a:pPr>
            <a:buFont typeface="Arial" panose="020B0604020202020204" pitchFamily="34" charset="0"/>
            <a:buChar char="•"/>
          </a:pPr>
          <a:r>
            <a:rPr lang="en-US" sz="1400" b="0" i="0" dirty="0">
              <a:solidFill>
                <a:schemeClr val="bg1"/>
              </a:solidFill>
              <a:effectLst/>
              <a:latin typeface="Book Antiqua" panose="02040602050305030304" pitchFamily="18" charset="0"/>
            </a:rPr>
            <a:t>17 Categorical features:</a:t>
          </a:r>
          <a:endParaRPr lang="en-IL" sz="1400" dirty="0">
            <a:solidFill>
              <a:schemeClr val="bg1"/>
            </a:solidFill>
          </a:endParaRPr>
        </a:p>
      </dgm:t>
    </dgm:pt>
    <dgm:pt modelId="{A0AFE0CC-6E4A-4FE3-9820-707B6C5242CA}" type="parTrans" cxnId="{75F8CAF8-5028-41F7-A0BC-C7E403791646}">
      <dgm:prSet/>
      <dgm:spPr/>
      <dgm:t>
        <a:bodyPr/>
        <a:lstStyle/>
        <a:p>
          <a:endParaRPr lang="en-IL"/>
        </a:p>
      </dgm:t>
    </dgm:pt>
    <dgm:pt modelId="{F7238772-C09B-449C-83FF-DECBC803EBCB}" type="sibTrans" cxnId="{75F8CAF8-5028-41F7-A0BC-C7E403791646}">
      <dgm:prSet/>
      <dgm:spPr/>
      <dgm:t>
        <a:bodyPr/>
        <a:lstStyle/>
        <a:p>
          <a:endParaRPr lang="en-IL"/>
        </a:p>
      </dgm:t>
    </dgm:pt>
    <dgm:pt modelId="{8EFBCA8D-F9CD-440C-9FE8-D28B7FDFD4F4}">
      <dgm:prSet phldrT="[Text]"/>
      <dgm:spPr/>
      <dgm:t>
        <a:bodyPr/>
        <a:lstStyle/>
        <a:p>
          <a:pPr>
            <a:buFont typeface="Arial" panose="020B0604020202020204" pitchFamily="34" charset="0"/>
            <a:buChar char="•"/>
          </a:pPr>
          <a:r>
            <a:rPr lang="en-US" b="0" i="0" dirty="0">
              <a:solidFill>
                <a:srgbClr val="652D74"/>
              </a:solidFill>
              <a:effectLst/>
              <a:latin typeface="Book Antiqua" panose="02040602050305030304" pitchFamily="18" charset="0"/>
            </a:rPr>
            <a:t>CustomerID: Customer ID unique for each customer</a:t>
          </a:r>
          <a:endParaRPr lang="en-IL" dirty="0"/>
        </a:p>
      </dgm:t>
    </dgm:pt>
    <dgm:pt modelId="{B09814CC-F6BB-4F76-8330-C8E313C607F6}" type="parTrans" cxnId="{C8566165-1230-45A2-B770-A3FA9C5DF55C}">
      <dgm:prSet/>
      <dgm:spPr/>
      <dgm:t>
        <a:bodyPr/>
        <a:lstStyle/>
        <a:p>
          <a:endParaRPr lang="en-IL"/>
        </a:p>
      </dgm:t>
    </dgm:pt>
    <dgm:pt modelId="{3C2B4559-04BB-4721-ABA2-E4CA8C99C43C}" type="sibTrans" cxnId="{C8566165-1230-45A2-B770-A3FA9C5DF55C}">
      <dgm:prSet/>
      <dgm:spPr/>
      <dgm:t>
        <a:bodyPr/>
        <a:lstStyle/>
        <a:p>
          <a:endParaRPr lang="en-IL"/>
        </a:p>
      </dgm:t>
    </dgm:pt>
    <dgm:pt modelId="{00673471-790C-4906-BB83-5B97496F638F}">
      <dgm:prSet phldrT="[Text]" custT="1"/>
      <dgm:spPr/>
      <dgm:t>
        <a:bodyPr/>
        <a:lstStyle/>
        <a:p>
          <a:pPr>
            <a:buFont typeface="Arial" panose="020B0604020202020204" pitchFamily="34" charset="0"/>
            <a:buChar char="•"/>
          </a:pPr>
          <a:r>
            <a:rPr lang="en-US" sz="1400" b="0" i="0" dirty="0">
              <a:solidFill>
                <a:schemeClr val="bg1"/>
              </a:solidFill>
              <a:effectLst/>
              <a:latin typeface="Book Antiqua" panose="02040602050305030304" pitchFamily="18" charset="0"/>
            </a:rPr>
            <a:t>3 Numerical features:</a:t>
          </a:r>
          <a:endParaRPr lang="en-IL" sz="1400" dirty="0">
            <a:solidFill>
              <a:schemeClr val="bg1"/>
            </a:solidFill>
          </a:endParaRPr>
        </a:p>
      </dgm:t>
    </dgm:pt>
    <dgm:pt modelId="{D0E4796C-B853-4F0B-BC8A-354F88AA6023}" type="parTrans" cxnId="{98DBFD33-7E32-4DC2-B876-EFCF3E482C87}">
      <dgm:prSet/>
      <dgm:spPr/>
      <dgm:t>
        <a:bodyPr/>
        <a:lstStyle/>
        <a:p>
          <a:endParaRPr lang="en-IL"/>
        </a:p>
      </dgm:t>
    </dgm:pt>
    <dgm:pt modelId="{4F43C162-C1CB-4997-9B59-F23B4268378D}" type="sibTrans" cxnId="{98DBFD33-7E32-4DC2-B876-EFCF3E482C87}">
      <dgm:prSet/>
      <dgm:spPr/>
      <dgm:t>
        <a:bodyPr/>
        <a:lstStyle/>
        <a:p>
          <a:endParaRPr lang="en-IL"/>
        </a:p>
      </dgm:t>
    </dgm:pt>
    <dgm:pt modelId="{2A7C1F09-03F4-4029-A41E-1C1D57CC8F56}">
      <dgm:prSet phldrT="[Text]"/>
      <dgm:spPr/>
      <dgm:t>
        <a:bodyPr/>
        <a:lstStyle/>
        <a:p>
          <a:pPr>
            <a:buFont typeface="Arial" panose="020B0604020202020204" pitchFamily="34" charset="0"/>
            <a:buChar char="•"/>
          </a:pPr>
          <a:r>
            <a:rPr lang="en-US" b="0" i="0" dirty="0">
              <a:solidFill>
                <a:srgbClr val="652D74"/>
              </a:solidFill>
              <a:effectLst/>
              <a:latin typeface="Book Antiqua" panose="02040602050305030304" pitchFamily="18" charset="0"/>
            </a:rPr>
            <a:t>Tenure: Number of months the customer has stayed with the company</a:t>
          </a:r>
          <a:endParaRPr lang="en-IL" dirty="0"/>
        </a:p>
      </dgm:t>
    </dgm:pt>
    <dgm:pt modelId="{C9EF50A1-932B-44B5-9022-47C7F49A1A8B}" type="parTrans" cxnId="{91C97D77-AA68-496F-8814-46D5D9588235}">
      <dgm:prSet/>
      <dgm:spPr/>
      <dgm:t>
        <a:bodyPr/>
        <a:lstStyle/>
        <a:p>
          <a:endParaRPr lang="en-IL"/>
        </a:p>
      </dgm:t>
    </dgm:pt>
    <dgm:pt modelId="{86F3239D-9939-430E-B210-C6290FECB4D8}" type="sibTrans" cxnId="{91C97D77-AA68-496F-8814-46D5D9588235}">
      <dgm:prSet/>
      <dgm:spPr/>
      <dgm:t>
        <a:bodyPr/>
        <a:lstStyle/>
        <a:p>
          <a:endParaRPr lang="en-IL"/>
        </a:p>
      </dgm:t>
    </dgm:pt>
    <dgm:pt modelId="{2F636D16-34B9-4111-A5FB-3C953047560F}">
      <dgm:prSet/>
      <dgm:spPr/>
      <dgm:t>
        <a:bodyPr/>
        <a:lstStyle/>
        <a:p>
          <a:r>
            <a:rPr lang="en-US" b="0" i="0">
              <a:solidFill>
                <a:srgbClr val="652D74"/>
              </a:solidFill>
              <a:effectLst/>
              <a:latin typeface="Book Antiqua" panose="02040602050305030304" pitchFamily="18" charset="0"/>
            </a:rPr>
            <a:t>gender: Whether the customer is a male or a female</a:t>
          </a:r>
          <a:endParaRPr lang="en-US" b="0" i="0" dirty="0">
            <a:solidFill>
              <a:srgbClr val="652D74"/>
            </a:solidFill>
            <a:effectLst/>
            <a:latin typeface="Book Antiqua" panose="02040602050305030304" pitchFamily="18" charset="0"/>
          </a:endParaRPr>
        </a:p>
      </dgm:t>
    </dgm:pt>
    <dgm:pt modelId="{F1B62786-5120-4D3D-833E-866E7E73C5CE}" type="parTrans" cxnId="{8452EC05-C27B-40A1-B097-29DD79414F02}">
      <dgm:prSet/>
      <dgm:spPr/>
      <dgm:t>
        <a:bodyPr/>
        <a:lstStyle/>
        <a:p>
          <a:endParaRPr lang="en-IL"/>
        </a:p>
      </dgm:t>
    </dgm:pt>
    <dgm:pt modelId="{963B9671-5DCE-4D49-BA51-333E732CA413}" type="sibTrans" cxnId="{8452EC05-C27B-40A1-B097-29DD79414F02}">
      <dgm:prSet/>
      <dgm:spPr/>
      <dgm:t>
        <a:bodyPr/>
        <a:lstStyle/>
        <a:p>
          <a:endParaRPr lang="en-IL"/>
        </a:p>
      </dgm:t>
    </dgm:pt>
    <dgm:pt modelId="{E3D6D0ED-5B67-479D-AD94-1DD33F28ADB4}">
      <dgm:prSet/>
      <dgm:spPr/>
      <dgm:t>
        <a:bodyPr/>
        <a:lstStyle/>
        <a:p>
          <a:r>
            <a:rPr lang="en-US" b="0" i="0">
              <a:solidFill>
                <a:srgbClr val="652D74"/>
              </a:solidFill>
              <a:effectLst/>
              <a:latin typeface="Book Antiqua" panose="02040602050305030304" pitchFamily="18" charset="0"/>
            </a:rPr>
            <a:t>SeniorCitizen: Whether the customer is a senior citizen or not (1, 0)</a:t>
          </a:r>
          <a:endParaRPr lang="en-US" b="0" i="0" dirty="0">
            <a:solidFill>
              <a:srgbClr val="652D74"/>
            </a:solidFill>
            <a:effectLst/>
            <a:latin typeface="Book Antiqua" panose="02040602050305030304" pitchFamily="18" charset="0"/>
          </a:endParaRPr>
        </a:p>
      </dgm:t>
    </dgm:pt>
    <dgm:pt modelId="{062A36F2-4B2D-4824-81A0-373E767DF785}" type="parTrans" cxnId="{2530D6E3-5860-4F73-99DD-C4A8B7695579}">
      <dgm:prSet/>
      <dgm:spPr/>
      <dgm:t>
        <a:bodyPr/>
        <a:lstStyle/>
        <a:p>
          <a:endParaRPr lang="en-IL"/>
        </a:p>
      </dgm:t>
    </dgm:pt>
    <dgm:pt modelId="{AEAD72CA-6FFC-4D7A-BD9F-E171CAA1AA7F}" type="sibTrans" cxnId="{2530D6E3-5860-4F73-99DD-C4A8B7695579}">
      <dgm:prSet/>
      <dgm:spPr/>
      <dgm:t>
        <a:bodyPr/>
        <a:lstStyle/>
        <a:p>
          <a:endParaRPr lang="en-IL"/>
        </a:p>
      </dgm:t>
    </dgm:pt>
    <dgm:pt modelId="{149BC7BD-A47C-44F6-87D1-857FF224E8E1}">
      <dgm:prSet/>
      <dgm:spPr/>
      <dgm:t>
        <a:bodyPr/>
        <a:lstStyle/>
        <a:p>
          <a:r>
            <a:rPr lang="en-US" b="0" i="0">
              <a:solidFill>
                <a:srgbClr val="652D74"/>
              </a:solidFill>
              <a:effectLst/>
              <a:latin typeface="Book Antiqua" panose="02040602050305030304" pitchFamily="18" charset="0"/>
            </a:rPr>
            <a:t>Partner: Whether the customer has a partner or not (Yes, No)</a:t>
          </a:r>
          <a:endParaRPr lang="en-US" b="0" i="0" dirty="0">
            <a:solidFill>
              <a:srgbClr val="652D74"/>
            </a:solidFill>
            <a:effectLst/>
            <a:latin typeface="Book Antiqua" panose="02040602050305030304" pitchFamily="18" charset="0"/>
          </a:endParaRPr>
        </a:p>
      </dgm:t>
    </dgm:pt>
    <dgm:pt modelId="{86517C64-A6FB-4453-995C-82EFE036B115}" type="parTrans" cxnId="{0BEBF7C4-7924-40F9-8510-CDBEE1F65012}">
      <dgm:prSet/>
      <dgm:spPr/>
      <dgm:t>
        <a:bodyPr/>
        <a:lstStyle/>
        <a:p>
          <a:endParaRPr lang="en-IL"/>
        </a:p>
      </dgm:t>
    </dgm:pt>
    <dgm:pt modelId="{D456AF4D-3F8C-4081-8A33-290A013FFBDC}" type="sibTrans" cxnId="{0BEBF7C4-7924-40F9-8510-CDBEE1F65012}">
      <dgm:prSet/>
      <dgm:spPr/>
      <dgm:t>
        <a:bodyPr/>
        <a:lstStyle/>
        <a:p>
          <a:endParaRPr lang="en-IL"/>
        </a:p>
      </dgm:t>
    </dgm:pt>
    <dgm:pt modelId="{DFB94895-741F-460C-9762-E75380F697BF}">
      <dgm:prSet/>
      <dgm:spPr/>
      <dgm:t>
        <a:bodyPr/>
        <a:lstStyle/>
        <a:p>
          <a:r>
            <a:rPr lang="en-US" b="0" i="0">
              <a:solidFill>
                <a:srgbClr val="652D74"/>
              </a:solidFill>
              <a:effectLst/>
              <a:latin typeface="Book Antiqua" panose="02040602050305030304" pitchFamily="18" charset="0"/>
            </a:rPr>
            <a:t>Dependent: Whether the customer has dependents or not (Yes, No)</a:t>
          </a:r>
          <a:endParaRPr lang="en-US" b="0" i="0" dirty="0">
            <a:solidFill>
              <a:srgbClr val="652D74"/>
            </a:solidFill>
            <a:effectLst/>
            <a:latin typeface="Book Antiqua" panose="02040602050305030304" pitchFamily="18" charset="0"/>
          </a:endParaRPr>
        </a:p>
      </dgm:t>
    </dgm:pt>
    <dgm:pt modelId="{ACC9AAFB-59DC-4726-9B94-B27122C390D0}" type="parTrans" cxnId="{6F7CBBD6-EE2E-44AB-A780-A2DC5E27BF43}">
      <dgm:prSet/>
      <dgm:spPr/>
      <dgm:t>
        <a:bodyPr/>
        <a:lstStyle/>
        <a:p>
          <a:endParaRPr lang="en-IL"/>
        </a:p>
      </dgm:t>
    </dgm:pt>
    <dgm:pt modelId="{D3A60F54-A022-46DF-BE9B-7D4B1B2309BB}" type="sibTrans" cxnId="{6F7CBBD6-EE2E-44AB-A780-A2DC5E27BF43}">
      <dgm:prSet/>
      <dgm:spPr/>
      <dgm:t>
        <a:bodyPr/>
        <a:lstStyle/>
        <a:p>
          <a:endParaRPr lang="en-IL"/>
        </a:p>
      </dgm:t>
    </dgm:pt>
    <dgm:pt modelId="{50FC6E7B-C049-4C5F-819E-5D7EFD13892B}">
      <dgm:prSet/>
      <dgm:spPr/>
      <dgm:t>
        <a:bodyPr/>
        <a:lstStyle/>
        <a:p>
          <a:r>
            <a:rPr lang="en-US" b="0" i="0">
              <a:solidFill>
                <a:srgbClr val="652D74"/>
              </a:solidFill>
              <a:effectLst/>
              <a:latin typeface="Book Antiqua" panose="02040602050305030304" pitchFamily="18" charset="0"/>
            </a:rPr>
            <a:t>PhoneService: Whether the customer has a phone service or not (Yes, No)</a:t>
          </a:r>
          <a:endParaRPr lang="en-US" b="0" i="0" dirty="0">
            <a:solidFill>
              <a:srgbClr val="652D74"/>
            </a:solidFill>
            <a:effectLst/>
            <a:latin typeface="Book Antiqua" panose="02040602050305030304" pitchFamily="18" charset="0"/>
          </a:endParaRPr>
        </a:p>
      </dgm:t>
    </dgm:pt>
    <dgm:pt modelId="{EB58F6E5-3D11-4A53-BACA-04DC27EF15B7}" type="parTrans" cxnId="{DA59CA72-3F88-474E-9651-D58FF91C7661}">
      <dgm:prSet/>
      <dgm:spPr/>
      <dgm:t>
        <a:bodyPr/>
        <a:lstStyle/>
        <a:p>
          <a:endParaRPr lang="en-IL"/>
        </a:p>
      </dgm:t>
    </dgm:pt>
    <dgm:pt modelId="{32FB0C85-82AE-4F26-9ACB-351A92CCEF1B}" type="sibTrans" cxnId="{DA59CA72-3F88-474E-9651-D58FF91C7661}">
      <dgm:prSet/>
      <dgm:spPr/>
      <dgm:t>
        <a:bodyPr/>
        <a:lstStyle/>
        <a:p>
          <a:endParaRPr lang="en-IL"/>
        </a:p>
      </dgm:t>
    </dgm:pt>
    <dgm:pt modelId="{CAEEF315-9672-4BAC-8E90-A6D61E360FD5}">
      <dgm:prSet/>
      <dgm:spPr/>
      <dgm:t>
        <a:bodyPr/>
        <a:lstStyle/>
        <a:p>
          <a:r>
            <a:rPr lang="en-US" b="0" i="0">
              <a:solidFill>
                <a:srgbClr val="652D74"/>
              </a:solidFill>
              <a:effectLst/>
              <a:latin typeface="Book Antiqua" panose="02040602050305030304" pitchFamily="18" charset="0"/>
            </a:rPr>
            <a:t>MultipeLines: Whether the customer has multiple lines or not (Yes, No, No phone service)</a:t>
          </a:r>
          <a:endParaRPr lang="en-US" b="0" i="0" dirty="0">
            <a:solidFill>
              <a:srgbClr val="652D74"/>
            </a:solidFill>
            <a:effectLst/>
            <a:latin typeface="Book Antiqua" panose="02040602050305030304" pitchFamily="18" charset="0"/>
          </a:endParaRPr>
        </a:p>
      </dgm:t>
    </dgm:pt>
    <dgm:pt modelId="{2F1F37A5-A521-4048-9CA3-4519D04513E3}" type="parTrans" cxnId="{3D236163-64F6-4B78-A96E-3A2C4DDD2111}">
      <dgm:prSet/>
      <dgm:spPr/>
      <dgm:t>
        <a:bodyPr/>
        <a:lstStyle/>
        <a:p>
          <a:endParaRPr lang="en-IL"/>
        </a:p>
      </dgm:t>
    </dgm:pt>
    <dgm:pt modelId="{45C328BF-0133-4175-B63C-5D1758327C0E}" type="sibTrans" cxnId="{3D236163-64F6-4B78-A96E-3A2C4DDD2111}">
      <dgm:prSet/>
      <dgm:spPr/>
      <dgm:t>
        <a:bodyPr/>
        <a:lstStyle/>
        <a:p>
          <a:endParaRPr lang="en-IL"/>
        </a:p>
      </dgm:t>
    </dgm:pt>
    <dgm:pt modelId="{2C5FC28E-30D8-4D39-91B3-2B48CF1433B6}">
      <dgm:prSet/>
      <dgm:spPr/>
      <dgm:t>
        <a:bodyPr/>
        <a:lstStyle/>
        <a:p>
          <a:r>
            <a:rPr lang="en-US" b="0" i="0">
              <a:solidFill>
                <a:srgbClr val="652D74"/>
              </a:solidFill>
              <a:effectLst/>
              <a:latin typeface="Book Antiqua" panose="02040602050305030304" pitchFamily="18" charset="0"/>
            </a:rPr>
            <a:t>InternetService: Customer’s internet service provider (DSL, Fiber optic, No)</a:t>
          </a:r>
          <a:endParaRPr lang="en-US" b="0" i="0" dirty="0">
            <a:solidFill>
              <a:srgbClr val="652D74"/>
            </a:solidFill>
            <a:effectLst/>
            <a:latin typeface="Book Antiqua" panose="02040602050305030304" pitchFamily="18" charset="0"/>
          </a:endParaRPr>
        </a:p>
      </dgm:t>
    </dgm:pt>
    <dgm:pt modelId="{9A105F34-451E-4F6A-99FC-DC246600FD38}" type="parTrans" cxnId="{20BF9048-5EA8-4692-9B82-9F29674CED28}">
      <dgm:prSet/>
      <dgm:spPr/>
      <dgm:t>
        <a:bodyPr/>
        <a:lstStyle/>
        <a:p>
          <a:endParaRPr lang="en-IL"/>
        </a:p>
      </dgm:t>
    </dgm:pt>
    <dgm:pt modelId="{059D19BD-4558-4921-951A-032AD1C7AE3D}" type="sibTrans" cxnId="{20BF9048-5EA8-4692-9B82-9F29674CED28}">
      <dgm:prSet/>
      <dgm:spPr/>
      <dgm:t>
        <a:bodyPr/>
        <a:lstStyle/>
        <a:p>
          <a:endParaRPr lang="en-IL"/>
        </a:p>
      </dgm:t>
    </dgm:pt>
    <dgm:pt modelId="{E5CD3BE3-DE0A-4B59-998B-AB45496A7907}">
      <dgm:prSet/>
      <dgm:spPr/>
      <dgm:t>
        <a:bodyPr/>
        <a:lstStyle/>
        <a:p>
          <a:r>
            <a:rPr lang="en-US" b="0" i="0">
              <a:solidFill>
                <a:srgbClr val="652D74"/>
              </a:solidFill>
              <a:effectLst/>
              <a:latin typeface="Book Antiqua" panose="02040602050305030304" pitchFamily="18" charset="0"/>
            </a:rPr>
            <a:t>OnlineSecurity: Whether the customer has online security or not (Yes, No, No internet service)</a:t>
          </a:r>
          <a:endParaRPr lang="en-US" b="0" i="0" dirty="0">
            <a:solidFill>
              <a:srgbClr val="652D74"/>
            </a:solidFill>
            <a:effectLst/>
            <a:latin typeface="Book Antiqua" panose="02040602050305030304" pitchFamily="18" charset="0"/>
          </a:endParaRPr>
        </a:p>
      </dgm:t>
    </dgm:pt>
    <dgm:pt modelId="{A5BCF467-4459-4983-9314-8F62B3FBD383}" type="parTrans" cxnId="{9B122F1E-2DC8-4CDA-8436-F5B9C9FD3D8C}">
      <dgm:prSet/>
      <dgm:spPr/>
      <dgm:t>
        <a:bodyPr/>
        <a:lstStyle/>
        <a:p>
          <a:endParaRPr lang="en-IL"/>
        </a:p>
      </dgm:t>
    </dgm:pt>
    <dgm:pt modelId="{6415C99F-7640-4FA7-B45C-57F5977048A8}" type="sibTrans" cxnId="{9B122F1E-2DC8-4CDA-8436-F5B9C9FD3D8C}">
      <dgm:prSet/>
      <dgm:spPr/>
      <dgm:t>
        <a:bodyPr/>
        <a:lstStyle/>
        <a:p>
          <a:endParaRPr lang="en-IL"/>
        </a:p>
      </dgm:t>
    </dgm:pt>
    <dgm:pt modelId="{A90D4C9B-60DE-4DD0-9869-6DC85C98F68B}">
      <dgm:prSet/>
      <dgm:spPr/>
      <dgm:t>
        <a:bodyPr/>
        <a:lstStyle/>
        <a:p>
          <a:r>
            <a:rPr lang="en-US" b="0" i="0">
              <a:solidFill>
                <a:srgbClr val="652D74"/>
              </a:solidFill>
              <a:effectLst/>
              <a:latin typeface="Book Antiqua" panose="02040602050305030304" pitchFamily="18" charset="0"/>
            </a:rPr>
            <a:t>OnlineBackup: Whether the customer has an online backup or not (Yes, No, No internet service)</a:t>
          </a:r>
          <a:endParaRPr lang="en-US" b="0" i="0" dirty="0">
            <a:solidFill>
              <a:srgbClr val="652D74"/>
            </a:solidFill>
            <a:effectLst/>
            <a:latin typeface="Book Antiqua" panose="02040602050305030304" pitchFamily="18" charset="0"/>
          </a:endParaRPr>
        </a:p>
      </dgm:t>
    </dgm:pt>
    <dgm:pt modelId="{674EDF7B-1369-47E0-B919-46B3B7D2067D}" type="parTrans" cxnId="{3A0D4F97-B3C9-4180-BD4A-68508C67F09E}">
      <dgm:prSet/>
      <dgm:spPr/>
      <dgm:t>
        <a:bodyPr/>
        <a:lstStyle/>
        <a:p>
          <a:endParaRPr lang="en-IL"/>
        </a:p>
      </dgm:t>
    </dgm:pt>
    <dgm:pt modelId="{5456FE27-40B1-4FC2-9152-6E1054FFABFB}" type="sibTrans" cxnId="{3A0D4F97-B3C9-4180-BD4A-68508C67F09E}">
      <dgm:prSet/>
      <dgm:spPr/>
      <dgm:t>
        <a:bodyPr/>
        <a:lstStyle/>
        <a:p>
          <a:endParaRPr lang="en-IL"/>
        </a:p>
      </dgm:t>
    </dgm:pt>
    <dgm:pt modelId="{1582A286-5BC6-4993-BB97-553F65F133A2}">
      <dgm:prSet/>
      <dgm:spPr/>
      <dgm:t>
        <a:bodyPr/>
        <a:lstStyle/>
        <a:p>
          <a:r>
            <a:rPr lang="en-US" b="0" i="0">
              <a:solidFill>
                <a:srgbClr val="652D74"/>
              </a:solidFill>
              <a:effectLst/>
              <a:latin typeface="Book Antiqua" panose="02040602050305030304" pitchFamily="18" charset="0"/>
            </a:rPr>
            <a:t>DeviceProtection: Whether the customer has device protection or not (Yes, No, No internet service)</a:t>
          </a:r>
          <a:endParaRPr lang="en-US" b="0" i="0" dirty="0">
            <a:solidFill>
              <a:srgbClr val="652D74"/>
            </a:solidFill>
            <a:effectLst/>
            <a:latin typeface="Book Antiqua" panose="02040602050305030304" pitchFamily="18" charset="0"/>
          </a:endParaRPr>
        </a:p>
      </dgm:t>
    </dgm:pt>
    <dgm:pt modelId="{A2E6CB2C-8ECE-44BF-A076-E3D4C7DFB3E5}" type="parTrans" cxnId="{1196EE30-2086-4896-AB11-532579A1C410}">
      <dgm:prSet/>
      <dgm:spPr/>
      <dgm:t>
        <a:bodyPr/>
        <a:lstStyle/>
        <a:p>
          <a:endParaRPr lang="en-IL"/>
        </a:p>
      </dgm:t>
    </dgm:pt>
    <dgm:pt modelId="{E3E0C97E-6412-4011-BC7E-71E92EEEC10F}" type="sibTrans" cxnId="{1196EE30-2086-4896-AB11-532579A1C410}">
      <dgm:prSet/>
      <dgm:spPr/>
      <dgm:t>
        <a:bodyPr/>
        <a:lstStyle/>
        <a:p>
          <a:endParaRPr lang="en-IL"/>
        </a:p>
      </dgm:t>
    </dgm:pt>
    <dgm:pt modelId="{C4183129-B118-4345-BEFC-C0EF771186DE}">
      <dgm:prSet/>
      <dgm:spPr/>
      <dgm:t>
        <a:bodyPr/>
        <a:lstStyle/>
        <a:p>
          <a:r>
            <a:rPr lang="en-US" b="0" i="0">
              <a:solidFill>
                <a:srgbClr val="652D74"/>
              </a:solidFill>
              <a:effectLst/>
              <a:latin typeface="Book Antiqua" panose="02040602050305030304" pitchFamily="18" charset="0"/>
            </a:rPr>
            <a:t>TechSupport: Whether the customer has tech support or not (Yes, No, No internet service)</a:t>
          </a:r>
          <a:endParaRPr lang="en-US" b="0" i="0" dirty="0">
            <a:solidFill>
              <a:srgbClr val="652D74"/>
            </a:solidFill>
            <a:effectLst/>
            <a:latin typeface="Book Antiqua" panose="02040602050305030304" pitchFamily="18" charset="0"/>
          </a:endParaRPr>
        </a:p>
      </dgm:t>
    </dgm:pt>
    <dgm:pt modelId="{A86B730F-1394-466A-A00A-99BCCCAEAA5E}" type="parTrans" cxnId="{91C61C22-8B2D-43F4-8644-B40590A57BB7}">
      <dgm:prSet/>
      <dgm:spPr/>
      <dgm:t>
        <a:bodyPr/>
        <a:lstStyle/>
        <a:p>
          <a:endParaRPr lang="en-IL"/>
        </a:p>
      </dgm:t>
    </dgm:pt>
    <dgm:pt modelId="{6944F2FF-F711-40BC-BCFA-6869EBE7A93D}" type="sibTrans" cxnId="{91C61C22-8B2D-43F4-8644-B40590A57BB7}">
      <dgm:prSet/>
      <dgm:spPr/>
      <dgm:t>
        <a:bodyPr/>
        <a:lstStyle/>
        <a:p>
          <a:endParaRPr lang="en-IL"/>
        </a:p>
      </dgm:t>
    </dgm:pt>
    <dgm:pt modelId="{FB27D217-4B39-4456-A4CB-F03C952F6D83}">
      <dgm:prSet/>
      <dgm:spPr/>
      <dgm:t>
        <a:bodyPr/>
        <a:lstStyle/>
        <a:p>
          <a:r>
            <a:rPr lang="en-US" b="0" i="0">
              <a:solidFill>
                <a:srgbClr val="652D74"/>
              </a:solidFill>
              <a:effectLst/>
              <a:latin typeface="Book Antiqua" panose="02040602050305030304" pitchFamily="18" charset="0"/>
            </a:rPr>
            <a:t>StreamingTV: Whether the customer has streaming TV or not (Yes, No, No internet service)</a:t>
          </a:r>
          <a:endParaRPr lang="en-US" b="0" i="0" dirty="0">
            <a:solidFill>
              <a:srgbClr val="652D74"/>
            </a:solidFill>
            <a:effectLst/>
            <a:latin typeface="Book Antiqua" panose="02040602050305030304" pitchFamily="18" charset="0"/>
          </a:endParaRPr>
        </a:p>
      </dgm:t>
    </dgm:pt>
    <dgm:pt modelId="{711EE2CF-BC47-4CF8-AF89-445546AD1C0A}" type="parTrans" cxnId="{466D7BB5-4B6B-409D-874E-C3B92064A7F6}">
      <dgm:prSet/>
      <dgm:spPr/>
      <dgm:t>
        <a:bodyPr/>
        <a:lstStyle/>
        <a:p>
          <a:endParaRPr lang="en-IL"/>
        </a:p>
      </dgm:t>
    </dgm:pt>
    <dgm:pt modelId="{78B518C9-DA9D-4978-AC89-02B9D9B1F4D0}" type="sibTrans" cxnId="{466D7BB5-4B6B-409D-874E-C3B92064A7F6}">
      <dgm:prSet/>
      <dgm:spPr/>
      <dgm:t>
        <a:bodyPr/>
        <a:lstStyle/>
        <a:p>
          <a:endParaRPr lang="en-IL"/>
        </a:p>
      </dgm:t>
    </dgm:pt>
    <dgm:pt modelId="{502A5770-E7B4-4BAF-A175-05CDCC650C7D}">
      <dgm:prSet/>
      <dgm:spPr/>
      <dgm:t>
        <a:bodyPr/>
        <a:lstStyle/>
        <a:p>
          <a:r>
            <a:rPr lang="en-US" b="0" i="0">
              <a:solidFill>
                <a:srgbClr val="652D74"/>
              </a:solidFill>
              <a:effectLst/>
              <a:latin typeface="Book Antiqua" panose="02040602050305030304" pitchFamily="18" charset="0"/>
            </a:rPr>
            <a:t>StreamingMovies: Whether the customer has streaming movies or not (Yes, No, No internet service)</a:t>
          </a:r>
          <a:endParaRPr lang="en-US" b="0" i="0" dirty="0">
            <a:solidFill>
              <a:srgbClr val="652D74"/>
            </a:solidFill>
            <a:effectLst/>
            <a:latin typeface="Book Antiqua" panose="02040602050305030304" pitchFamily="18" charset="0"/>
          </a:endParaRPr>
        </a:p>
      </dgm:t>
    </dgm:pt>
    <dgm:pt modelId="{CC47A45A-F4B3-4ECF-9EE8-1364B5400281}" type="parTrans" cxnId="{FAC4F4F8-0A77-4821-8A22-A6B268EBF9B5}">
      <dgm:prSet/>
      <dgm:spPr/>
      <dgm:t>
        <a:bodyPr/>
        <a:lstStyle/>
        <a:p>
          <a:endParaRPr lang="en-IL"/>
        </a:p>
      </dgm:t>
    </dgm:pt>
    <dgm:pt modelId="{A71BD4D9-981A-42E5-982F-9C60AA289D83}" type="sibTrans" cxnId="{FAC4F4F8-0A77-4821-8A22-A6B268EBF9B5}">
      <dgm:prSet/>
      <dgm:spPr/>
      <dgm:t>
        <a:bodyPr/>
        <a:lstStyle/>
        <a:p>
          <a:endParaRPr lang="en-IL"/>
        </a:p>
      </dgm:t>
    </dgm:pt>
    <dgm:pt modelId="{BD72D1B2-68A5-43A8-9736-9DA131FAFEA2}">
      <dgm:prSet/>
      <dgm:spPr/>
      <dgm:t>
        <a:bodyPr/>
        <a:lstStyle/>
        <a:p>
          <a:r>
            <a:rPr lang="en-US" b="0" i="0">
              <a:solidFill>
                <a:srgbClr val="652D74"/>
              </a:solidFill>
              <a:effectLst/>
              <a:latin typeface="Book Antiqua" panose="02040602050305030304" pitchFamily="18" charset="0"/>
            </a:rPr>
            <a:t>Contract: The contract term of the customer (Month-to-month, One year, Two years)</a:t>
          </a:r>
          <a:endParaRPr lang="en-US" b="0" i="0" dirty="0">
            <a:solidFill>
              <a:srgbClr val="652D74"/>
            </a:solidFill>
            <a:effectLst/>
            <a:latin typeface="Book Antiqua" panose="02040602050305030304" pitchFamily="18" charset="0"/>
          </a:endParaRPr>
        </a:p>
      </dgm:t>
    </dgm:pt>
    <dgm:pt modelId="{0A06023C-6D55-4098-A088-3E67809D662E}" type="parTrans" cxnId="{9C171220-67A6-4D28-9859-0E93E40BFF9A}">
      <dgm:prSet/>
      <dgm:spPr/>
      <dgm:t>
        <a:bodyPr/>
        <a:lstStyle/>
        <a:p>
          <a:endParaRPr lang="en-IL"/>
        </a:p>
      </dgm:t>
    </dgm:pt>
    <dgm:pt modelId="{832EF24E-7EE3-4605-951B-00A2E79269D3}" type="sibTrans" cxnId="{9C171220-67A6-4D28-9859-0E93E40BFF9A}">
      <dgm:prSet/>
      <dgm:spPr/>
      <dgm:t>
        <a:bodyPr/>
        <a:lstStyle/>
        <a:p>
          <a:endParaRPr lang="en-IL"/>
        </a:p>
      </dgm:t>
    </dgm:pt>
    <dgm:pt modelId="{B3B8FC0D-4880-407F-A17C-DD634A76CD95}">
      <dgm:prSet/>
      <dgm:spPr/>
      <dgm:t>
        <a:bodyPr/>
        <a:lstStyle/>
        <a:p>
          <a:r>
            <a:rPr lang="en-US" b="0" i="0">
              <a:solidFill>
                <a:srgbClr val="652D74"/>
              </a:solidFill>
              <a:effectLst/>
              <a:latin typeface="Book Antiqua" panose="02040602050305030304" pitchFamily="18" charset="0"/>
            </a:rPr>
            <a:t>PaperlessBilling</a:t>
          </a:r>
          <a:endParaRPr lang="en-US" b="0" i="0" dirty="0">
            <a:solidFill>
              <a:srgbClr val="652D74"/>
            </a:solidFill>
            <a:effectLst/>
            <a:latin typeface="Book Antiqua" panose="02040602050305030304" pitchFamily="18" charset="0"/>
          </a:endParaRPr>
        </a:p>
      </dgm:t>
    </dgm:pt>
    <dgm:pt modelId="{345C9FD6-DF9C-40F4-9FD5-828ECA3FC131}" type="parTrans" cxnId="{41E0168F-131E-4983-AAA1-9ECB04462C7D}">
      <dgm:prSet/>
      <dgm:spPr/>
      <dgm:t>
        <a:bodyPr/>
        <a:lstStyle/>
        <a:p>
          <a:endParaRPr lang="en-IL"/>
        </a:p>
      </dgm:t>
    </dgm:pt>
    <dgm:pt modelId="{5ADCD41A-FCE7-4253-B8FA-1737E7BB1F1A}" type="sibTrans" cxnId="{41E0168F-131E-4983-AAA1-9ECB04462C7D}">
      <dgm:prSet/>
      <dgm:spPr/>
      <dgm:t>
        <a:bodyPr/>
        <a:lstStyle/>
        <a:p>
          <a:endParaRPr lang="en-IL"/>
        </a:p>
      </dgm:t>
    </dgm:pt>
    <dgm:pt modelId="{9641F945-6755-4BAF-8B9A-1D51EB2DACA3}">
      <dgm:prSet/>
      <dgm:spPr/>
      <dgm:t>
        <a:bodyPr/>
        <a:lstStyle/>
        <a:p>
          <a:r>
            <a:rPr lang="en-US" b="0" i="0" dirty="0">
              <a:solidFill>
                <a:srgbClr val="652D74"/>
              </a:solidFill>
              <a:effectLst/>
              <a:latin typeface="Book Antiqua" panose="02040602050305030304" pitchFamily="18" charset="0"/>
            </a:rPr>
            <a:t>PaymentMethod: (Electronic check, Mailed check, Bank transfer (automatic), Credit card (automatic))</a:t>
          </a:r>
        </a:p>
      </dgm:t>
    </dgm:pt>
    <dgm:pt modelId="{58C633A4-6145-42E8-B8D7-FFB6FAA28853}" type="parTrans" cxnId="{9A6E2819-B261-4BC8-AC73-CAD824C7598B}">
      <dgm:prSet/>
      <dgm:spPr/>
      <dgm:t>
        <a:bodyPr/>
        <a:lstStyle/>
        <a:p>
          <a:endParaRPr lang="en-IL"/>
        </a:p>
      </dgm:t>
    </dgm:pt>
    <dgm:pt modelId="{C5529234-A86C-4BB4-A7CF-A9CF160AC7E4}" type="sibTrans" cxnId="{9A6E2819-B261-4BC8-AC73-CAD824C7598B}">
      <dgm:prSet/>
      <dgm:spPr/>
      <dgm:t>
        <a:bodyPr/>
        <a:lstStyle/>
        <a:p>
          <a:endParaRPr lang="en-IL"/>
        </a:p>
      </dgm:t>
    </dgm:pt>
    <dgm:pt modelId="{F7461BB6-D2BB-4982-AEFD-CACC4984717F}">
      <dgm:prSet phldrT="[Text]"/>
      <dgm:spPr/>
      <dgm:t>
        <a:bodyPr/>
        <a:lstStyle/>
        <a:p>
          <a:pPr>
            <a:buFont typeface="Arial" panose="020B0604020202020204" pitchFamily="34" charset="0"/>
            <a:buChar char="•"/>
          </a:pPr>
          <a:r>
            <a:rPr lang="en-US" b="0" i="0" dirty="0">
              <a:solidFill>
                <a:schemeClr val="bg1"/>
              </a:solidFill>
              <a:effectLst/>
              <a:latin typeface="Book Antiqua" panose="02040602050305030304" pitchFamily="18" charset="0"/>
            </a:rPr>
            <a:t>Prediction feature: Churn: Whether the customer churned or not (Yes or No)</a:t>
          </a:r>
          <a:endParaRPr lang="en-IL" dirty="0">
            <a:solidFill>
              <a:schemeClr val="bg1"/>
            </a:solidFill>
          </a:endParaRPr>
        </a:p>
      </dgm:t>
    </dgm:pt>
    <dgm:pt modelId="{97E1ECDF-C4A9-467F-A3D0-254B29EC13A6}" type="parTrans" cxnId="{C9247BFE-9943-4352-925B-F70406821360}">
      <dgm:prSet/>
      <dgm:spPr/>
      <dgm:t>
        <a:bodyPr/>
        <a:lstStyle/>
        <a:p>
          <a:endParaRPr lang="en-IL"/>
        </a:p>
      </dgm:t>
    </dgm:pt>
    <dgm:pt modelId="{F46B21A4-2B20-41FF-8460-E121EFA28BEE}" type="sibTrans" cxnId="{C9247BFE-9943-4352-925B-F70406821360}">
      <dgm:prSet/>
      <dgm:spPr/>
      <dgm:t>
        <a:bodyPr/>
        <a:lstStyle/>
        <a:p>
          <a:endParaRPr lang="en-IL"/>
        </a:p>
      </dgm:t>
    </dgm:pt>
    <dgm:pt modelId="{6185F4BE-5AEB-44AC-A03D-861FB60962A5}">
      <dgm:prSet/>
      <dgm:spPr/>
      <dgm:t>
        <a:bodyPr/>
        <a:lstStyle/>
        <a:p>
          <a:r>
            <a:rPr lang="en-US" b="0" i="0">
              <a:solidFill>
                <a:srgbClr val="652D74"/>
              </a:solidFill>
              <a:effectLst/>
              <a:latin typeface="Book Antiqua" panose="02040602050305030304" pitchFamily="18" charset="0"/>
            </a:rPr>
            <a:t>MonthlyCharges: The amount charged to the customer monthly</a:t>
          </a:r>
          <a:endParaRPr lang="en-US" b="0" i="0" dirty="0">
            <a:solidFill>
              <a:srgbClr val="652D74"/>
            </a:solidFill>
            <a:effectLst/>
            <a:latin typeface="Book Antiqua" panose="02040602050305030304" pitchFamily="18" charset="0"/>
          </a:endParaRPr>
        </a:p>
      </dgm:t>
    </dgm:pt>
    <dgm:pt modelId="{2F7A371C-7040-4E45-807B-A5C1BCF99A56}" type="parTrans" cxnId="{BFF8C9A8-3176-4DBC-A5C2-C3BE2ECAAC46}">
      <dgm:prSet/>
      <dgm:spPr/>
      <dgm:t>
        <a:bodyPr/>
        <a:lstStyle/>
        <a:p>
          <a:endParaRPr lang="en-IL"/>
        </a:p>
      </dgm:t>
    </dgm:pt>
    <dgm:pt modelId="{893E6E57-EF15-485E-91F4-1507DBA24BA5}" type="sibTrans" cxnId="{BFF8C9A8-3176-4DBC-A5C2-C3BE2ECAAC46}">
      <dgm:prSet/>
      <dgm:spPr/>
      <dgm:t>
        <a:bodyPr/>
        <a:lstStyle/>
        <a:p>
          <a:endParaRPr lang="en-IL"/>
        </a:p>
      </dgm:t>
    </dgm:pt>
    <dgm:pt modelId="{656D23EE-31DE-4E0D-A851-E3EAA180B5F8}">
      <dgm:prSet/>
      <dgm:spPr/>
      <dgm:t>
        <a:bodyPr/>
        <a:lstStyle/>
        <a:p>
          <a:r>
            <a:rPr lang="en-US" b="0" i="0" dirty="0">
              <a:solidFill>
                <a:srgbClr val="652D74"/>
              </a:solidFill>
              <a:effectLst/>
              <a:latin typeface="Book Antiqua" panose="02040602050305030304" pitchFamily="18" charset="0"/>
            </a:rPr>
            <a:t>TotalCharges: The total amount charged to the customer</a:t>
          </a:r>
        </a:p>
      </dgm:t>
    </dgm:pt>
    <dgm:pt modelId="{AD4474BE-F8F9-4589-ADFE-DBEACDEB2E11}" type="parTrans" cxnId="{83A6B15C-D427-492F-BA12-6D33419ED31C}">
      <dgm:prSet/>
      <dgm:spPr/>
      <dgm:t>
        <a:bodyPr/>
        <a:lstStyle/>
        <a:p>
          <a:endParaRPr lang="en-IL"/>
        </a:p>
      </dgm:t>
    </dgm:pt>
    <dgm:pt modelId="{FD3521B1-9E5A-41A1-B7EA-10F18C2B1408}" type="sibTrans" cxnId="{83A6B15C-D427-492F-BA12-6D33419ED31C}">
      <dgm:prSet/>
      <dgm:spPr/>
      <dgm:t>
        <a:bodyPr/>
        <a:lstStyle/>
        <a:p>
          <a:endParaRPr lang="en-IL"/>
        </a:p>
      </dgm:t>
    </dgm:pt>
    <dgm:pt modelId="{FFDB018A-FB23-4561-B3A7-971FECFC4D18}" type="pres">
      <dgm:prSet presAssocID="{CCD837EA-D943-42A7-9318-D97F0FC1EA72}" presName="linear" presStyleCnt="0">
        <dgm:presLayoutVars>
          <dgm:animLvl val="lvl"/>
          <dgm:resizeHandles val="exact"/>
        </dgm:presLayoutVars>
      </dgm:prSet>
      <dgm:spPr/>
    </dgm:pt>
    <dgm:pt modelId="{8F9BFD66-42A5-4247-A0F7-822287992584}" type="pres">
      <dgm:prSet presAssocID="{F4867412-5F46-441B-9B8C-919AFF58D708}" presName="parentText" presStyleLbl="node1" presStyleIdx="0" presStyleCnt="3" custScaleX="80625" custLinFactNeighborX="-9951" custLinFactNeighborY="-1294">
        <dgm:presLayoutVars>
          <dgm:chMax val="0"/>
          <dgm:bulletEnabled val="1"/>
        </dgm:presLayoutVars>
      </dgm:prSet>
      <dgm:spPr/>
    </dgm:pt>
    <dgm:pt modelId="{5EE335D1-5B87-4F82-96CD-82E5E4DB6C4C}" type="pres">
      <dgm:prSet presAssocID="{F4867412-5F46-441B-9B8C-919AFF58D708}" presName="childText" presStyleLbl="revTx" presStyleIdx="0" presStyleCnt="2" custScaleY="73302">
        <dgm:presLayoutVars>
          <dgm:bulletEnabled val="1"/>
        </dgm:presLayoutVars>
      </dgm:prSet>
      <dgm:spPr/>
    </dgm:pt>
    <dgm:pt modelId="{B9B04DB8-6660-4170-989F-E76BD995B932}" type="pres">
      <dgm:prSet presAssocID="{00673471-790C-4906-BB83-5B97496F638F}" presName="parentText" presStyleLbl="node1" presStyleIdx="1" presStyleCnt="3">
        <dgm:presLayoutVars>
          <dgm:chMax val="0"/>
          <dgm:bulletEnabled val="1"/>
        </dgm:presLayoutVars>
      </dgm:prSet>
      <dgm:spPr/>
    </dgm:pt>
    <dgm:pt modelId="{710C1CA4-6E45-4F63-9D99-7D6C7D8D7289}" type="pres">
      <dgm:prSet presAssocID="{00673471-790C-4906-BB83-5B97496F638F}" presName="childText" presStyleLbl="revTx" presStyleIdx="1" presStyleCnt="2">
        <dgm:presLayoutVars>
          <dgm:bulletEnabled val="1"/>
        </dgm:presLayoutVars>
      </dgm:prSet>
      <dgm:spPr/>
    </dgm:pt>
    <dgm:pt modelId="{C048D9F7-33C6-4D6C-92EC-25696B2BD345}" type="pres">
      <dgm:prSet presAssocID="{F7461BB6-D2BB-4982-AEFD-CACC4984717F}" presName="parentText" presStyleLbl="node1" presStyleIdx="2" presStyleCnt="3">
        <dgm:presLayoutVars>
          <dgm:chMax val="0"/>
          <dgm:bulletEnabled val="1"/>
        </dgm:presLayoutVars>
      </dgm:prSet>
      <dgm:spPr/>
    </dgm:pt>
  </dgm:ptLst>
  <dgm:cxnLst>
    <dgm:cxn modelId="{11D4A100-8A3E-49BE-A536-AB21D230F4AE}" type="presOf" srcId="{1582A286-5BC6-4993-BB97-553F65F133A2}" destId="{5EE335D1-5B87-4F82-96CD-82E5E4DB6C4C}" srcOrd="0" destOrd="10" presId="urn:microsoft.com/office/officeart/2005/8/layout/vList2"/>
    <dgm:cxn modelId="{A18C1B04-1A1B-4A60-8911-4582F59C164F}" type="presOf" srcId="{6185F4BE-5AEB-44AC-A03D-861FB60962A5}" destId="{710C1CA4-6E45-4F63-9D99-7D6C7D8D7289}" srcOrd="0" destOrd="1" presId="urn:microsoft.com/office/officeart/2005/8/layout/vList2"/>
    <dgm:cxn modelId="{8452EC05-C27B-40A1-B097-29DD79414F02}" srcId="{F4867412-5F46-441B-9B8C-919AFF58D708}" destId="{2F636D16-34B9-4111-A5FB-3C953047560F}" srcOrd="1" destOrd="0" parTransId="{F1B62786-5120-4D3D-833E-866E7E73C5CE}" sibTransId="{963B9671-5DCE-4D49-BA51-333E732CA413}"/>
    <dgm:cxn modelId="{CEC9D90D-060E-4D74-A88D-55392D229CD3}" type="presOf" srcId="{2F636D16-34B9-4111-A5FB-3C953047560F}" destId="{5EE335D1-5B87-4F82-96CD-82E5E4DB6C4C}" srcOrd="0" destOrd="1" presId="urn:microsoft.com/office/officeart/2005/8/layout/vList2"/>
    <dgm:cxn modelId="{83151712-557D-4A2E-B985-2828C5DA72E5}" type="presOf" srcId="{FB27D217-4B39-4456-A4CB-F03C952F6D83}" destId="{5EE335D1-5B87-4F82-96CD-82E5E4DB6C4C}" srcOrd="0" destOrd="12" presId="urn:microsoft.com/office/officeart/2005/8/layout/vList2"/>
    <dgm:cxn modelId="{9A6E2819-B261-4BC8-AC73-CAD824C7598B}" srcId="{F4867412-5F46-441B-9B8C-919AFF58D708}" destId="{9641F945-6755-4BAF-8B9A-1D51EB2DACA3}" srcOrd="16" destOrd="0" parTransId="{58C633A4-6145-42E8-B8D7-FFB6FAA28853}" sibTransId="{C5529234-A86C-4BB4-A7CF-A9CF160AC7E4}"/>
    <dgm:cxn modelId="{9B122F1E-2DC8-4CDA-8436-F5B9C9FD3D8C}" srcId="{F4867412-5F46-441B-9B8C-919AFF58D708}" destId="{E5CD3BE3-DE0A-4B59-998B-AB45496A7907}" srcOrd="8" destOrd="0" parTransId="{A5BCF467-4459-4983-9314-8F62B3FBD383}" sibTransId="{6415C99F-7640-4FA7-B45C-57F5977048A8}"/>
    <dgm:cxn modelId="{9C171220-67A6-4D28-9859-0E93E40BFF9A}" srcId="{F4867412-5F46-441B-9B8C-919AFF58D708}" destId="{BD72D1B2-68A5-43A8-9736-9DA131FAFEA2}" srcOrd="14" destOrd="0" parTransId="{0A06023C-6D55-4098-A088-3E67809D662E}" sibTransId="{832EF24E-7EE3-4605-951B-00A2E79269D3}"/>
    <dgm:cxn modelId="{91C61C22-8B2D-43F4-8644-B40590A57BB7}" srcId="{F4867412-5F46-441B-9B8C-919AFF58D708}" destId="{C4183129-B118-4345-BEFC-C0EF771186DE}" srcOrd="11" destOrd="0" parTransId="{A86B730F-1394-466A-A00A-99BCCCAEAA5E}" sibTransId="{6944F2FF-F711-40BC-BCFA-6869EBE7A93D}"/>
    <dgm:cxn modelId="{1196EE30-2086-4896-AB11-532579A1C410}" srcId="{F4867412-5F46-441B-9B8C-919AFF58D708}" destId="{1582A286-5BC6-4993-BB97-553F65F133A2}" srcOrd="10" destOrd="0" parTransId="{A2E6CB2C-8ECE-44BF-A076-E3D4C7DFB3E5}" sibTransId="{E3E0C97E-6412-4011-BC7E-71E92EEEC10F}"/>
    <dgm:cxn modelId="{98DBFD33-7E32-4DC2-B876-EFCF3E482C87}" srcId="{CCD837EA-D943-42A7-9318-D97F0FC1EA72}" destId="{00673471-790C-4906-BB83-5B97496F638F}" srcOrd="1" destOrd="0" parTransId="{D0E4796C-B853-4F0B-BC8A-354F88AA6023}" sibTransId="{4F43C162-C1CB-4997-9B59-F23B4268378D}"/>
    <dgm:cxn modelId="{83A6B15C-D427-492F-BA12-6D33419ED31C}" srcId="{00673471-790C-4906-BB83-5B97496F638F}" destId="{656D23EE-31DE-4E0D-A851-E3EAA180B5F8}" srcOrd="2" destOrd="0" parTransId="{AD4474BE-F8F9-4589-ADFE-DBEACDEB2E11}" sibTransId="{FD3521B1-9E5A-41A1-B7EA-10F18C2B1408}"/>
    <dgm:cxn modelId="{3D236163-64F6-4B78-A96E-3A2C4DDD2111}" srcId="{F4867412-5F46-441B-9B8C-919AFF58D708}" destId="{CAEEF315-9672-4BAC-8E90-A6D61E360FD5}" srcOrd="6" destOrd="0" parTransId="{2F1F37A5-A521-4048-9CA3-4519D04513E3}" sibTransId="{45C328BF-0133-4175-B63C-5D1758327C0E}"/>
    <dgm:cxn modelId="{93709643-30B2-4F94-A316-279E46314FD3}" type="presOf" srcId="{50FC6E7B-C049-4C5F-819E-5D7EFD13892B}" destId="{5EE335D1-5B87-4F82-96CD-82E5E4DB6C4C}" srcOrd="0" destOrd="5" presId="urn:microsoft.com/office/officeart/2005/8/layout/vList2"/>
    <dgm:cxn modelId="{E0E7D763-9BA2-4A34-966D-4827F13D8EFD}" type="presOf" srcId="{9641F945-6755-4BAF-8B9A-1D51EB2DACA3}" destId="{5EE335D1-5B87-4F82-96CD-82E5E4DB6C4C}" srcOrd="0" destOrd="16" presId="urn:microsoft.com/office/officeart/2005/8/layout/vList2"/>
    <dgm:cxn modelId="{C8566165-1230-45A2-B770-A3FA9C5DF55C}" srcId="{F4867412-5F46-441B-9B8C-919AFF58D708}" destId="{8EFBCA8D-F9CD-440C-9FE8-D28B7FDFD4F4}" srcOrd="0" destOrd="0" parTransId="{B09814CC-F6BB-4F76-8330-C8E313C607F6}" sibTransId="{3C2B4559-04BB-4721-ABA2-E4CA8C99C43C}"/>
    <dgm:cxn modelId="{E76E6745-843A-45C1-95B5-01314C19A5F6}" type="presOf" srcId="{149BC7BD-A47C-44F6-87D1-857FF224E8E1}" destId="{5EE335D1-5B87-4F82-96CD-82E5E4DB6C4C}" srcOrd="0" destOrd="3" presId="urn:microsoft.com/office/officeart/2005/8/layout/vList2"/>
    <dgm:cxn modelId="{20BF9048-5EA8-4692-9B82-9F29674CED28}" srcId="{F4867412-5F46-441B-9B8C-919AFF58D708}" destId="{2C5FC28E-30D8-4D39-91B3-2B48CF1433B6}" srcOrd="7" destOrd="0" parTransId="{9A105F34-451E-4F6A-99FC-DC246600FD38}" sibTransId="{059D19BD-4558-4921-951A-032AD1C7AE3D}"/>
    <dgm:cxn modelId="{B6F6116D-495A-4458-8058-21C98053DDC0}" type="presOf" srcId="{A90D4C9B-60DE-4DD0-9869-6DC85C98F68B}" destId="{5EE335D1-5B87-4F82-96CD-82E5E4DB6C4C}" srcOrd="0" destOrd="9" presId="urn:microsoft.com/office/officeart/2005/8/layout/vList2"/>
    <dgm:cxn modelId="{485BD54D-843C-4584-A819-A54BCC417BC4}" type="presOf" srcId="{2A7C1F09-03F4-4029-A41E-1C1D57CC8F56}" destId="{710C1CA4-6E45-4F63-9D99-7D6C7D8D7289}" srcOrd="0" destOrd="0" presId="urn:microsoft.com/office/officeart/2005/8/layout/vList2"/>
    <dgm:cxn modelId="{DA59CA72-3F88-474E-9651-D58FF91C7661}" srcId="{F4867412-5F46-441B-9B8C-919AFF58D708}" destId="{50FC6E7B-C049-4C5F-819E-5D7EFD13892B}" srcOrd="5" destOrd="0" parTransId="{EB58F6E5-3D11-4A53-BACA-04DC27EF15B7}" sibTransId="{32FB0C85-82AE-4F26-9ACB-351A92CCEF1B}"/>
    <dgm:cxn modelId="{91C97D77-AA68-496F-8814-46D5D9588235}" srcId="{00673471-790C-4906-BB83-5B97496F638F}" destId="{2A7C1F09-03F4-4029-A41E-1C1D57CC8F56}" srcOrd="0" destOrd="0" parTransId="{C9EF50A1-932B-44B5-9022-47C7F49A1A8B}" sibTransId="{86F3239D-9939-430E-B210-C6290FECB4D8}"/>
    <dgm:cxn modelId="{5E394389-B808-4E4D-B991-F29FCD12AC07}" type="presOf" srcId="{DFB94895-741F-460C-9762-E75380F697BF}" destId="{5EE335D1-5B87-4F82-96CD-82E5E4DB6C4C}" srcOrd="0" destOrd="4" presId="urn:microsoft.com/office/officeart/2005/8/layout/vList2"/>
    <dgm:cxn modelId="{939A2D8C-90D0-4A0E-B45F-58951A6F9811}" type="presOf" srcId="{CAEEF315-9672-4BAC-8E90-A6D61E360FD5}" destId="{5EE335D1-5B87-4F82-96CD-82E5E4DB6C4C}" srcOrd="0" destOrd="6" presId="urn:microsoft.com/office/officeart/2005/8/layout/vList2"/>
    <dgm:cxn modelId="{41E0168F-131E-4983-AAA1-9ECB04462C7D}" srcId="{F4867412-5F46-441B-9B8C-919AFF58D708}" destId="{B3B8FC0D-4880-407F-A17C-DD634A76CD95}" srcOrd="15" destOrd="0" parTransId="{345C9FD6-DF9C-40F4-9FD5-828ECA3FC131}" sibTransId="{5ADCD41A-FCE7-4253-B8FA-1737E7BB1F1A}"/>
    <dgm:cxn modelId="{5A10BB8F-0FEE-4AFC-A026-BED6BCD572B6}" type="presOf" srcId="{B3B8FC0D-4880-407F-A17C-DD634A76CD95}" destId="{5EE335D1-5B87-4F82-96CD-82E5E4DB6C4C}" srcOrd="0" destOrd="15" presId="urn:microsoft.com/office/officeart/2005/8/layout/vList2"/>
    <dgm:cxn modelId="{3A0D4F97-B3C9-4180-BD4A-68508C67F09E}" srcId="{F4867412-5F46-441B-9B8C-919AFF58D708}" destId="{A90D4C9B-60DE-4DD0-9869-6DC85C98F68B}" srcOrd="9" destOrd="0" parTransId="{674EDF7B-1369-47E0-B919-46B3B7D2067D}" sibTransId="{5456FE27-40B1-4FC2-9152-6E1054FFABFB}"/>
    <dgm:cxn modelId="{D5050398-DF30-4328-BFE7-CF01D088EA3D}" type="presOf" srcId="{2C5FC28E-30D8-4D39-91B3-2B48CF1433B6}" destId="{5EE335D1-5B87-4F82-96CD-82E5E4DB6C4C}" srcOrd="0" destOrd="7" presId="urn:microsoft.com/office/officeart/2005/8/layout/vList2"/>
    <dgm:cxn modelId="{5F551B9C-265D-45F9-A222-8B1B5A3CCF82}" type="presOf" srcId="{E3D6D0ED-5B67-479D-AD94-1DD33F28ADB4}" destId="{5EE335D1-5B87-4F82-96CD-82E5E4DB6C4C}" srcOrd="0" destOrd="2" presId="urn:microsoft.com/office/officeart/2005/8/layout/vList2"/>
    <dgm:cxn modelId="{BFF8C9A8-3176-4DBC-A5C2-C3BE2ECAAC46}" srcId="{00673471-790C-4906-BB83-5B97496F638F}" destId="{6185F4BE-5AEB-44AC-A03D-861FB60962A5}" srcOrd="1" destOrd="0" parTransId="{2F7A371C-7040-4E45-807B-A5C1BCF99A56}" sibTransId="{893E6E57-EF15-485E-91F4-1507DBA24BA5}"/>
    <dgm:cxn modelId="{2171DCAA-B1F5-42A6-878B-D979C9CA5A6A}" type="presOf" srcId="{656D23EE-31DE-4E0D-A851-E3EAA180B5F8}" destId="{710C1CA4-6E45-4F63-9D99-7D6C7D8D7289}" srcOrd="0" destOrd="2" presId="urn:microsoft.com/office/officeart/2005/8/layout/vList2"/>
    <dgm:cxn modelId="{764647AE-51C8-42EC-93E4-6F3022D5B229}" type="presOf" srcId="{C4183129-B118-4345-BEFC-C0EF771186DE}" destId="{5EE335D1-5B87-4F82-96CD-82E5E4DB6C4C}" srcOrd="0" destOrd="11" presId="urn:microsoft.com/office/officeart/2005/8/layout/vList2"/>
    <dgm:cxn modelId="{466D7BB5-4B6B-409D-874E-C3B92064A7F6}" srcId="{F4867412-5F46-441B-9B8C-919AFF58D708}" destId="{FB27D217-4B39-4456-A4CB-F03C952F6D83}" srcOrd="12" destOrd="0" parTransId="{711EE2CF-BC47-4CF8-AF89-445546AD1C0A}" sibTransId="{78B518C9-DA9D-4978-AC89-02B9D9B1F4D0}"/>
    <dgm:cxn modelId="{0BEBF7C4-7924-40F9-8510-CDBEE1F65012}" srcId="{F4867412-5F46-441B-9B8C-919AFF58D708}" destId="{149BC7BD-A47C-44F6-87D1-857FF224E8E1}" srcOrd="3" destOrd="0" parTransId="{86517C64-A6FB-4453-995C-82EFE036B115}" sibTransId="{D456AF4D-3F8C-4081-8A33-290A013FFBDC}"/>
    <dgm:cxn modelId="{2B5743CC-0C53-4FB2-8F60-9484FED9CA81}" type="presOf" srcId="{F7461BB6-D2BB-4982-AEFD-CACC4984717F}" destId="{C048D9F7-33C6-4D6C-92EC-25696B2BD345}" srcOrd="0" destOrd="0" presId="urn:microsoft.com/office/officeart/2005/8/layout/vList2"/>
    <dgm:cxn modelId="{40980FCD-DFB6-47E2-B087-C231C8854253}" type="presOf" srcId="{BD72D1B2-68A5-43A8-9736-9DA131FAFEA2}" destId="{5EE335D1-5B87-4F82-96CD-82E5E4DB6C4C}" srcOrd="0" destOrd="14" presId="urn:microsoft.com/office/officeart/2005/8/layout/vList2"/>
    <dgm:cxn modelId="{6F7CBBD6-EE2E-44AB-A780-A2DC5E27BF43}" srcId="{F4867412-5F46-441B-9B8C-919AFF58D708}" destId="{DFB94895-741F-460C-9762-E75380F697BF}" srcOrd="4" destOrd="0" parTransId="{ACC9AAFB-59DC-4726-9B94-B27122C390D0}" sibTransId="{D3A60F54-A022-46DF-BE9B-7D4B1B2309BB}"/>
    <dgm:cxn modelId="{1EDBADD7-BF36-43C1-AB07-779C89A6A513}" type="presOf" srcId="{502A5770-E7B4-4BAF-A175-05CDCC650C7D}" destId="{5EE335D1-5B87-4F82-96CD-82E5E4DB6C4C}" srcOrd="0" destOrd="13" presId="urn:microsoft.com/office/officeart/2005/8/layout/vList2"/>
    <dgm:cxn modelId="{CCBC90D8-E6F2-4E40-8AAE-65A1F1247D38}" type="presOf" srcId="{00673471-790C-4906-BB83-5B97496F638F}" destId="{B9B04DB8-6660-4170-989F-E76BD995B932}" srcOrd="0" destOrd="0" presId="urn:microsoft.com/office/officeart/2005/8/layout/vList2"/>
    <dgm:cxn modelId="{F18829E1-1A27-4C88-87FE-7B449945EC53}" type="presOf" srcId="{CCD837EA-D943-42A7-9318-D97F0FC1EA72}" destId="{FFDB018A-FB23-4561-B3A7-971FECFC4D18}" srcOrd="0" destOrd="0" presId="urn:microsoft.com/office/officeart/2005/8/layout/vList2"/>
    <dgm:cxn modelId="{2530D6E3-5860-4F73-99DD-C4A8B7695579}" srcId="{F4867412-5F46-441B-9B8C-919AFF58D708}" destId="{E3D6D0ED-5B67-479D-AD94-1DD33F28ADB4}" srcOrd="2" destOrd="0" parTransId="{062A36F2-4B2D-4824-81A0-373E767DF785}" sibTransId="{AEAD72CA-6FFC-4D7A-BD9F-E171CAA1AA7F}"/>
    <dgm:cxn modelId="{34E95CE8-902E-4C9A-B727-D245FBB4B442}" type="presOf" srcId="{F4867412-5F46-441B-9B8C-919AFF58D708}" destId="{8F9BFD66-42A5-4247-A0F7-822287992584}" srcOrd="0" destOrd="0" presId="urn:microsoft.com/office/officeart/2005/8/layout/vList2"/>
    <dgm:cxn modelId="{7BC9E0F6-5820-4FF7-8C3B-9E2E85ACB2E0}" type="presOf" srcId="{E5CD3BE3-DE0A-4B59-998B-AB45496A7907}" destId="{5EE335D1-5B87-4F82-96CD-82E5E4DB6C4C}" srcOrd="0" destOrd="8" presId="urn:microsoft.com/office/officeart/2005/8/layout/vList2"/>
    <dgm:cxn modelId="{75F8CAF8-5028-41F7-A0BC-C7E403791646}" srcId="{CCD837EA-D943-42A7-9318-D97F0FC1EA72}" destId="{F4867412-5F46-441B-9B8C-919AFF58D708}" srcOrd="0" destOrd="0" parTransId="{A0AFE0CC-6E4A-4FE3-9820-707B6C5242CA}" sibTransId="{F7238772-C09B-449C-83FF-DECBC803EBCB}"/>
    <dgm:cxn modelId="{FAC4F4F8-0A77-4821-8A22-A6B268EBF9B5}" srcId="{F4867412-5F46-441B-9B8C-919AFF58D708}" destId="{502A5770-E7B4-4BAF-A175-05CDCC650C7D}" srcOrd="13" destOrd="0" parTransId="{CC47A45A-F4B3-4ECF-9EE8-1364B5400281}" sibTransId="{A71BD4D9-981A-42E5-982F-9C60AA289D83}"/>
    <dgm:cxn modelId="{313297F9-C6AE-4229-8E8D-E9C3E18432CD}" type="presOf" srcId="{8EFBCA8D-F9CD-440C-9FE8-D28B7FDFD4F4}" destId="{5EE335D1-5B87-4F82-96CD-82E5E4DB6C4C}" srcOrd="0" destOrd="0" presId="urn:microsoft.com/office/officeart/2005/8/layout/vList2"/>
    <dgm:cxn modelId="{C9247BFE-9943-4352-925B-F70406821360}" srcId="{CCD837EA-D943-42A7-9318-D97F0FC1EA72}" destId="{F7461BB6-D2BB-4982-AEFD-CACC4984717F}" srcOrd="2" destOrd="0" parTransId="{97E1ECDF-C4A9-467F-A3D0-254B29EC13A6}" sibTransId="{F46B21A4-2B20-41FF-8460-E121EFA28BEE}"/>
    <dgm:cxn modelId="{46D195A5-7E32-4030-AD82-103B3A7475EC}" type="presParOf" srcId="{FFDB018A-FB23-4561-B3A7-971FECFC4D18}" destId="{8F9BFD66-42A5-4247-A0F7-822287992584}" srcOrd="0" destOrd="0" presId="urn:microsoft.com/office/officeart/2005/8/layout/vList2"/>
    <dgm:cxn modelId="{22F9BD3C-0E4D-402F-94CF-83CA3CF67529}" type="presParOf" srcId="{FFDB018A-FB23-4561-B3A7-971FECFC4D18}" destId="{5EE335D1-5B87-4F82-96CD-82E5E4DB6C4C}" srcOrd="1" destOrd="0" presId="urn:microsoft.com/office/officeart/2005/8/layout/vList2"/>
    <dgm:cxn modelId="{687FD694-9F11-4799-BC39-33F6B4186F2E}" type="presParOf" srcId="{FFDB018A-FB23-4561-B3A7-971FECFC4D18}" destId="{B9B04DB8-6660-4170-989F-E76BD995B932}" srcOrd="2" destOrd="0" presId="urn:microsoft.com/office/officeart/2005/8/layout/vList2"/>
    <dgm:cxn modelId="{91C73F9A-8B04-45EC-B5EB-344617D006A3}" type="presParOf" srcId="{FFDB018A-FB23-4561-B3A7-971FECFC4D18}" destId="{710C1CA4-6E45-4F63-9D99-7D6C7D8D7289}" srcOrd="3" destOrd="0" presId="urn:microsoft.com/office/officeart/2005/8/layout/vList2"/>
    <dgm:cxn modelId="{AF6EE888-1489-42F7-AF8C-F8EEC8B22C4A}" type="presParOf" srcId="{FFDB018A-FB23-4561-B3A7-971FECFC4D18}" destId="{C048D9F7-33C6-4D6C-92EC-25696B2BD345}" srcOrd="4"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9BFD66-42A5-4247-A0F7-822287992584}">
      <dsp:nvSpPr>
        <dsp:cNvPr id="0" name=""/>
        <dsp:cNvSpPr/>
      </dsp:nvSpPr>
      <dsp:spPr>
        <a:xfrm>
          <a:off x="0" y="79331"/>
          <a:ext cx="6553200" cy="44522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Font typeface="Arial" panose="020B0604020202020204" pitchFamily="34" charset="0"/>
            <a:buNone/>
          </a:pPr>
          <a:r>
            <a:rPr lang="en-US" sz="1400" b="0" i="0" kern="1200" dirty="0">
              <a:solidFill>
                <a:schemeClr val="bg1"/>
              </a:solidFill>
              <a:effectLst/>
              <a:latin typeface="Book Antiqua" panose="02040602050305030304" pitchFamily="18" charset="0"/>
            </a:rPr>
            <a:t>17 Categorical features:</a:t>
          </a:r>
          <a:endParaRPr lang="en-IL" sz="1400" kern="1200" dirty="0">
            <a:solidFill>
              <a:schemeClr val="bg1"/>
            </a:solidFill>
          </a:endParaRPr>
        </a:p>
      </dsp:txBody>
      <dsp:txXfrm>
        <a:off x="21734" y="101065"/>
        <a:ext cx="6509732" cy="401753"/>
      </dsp:txXfrm>
    </dsp:sp>
    <dsp:sp modelId="{5EE335D1-5B87-4F82-96CD-82E5E4DB6C4C}">
      <dsp:nvSpPr>
        <dsp:cNvPr id="0" name=""/>
        <dsp:cNvSpPr/>
      </dsp:nvSpPr>
      <dsp:spPr>
        <a:xfrm>
          <a:off x="0" y="586267"/>
          <a:ext cx="8128000" cy="34959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17780" rIns="99568" bIns="17780" numCol="1" spcCol="1270" anchor="t" anchorCtr="0">
          <a:noAutofit/>
        </a:bodyPr>
        <a:lstStyle/>
        <a:p>
          <a:pPr marL="57150" lvl="1" indent="-57150" algn="l" defTabSz="488950">
            <a:lnSpc>
              <a:spcPct val="90000"/>
            </a:lnSpc>
            <a:spcBef>
              <a:spcPct val="0"/>
            </a:spcBef>
            <a:spcAft>
              <a:spcPct val="20000"/>
            </a:spcAft>
            <a:buFont typeface="Arial" panose="020B0604020202020204" pitchFamily="34" charset="0"/>
            <a:buChar char="•"/>
          </a:pPr>
          <a:r>
            <a:rPr lang="en-US" sz="1100" b="0" i="0" kern="1200" dirty="0">
              <a:solidFill>
                <a:srgbClr val="652D74"/>
              </a:solidFill>
              <a:effectLst/>
              <a:latin typeface="Book Antiqua" panose="02040602050305030304" pitchFamily="18" charset="0"/>
            </a:rPr>
            <a:t>CustomerID: Customer ID unique for each customer</a:t>
          </a:r>
          <a:endParaRPr lang="en-IL" sz="1100" kern="1200" dirty="0"/>
        </a:p>
        <a:p>
          <a:pPr marL="57150" lvl="1" indent="-57150" algn="l" defTabSz="488950">
            <a:lnSpc>
              <a:spcPct val="90000"/>
            </a:lnSpc>
            <a:spcBef>
              <a:spcPct val="0"/>
            </a:spcBef>
            <a:spcAft>
              <a:spcPct val="20000"/>
            </a:spcAft>
            <a:buChar char="•"/>
          </a:pPr>
          <a:r>
            <a:rPr lang="en-US" sz="1100" b="0" i="0" kern="1200">
              <a:solidFill>
                <a:srgbClr val="652D74"/>
              </a:solidFill>
              <a:effectLst/>
              <a:latin typeface="Book Antiqua" panose="02040602050305030304" pitchFamily="18" charset="0"/>
            </a:rPr>
            <a:t>gender: Whether the customer is a male or a female</a:t>
          </a:r>
          <a:endParaRPr lang="en-US" sz="1100" b="0" i="0" kern="1200" dirty="0">
            <a:solidFill>
              <a:srgbClr val="652D74"/>
            </a:solidFill>
            <a:effectLst/>
            <a:latin typeface="Book Antiqua" panose="02040602050305030304" pitchFamily="18" charset="0"/>
          </a:endParaRPr>
        </a:p>
        <a:p>
          <a:pPr marL="57150" lvl="1" indent="-57150" algn="l" defTabSz="488950">
            <a:lnSpc>
              <a:spcPct val="90000"/>
            </a:lnSpc>
            <a:spcBef>
              <a:spcPct val="0"/>
            </a:spcBef>
            <a:spcAft>
              <a:spcPct val="20000"/>
            </a:spcAft>
            <a:buChar char="•"/>
          </a:pPr>
          <a:r>
            <a:rPr lang="en-US" sz="1100" b="0" i="0" kern="1200">
              <a:solidFill>
                <a:srgbClr val="652D74"/>
              </a:solidFill>
              <a:effectLst/>
              <a:latin typeface="Book Antiqua" panose="02040602050305030304" pitchFamily="18" charset="0"/>
            </a:rPr>
            <a:t>SeniorCitizen: Whether the customer is a senior citizen or not (1, 0)</a:t>
          </a:r>
          <a:endParaRPr lang="en-US" sz="1100" b="0" i="0" kern="1200" dirty="0">
            <a:solidFill>
              <a:srgbClr val="652D74"/>
            </a:solidFill>
            <a:effectLst/>
            <a:latin typeface="Book Antiqua" panose="02040602050305030304" pitchFamily="18" charset="0"/>
          </a:endParaRPr>
        </a:p>
        <a:p>
          <a:pPr marL="57150" lvl="1" indent="-57150" algn="l" defTabSz="488950">
            <a:lnSpc>
              <a:spcPct val="90000"/>
            </a:lnSpc>
            <a:spcBef>
              <a:spcPct val="0"/>
            </a:spcBef>
            <a:spcAft>
              <a:spcPct val="20000"/>
            </a:spcAft>
            <a:buChar char="•"/>
          </a:pPr>
          <a:r>
            <a:rPr lang="en-US" sz="1100" b="0" i="0" kern="1200">
              <a:solidFill>
                <a:srgbClr val="652D74"/>
              </a:solidFill>
              <a:effectLst/>
              <a:latin typeface="Book Antiqua" panose="02040602050305030304" pitchFamily="18" charset="0"/>
            </a:rPr>
            <a:t>Partner: Whether the customer has a partner or not (Yes, No)</a:t>
          </a:r>
          <a:endParaRPr lang="en-US" sz="1100" b="0" i="0" kern="1200" dirty="0">
            <a:solidFill>
              <a:srgbClr val="652D74"/>
            </a:solidFill>
            <a:effectLst/>
            <a:latin typeface="Book Antiqua" panose="02040602050305030304" pitchFamily="18" charset="0"/>
          </a:endParaRPr>
        </a:p>
        <a:p>
          <a:pPr marL="57150" lvl="1" indent="-57150" algn="l" defTabSz="488950">
            <a:lnSpc>
              <a:spcPct val="90000"/>
            </a:lnSpc>
            <a:spcBef>
              <a:spcPct val="0"/>
            </a:spcBef>
            <a:spcAft>
              <a:spcPct val="20000"/>
            </a:spcAft>
            <a:buChar char="•"/>
          </a:pPr>
          <a:r>
            <a:rPr lang="en-US" sz="1100" b="0" i="0" kern="1200">
              <a:solidFill>
                <a:srgbClr val="652D74"/>
              </a:solidFill>
              <a:effectLst/>
              <a:latin typeface="Book Antiqua" panose="02040602050305030304" pitchFamily="18" charset="0"/>
            </a:rPr>
            <a:t>Dependent: Whether the customer has dependents or not (Yes, No)</a:t>
          </a:r>
          <a:endParaRPr lang="en-US" sz="1100" b="0" i="0" kern="1200" dirty="0">
            <a:solidFill>
              <a:srgbClr val="652D74"/>
            </a:solidFill>
            <a:effectLst/>
            <a:latin typeface="Book Antiqua" panose="02040602050305030304" pitchFamily="18" charset="0"/>
          </a:endParaRPr>
        </a:p>
        <a:p>
          <a:pPr marL="57150" lvl="1" indent="-57150" algn="l" defTabSz="488950">
            <a:lnSpc>
              <a:spcPct val="90000"/>
            </a:lnSpc>
            <a:spcBef>
              <a:spcPct val="0"/>
            </a:spcBef>
            <a:spcAft>
              <a:spcPct val="20000"/>
            </a:spcAft>
            <a:buChar char="•"/>
          </a:pPr>
          <a:r>
            <a:rPr lang="en-US" sz="1100" b="0" i="0" kern="1200">
              <a:solidFill>
                <a:srgbClr val="652D74"/>
              </a:solidFill>
              <a:effectLst/>
              <a:latin typeface="Book Antiqua" panose="02040602050305030304" pitchFamily="18" charset="0"/>
            </a:rPr>
            <a:t>PhoneService: Whether the customer has a phone service or not (Yes, No)</a:t>
          </a:r>
          <a:endParaRPr lang="en-US" sz="1100" b="0" i="0" kern="1200" dirty="0">
            <a:solidFill>
              <a:srgbClr val="652D74"/>
            </a:solidFill>
            <a:effectLst/>
            <a:latin typeface="Book Antiqua" panose="02040602050305030304" pitchFamily="18" charset="0"/>
          </a:endParaRPr>
        </a:p>
        <a:p>
          <a:pPr marL="57150" lvl="1" indent="-57150" algn="l" defTabSz="488950">
            <a:lnSpc>
              <a:spcPct val="90000"/>
            </a:lnSpc>
            <a:spcBef>
              <a:spcPct val="0"/>
            </a:spcBef>
            <a:spcAft>
              <a:spcPct val="20000"/>
            </a:spcAft>
            <a:buChar char="•"/>
          </a:pPr>
          <a:r>
            <a:rPr lang="en-US" sz="1100" b="0" i="0" kern="1200">
              <a:solidFill>
                <a:srgbClr val="652D74"/>
              </a:solidFill>
              <a:effectLst/>
              <a:latin typeface="Book Antiqua" panose="02040602050305030304" pitchFamily="18" charset="0"/>
            </a:rPr>
            <a:t>MultipeLines: Whether the customer has multiple lines or not (Yes, No, No phone service)</a:t>
          </a:r>
          <a:endParaRPr lang="en-US" sz="1100" b="0" i="0" kern="1200" dirty="0">
            <a:solidFill>
              <a:srgbClr val="652D74"/>
            </a:solidFill>
            <a:effectLst/>
            <a:latin typeface="Book Antiqua" panose="02040602050305030304" pitchFamily="18" charset="0"/>
          </a:endParaRPr>
        </a:p>
        <a:p>
          <a:pPr marL="57150" lvl="1" indent="-57150" algn="l" defTabSz="488950">
            <a:lnSpc>
              <a:spcPct val="90000"/>
            </a:lnSpc>
            <a:spcBef>
              <a:spcPct val="0"/>
            </a:spcBef>
            <a:spcAft>
              <a:spcPct val="20000"/>
            </a:spcAft>
            <a:buChar char="•"/>
          </a:pPr>
          <a:r>
            <a:rPr lang="en-US" sz="1100" b="0" i="0" kern="1200">
              <a:solidFill>
                <a:srgbClr val="652D74"/>
              </a:solidFill>
              <a:effectLst/>
              <a:latin typeface="Book Antiqua" panose="02040602050305030304" pitchFamily="18" charset="0"/>
            </a:rPr>
            <a:t>InternetService: Customer’s internet service provider (DSL, Fiber optic, No)</a:t>
          </a:r>
          <a:endParaRPr lang="en-US" sz="1100" b="0" i="0" kern="1200" dirty="0">
            <a:solidFill>
              <a:srgbClr val="652D74"/>
            </a:solidFill>
            <a:effectLst/>
            <a:latin typeface="Book Antiqua" panose="02040602050305030304" pitchFamily="18" charset="0"/>
          </a:endParaRPr>
        </a:p>
        <a:p>
          <a:pPr marL="57150" lvl="1" indent="-57150" algn="l" defTabSz="488950">
            <a:lnSpc>
              <a:spcPct val="90000"/>
            </a:lnSpc>
            <a:spcBef>
              <a:spcPct val="0"/>
            </a:spcBef>
            <a:spcAft>
              <a:spcPct val="20000"/>
            </a:spcAft>
            <a:buChar char="•"/>
          </a:pPr>
          <a:r>
            <a:rPr lang="en-US" sz="1100" b="0" i="0" kern="1200">
              <a:solidFill>
                <a:srgbClr val="652D74"/>
              </a:solidFill>
              <a:effectLst/>
              <a:latin typeface="Book Antiqua" panose="02040602050305030304" pitchFamily="18" charset="0"/>
            </a:rPr>
            <a:t>OnlineSecurity: Whether the customer has online security or not (Yes, No, No internet service)</a:t>
          </a:r>
          <a:endParaRPr lang="en-US" sz="1100" b="0" i="0" kern="1200" dirty="0">
            <a:solidFill>
              <a:srgbClr val="652D74"/>
            </a:solidFill>
            <a:effectLst/>
            <a:latin typeface="Book Antiqua" panose="02040602050305030304" pitchFamily="18" charset="0"/>
          </a:endParaRPr>
        </a:p>
        <a:p>
          <a:pPr marL="57150" lvl="1" indent="-57150" algn="l" defTabSz="488950">
            <a:lnSpc>
              <a:spcPct val="90000"/>
            </a:lnSpc>
            <a:spcBef>
              <a:spcPct val="0"/>
            </a:spcBef>
            <a:spcAft>
              <a:spcPct val="20000"/>
            </a:spcAft>
            <a:buChar char="•"/>
          </a:pPr>
          <a:r>
            <a:rPr lang="en-US" sz="1100" b="0" i="0" kern="1200">
              <a:solidFill>
                <a:srgbClr val="652D74"/>
              </a:solidFill>
              <a:effectLst/>
              <a:latin typeface="Book Antiqua" panose="02040602050305030304" pitchFamily="18" charset="0"/>
            </a:rPr>
            <a:t>OnlineBackup: Whether the customer has an online backup or not (Yes, No, No internet service)</a:t>
          </a:r>
          <a:endParaRPr lang="en-US" sz="1100" b="0" i="0" kern="1200" dirty="0">
            <a:solidFill>
              <a:srgbClr val="652D74"/>
            </a:solidFill>
            <a:effectLst/>
            <a:latin typeface="Book Antiqua" panose="02040602050305030304" pitchFamily="18" charset="0"/>
          </a:endParaRPr>
        </a:p>
        <a:p>
          <a:pPr marL="57150" lvl="1" indent="-57150" algn="l" defTabSz="488950">
            <a:lnSpc>
              <a:spcPct val="90000"/>
            </a:lnSpc>
            <a:spcBef>
              <a:spcPct val="0"/>
            </a:spcBef>
            <a:spcAft>
              <a:spcPct val="20000"/>
            </a:spcAft>
            <a:buChar char="•"/>
          </a:pPr>
          <a:r>
            <a:rPr lang="en-US" sz="1100" b="0" i="0" kern="1200">
              <a:solidFill>
                <a:srgbClr val="652D74"/>
              </a:solidFill>
              <a:effectLst/>
              <a:latin typeface="Book Antiqua" panose="02040602050305030304" pitchFamily="18" charset="0"/>
            </a:rPr>
            <a:t>DeviceProtection: Whether the customer has device protection or not (Yes, No, No internet service)</a:t>
          </a:r>
          <a:endParaRPr lang="en-US" sz="1100" b="0" i="0" kern="1200" dirty="0">
            <a:solidFill>
              <a:srgbClr val="652D74"/>
            </a:solidFill>
            <a:effectLst/>
            <a:latin typeface="Book Antiqua" panose="02040602050305030304" pitchFamily="18" charset="0"/>
          </a:endParaRPr>
        </a:p>
        <a:p>
          <a:pPr marL="57150" lvl="1" indent="-57150" algn="l" defTabSz="488950">
            <a:lnSpc>
              <a:spcPct val="90000"/>
            </a:lnSpc>
            <a:spcBef>
              <a:spcPct val="0"/>
            </a:spcBef>
            <a:spcAft>
              <a:spcPct val="20000"/>
            </a:spcAft>
            <a:buChar char="•"/>
          </a:pPr>
          <a:r>
            <a:rPr lang="en-US" sz="1100" b="0" i="0" kern="1200">
              <a:solidFill>
                <a:srgbClr val="652D74"/>
              </a:solidFill>
              <a:effectLst/>
              <a:latin typeface="Book Antiqua" panose="02040602050305030304" pitchFamily="18" charset="0"/>
            </a:rPr>
            <a:t>TechSupport: Whether the customer has tech support or not (Yes, No, No internet service)</a:t>
          </a:r>
          <a:endParaRPr lang="en-US" sz="1100" b="0" i="0" kern="1200" dirty="0">
            <a:solidFill>
              <a:srgbClr val="652D74"/>
            </a:solidFill>
            <a:effectLst/>
            <a:latin typeface="Book Antiqua" panose="02040602050305030304" pitchFamily="18" charset="0"/>
          </a:endParaRPr>
        </a:p>
        <a:p>
          <a:pPr marL="57150" lvl="1" indent="-57150" algn="l" defTabSz="488950">
            <a:lnSpc>
              <a:spcPct val="90000"/>
            </a:lnSpc>
            <a:spcBef>
              <a:spcPct val="0"/>
            </a:spcBef>
            <a:spcAft>
              <a:spcPct val="20000"/>
            </a:spcAft>
            <a:buChar char="•"/>
          </a:pPr>
          <a:r>
            <a:rPr lang="en-US" sz="1100" b="0" i="0" kern="1200">
              <a:solidFill>
                <a:srgbClr val="652D74"/>
              </a:solidFill>
              <a:effectLst/>
              <a:latin typeface="Book Antiqua" panose="02040602050305030304" pitchFamily="18" charset="0"/>
            </a:rPr>
            <a:t>StreamingTV: Whether the customer has streaming TV or not (Yes, No, No internet service)</a:t>
          </a:r>
          <a:endParaRPr lang="en-US" sz="1100" b="0" i="0" kern="1200" dirty="0">
            <a:solidFill>
              <a:srgbClr val="652D74"/>
            </a:solidFill>
            <a:effectLst/>
            <a:latin typeface="Book Antiqua" panose="02040602050305030304" pitchFamily="18" charset="0"/>
          </a:endParaRPr>
        </a:p>
        <a:p>
          <a:pPr marL="57150" lvl="1" indent="-57150" algn="l" defTabSz="488950">
            <a:lnSpc>
              <a:spcPct val="90000"/>
            </a:lnSpc>
            <a:spcBef>
              <a:spcPct val="0"/>
            </a:spcBef>
            <a:spcAft>
              <a:spcPct val="20000"/>
            </a:spcAft>
            <a:buChar char="•"/>
          </a:pPr>
          <a:r>
            <a:rPr lang="en-US" sz="1100" b="0" i="0" kern="1200">
              <a:solidFill>
                <a:srgbClr val="652D74"/>
              </a:solidFill>
              <a:effectLst/>
              <a:latin typeface="Book Antiqua" panose="02040602050305030304" pitchFamily="18" charset="0"/>
            </a:rPr>
            <a:t>StreamingMovies: Whether the customer has streaming movies or not (Yes, No, No internet service)</a:t>
          </a:r>
          <a:endParaRPr lang="en-US" sz="1100" b="0" i="0" kern="1200" dirty="0">
            <a:solidFill>
              <a:srgbClr val="652D74"/>
            </a:solidFill>
            <a:effectLst/>
            <a:latin typeface="Book Antiqua" panose="02040602050305030304" pitchFamily="18" charset="0"/>
          </a:endParaRPr>
        </a:p>
        <a:p>
          <a:pPr marL="57150" lvl="1" indent="-57150" algn="l" defTabSz="488950">
            <a:lnSpc>
              <a:spcPct val="90000"/>
            </a:lnSpc>
            <a:spcBef>
              <a:spcPct val="0"/>
            </a:spcBef>
            <a:spcAft>
              <a:spcPct val="20000"/>
            </a:spcAft>
            <a:buChar char="•"/>
          </a:pPr>
          <a:r>
            <a:rPr lang="en-US" sz="1100" b="0" i="0" kern="1200">
              <a:solidFill>
                <a:srgbClr val="652D74"/>
              </a:solidFill>
              <a:effectLst/>
              <a:latin typeface="Book Antiqua" panose="02040602050305030304" pitchFamily="18" charset="0"/>
            </a:rPr>
            <a:t>Contract: The contract term of the customer (Month-to-month, One year, Two years)</a:t>
          </a:r>
          <a:endParaRPr lang="en-US" sz="1100" b="0" i="0" kern="1200" dirty="0">
            <a:solidFill>
              <a:srgbClr val="652D74"/>
            </a:solidFill>
            <a:effectLst/>
            <a:latin typeface="Book Antiqua" panose="02040602050305030304" pitchFamily="18" charset="0"/>
          </a:endParaRPr>
        </a:p>
        <a:p>
          <a:pPr marL="57150" lvl="1" indent="-57150" algn="l" defTabSz="488950">
            <a:lnSpc>
              <a:spcPct val="90000"/>
            </a:lnSpc>
            <a:spcBef>
              <a:spcPct val="0"/>
            </a:spcBef>
            <a:spcAft>
              <a:spcPct val="20000"/>
            </a:spcAft>
            <a:buChar char="•"/>
          </a:pPr>
          <a:r>
            <a:rPr lang="en-US" sz="1100" b="0" i="0" kern="1200">
              <a:solidFill>
                <a:srgbClr val="652D74"/>
              </a:solidFill>
              <a:effectLst/>
              <a:latin typeface="Book Antiqua" panose="02040602050305030304" pitchFamily="18" charset="0"/>
            </a:rPr>
            <a:t>PaperlessBilling</a:t>
          </a:r>
          <a:endParaRPr lang="en-US" sz="1100" b="0" i="0" kern="1200" dirty="0">
            <a:solidFill>
              <a:srgbClr val="652D74"/>
            </a:solidFill>
            <a:effectLst/>
            <a:latin typeface="Book Antiqua" panose="02040602050305030304" pitchFamily="18" charset="0"/>
          </a:endParaRPr>
        </a:p>
        <a:p>
          <a:pPr marL="57150" lvl="1" indent="-57150" algn="l" defTabSz="488950">
            <a:lnSpc>
              <a:spcPct val="90000"/>
            </a:lnSpc>
            <a:spcBef>
              <a:spcPct val="0"/>
            </a:spcBef>
            <a:spcAft>
              <a:spcPct val="20000"/>
            </a:spcAft>
            <a:buChar char="•"/>
          </a:pPr>
          <a:r>
            <a:rPr lang="en-US" sz="1100" b="0" i="0" kern="1200" dirty="0">
              <a:solidFill>
                <a:srgbClr val="652D74"/>
              </a:solidFill>
              <a:effectLst/>
              <a:latin typeface="Book Antiqua" panose="02040602050305030304" pitchFamily="18" charset="0"/>
            </a:rPr>
            <a:t>PaymentMethod: (Electronic check, Mailed check, Bank transfer (automatic), Credit card (automatic))</a:t>
          </a:r>
        </a:p>
      </dsp:txBody>
      <dsp:txXfrm>
        <a:off x="0" y="586267"/>
        <a:ext cx="8128000" cy="3495977"/>
      </dsp:txXfrm>
    </dsp:sp>
    <dsp:sp modelId="{B9B04DB8-6660-4170-989F-E76BD995B932}">
      <dsp:nvSpPr>
        <dsp:cNvPr id="0" name=""/>
        <dsp:cNvSpPr/>
      </dsp:nvSpPr>
      <dsp:spPr>
        <a:xfrm>
          <a:off x="0" y="4082245"/>
          <a:ext cx="8128000" cy="44522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Font typeface="Arial" panose="020B0604020202020204" pitchFamily="34" charset="0"/>
            <a:buNone/>
          </a:pPr>
          <a:r>
            <a:rPr lang="en-US" sz="1400" b="0" i="0" kern="1200" dirty="0">
              <a:solidFill>
                <a:schemeClr val="bg1"/>
              </a:solidFill>
              <a:effectLst/>
              <a:latin typeface="Book Antiqua" panose="02040602050305030304" pitchFamily="18" charset="0"/>
            </a:rPr>
            <a:t>3 Numerical features:</a:t>
          </a:r>
          <a:endParaRPr lang="en-IL" sz="1400" kern="1200" dirty="0">
            <a:solidFill>
              <a:schemeClr val="bg1"/>
            </a:solidFill>
          </a:endParaRPr>
        </a:p>
      </dsp:txBody>
      <dsp:txXfrm>
        <a:off x="21734" y="4103979"/>
        <a:ext cx="8084532" cy="401753"/>
      </dsp:txXfrm>
    </dsp:sp>
    <dsp:sp modelId="{710C1CA4-6E45-4F63-9D99-7D6C7D8D7289}">
      <dsp:nvSpPr>
        <dsp:cNvPr id="0" name=""/>
        <dsp:cNvSpPr/>
      </dsp:nvSpPr>
      <dsp:spPr>
        <a:xfrm>
          <a:off x="0" y="4527466"/>
          <a:ext cx="8128000" cy="745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17780" rIns="99568" bIns="17780" numCol="1" spcCol="1270" anchor="t" anchorCtr="0">
          <a:noAutofit/>
        </a:bodyPr>
        <a:lstStyle/>
        <a:p>
          <a:pPr marL="57150" lvl="1" indent="-57150" algn="l" defTabSz="488950">
            <a:lnSpc>
              <a:spcPct val="90000"/>
            </a:lnSpc>
            <a:spcBef>
              <a:spcPct val="0"/>
            </a:spcBef>
            <a:spcAft>
              <a:spcPct val="20000"/>
            </a:spcAft>
            <a:buFont typeface="Arial" panose="020B0604020202020204" pitchFamily="34" charset="0"/>
            <a:buChar char="•"/>
          </a:pPr>
          <a:r>
            <a:rPr lang="en-US" sz="1100" b="0" i="0" kern="1200" dirty="0">
              <a:solidFill>
                <a:srgbClr val="652D74"/>
              </a:solidFill>
              <a:effectLst/>
              <a:latin typeface="Book Antiqua" panose="02040602050305030304" pitchFamily="18" charset="0"/>
            </a:rPr>
            <a:t>Tenure: Number of months the customer has stayed with the company</a:t>
          </a:r>
          <a:endParaRPr lang="en-IL" sz="1100" kern="1200" dirty="0"/>
        </a:p>
        <a:p>
          <a:pPr marL="57150" lvl="1" indent="-57150" algn="l" defTabSz="488950">
            <a:lnSpc>
              <a:spcPct val="90000"/>
            </a:lnSpc>
            <a:spcBef>
              <a:spcPct val="0"/>
            </a:spcBef>
            <a:spcAft>
              <a:spcPct val="20000"/>
            </a:spcAft>
            <a:buChar char="•"/>
          </a:pPr>
          <a:r>
            <a:rPr lang="en-US" sz="1100" b="0" i="0" kern="1200">
              <a:solidFill>
                <a:srgbClr val="652D74"/>
              </a:solidFill>
              <a:effectLst/>
              <a:latin typeface="Book Antiqua" panose="02040602050305030304" pitchFamily="18" charset="0"/>
            </a:rPr>
            <a:t>MonthlyCharges: The amount charged to the customer monthly</a:t>
          </a:r>
          <a:endParaRPr lang="en-US" sz="1100" b="0" i="0" kern="1200" dirty="0">
            <a:solidFill>
              <a:srgbClr val="652D74"/>
            </a:solidFill>
            <a:effectLst/>
            <a:latin typeface="Book Antiqua" panose="02040602050305030304" pitchFamily="18" charset="0"/>
          </a:endParaRPr>
        </a:p>
        <a:p>
          <a:pPr marL="57150" lvl="1" indent="-57150" algn="l" defTabSz="488950">
            <a:lnSpc>
              <a:spcPct val="90000"/>
            </a:lnSpc>
            <a:spcBef>
              <a:spcPct val="0"/>
            </a:spcBef>
            <a:spcAft>
              <a:spcPct val="20000"/>
            </a:spcAft>
            <a:buChar char="•"/>
          </a:pPr>
          <a:r>
            <a:rPr lang="en-US" sz="1100" b="0" i="0" kern="1200" dirty="0">
              <a:solidFill>
                <a:srgbClr val="652D74"/>
              </a:solidFill>
              <a:effectLst/>
              <a:latin typeface="Book Antiqua" panose="02040602050305030304" pitchFamily="18" charset="0"/>
            </a:rPr>
            <a:t>TotalCharges: The total amount charged to the customer</a:t>
          </a:r>
        </a:p>
      </dsp:txBody>
      <dsp:txXfrm>
        <a:off x="0" y="4527466"/>
        <a:ext cx="8128000" cy="745200"/>
      </dsp:txXfrm>
    </dsp:sp>
    <dsp:sp modelId="{C048D9F7-33C6-4D6C-92EC-25696B2BD345}">
      <dsp:nvSpPr>
        <dsp:cNvPr id="0" name=""/>
        <dsp:cNvSpPr/>
      </dsp:nvSpPr>
      <dsp:spPr>
        <a:xfrm>
          <a:off x="0" y="5272666"/>
          <a:ext cx="8128000" cy="44522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Font typeface="Arial" panose="020B0604020202020204" pitchFamily="34" charset="0"/>
            <a:buNone/>
          </a:pPr>
          <a:r>
            <a:rPr lang="en-US" sz="1400" b="0" i="0" kern="1200" dirty="0">
              <a:solidFill>
                <a:schemeClr val="bg1"/>
              </a:solidFill>
              <a:effectLst/>
              <a:latin typeface="Book Antiqua" panose="02040602050305030304" pitchFamily="18" charset="0"/>
            </a:rPr>
            <a:t>Prediction feature: Churn: Whether the customer churned or not (Yes or No)</a:t>
          </a:r>
          <a:endParaRPr lang="en-IL" sz="1400" kern="1200" dirty="0">
            <a:solidFill>
              <a:schemeClr val="bg1"/>
            </a:solidFill>
          </a:endParaRPr>
        </a:p>
      </dsp:txBody>
      <dsp:txXfrm>
        <a:off x="21734" y="5294400"/>
        <a:ext cx="8084532" cy="401753"/>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17.png"/></Relationships>
</file>

<file path=ppt/drawings/_rels/drawing2.xml.rels><?xml version="1.0" encoding="UTF-8" standalone="yes"?>
<Relationships xmlns="http://schemas.openxmlformats.org/package/2006/relationships"><Relationship Id="rId1" Type="http://schemas.openxmlformats.org/officeDocument/2006/relationships/image" Target="../media/image18.png"/></Relationships>
</file>

<file path=ppt/drawings/_rels/drawing3.x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cdr:x>
      <cdr:y>0</cdr:y>
    </cdr:from>
    <cdr:to>
      <cdr:x>1</cdr:x>
      <cdr:y>1</cdr:y>
    </cdr:to>
    <cdr:pic>
      <cdr:nvPicPr>
        <cdr:cNvPr id="2" name="chart">
          <a:extLst xmlns:a="http://schemas.openxmlformats.org/drawingml/2006/main">
            <a:ext uri="{FF2B5EF4-FFF2-40B4-BE49-F238E27FC236}">
              <a16:creationId xmlns:a16="http://schemas.microsoft.com/office/drawing/2014/main" id="{380DD393-B6CB-437E-B804-8A1DB118416B}"/>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0" y="0"/>
          <a:ext cx="3092060" cy="1584622"/>
        </a:xfrm>
        <a:prstGeom xmlns:a="http://schemas.openxmlformats.org/drawingml/2006/main" prst="rect">
          <a:avLst/>
        </a:prstGeom>
      </cdr:spPr>
    </cdr:pic>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1</cdr:x>
      <cdr:y>1</cdr:y>
    </cdr:to>
    <cdr:pic>
      <cdr:nvPicPr>
        <cdr:cNvPr id="2" name="chart">
          <a:extLst xmlns:a="http://schemas.openxmlformats.org/drawingml/2006/main">
            <a:ext uri="{FF2B5EF4-FFF2-40B4-BE49-F238E27FC236}">
              <a16:creationId xmlns:a16="http://schemas.microsoft.com/office/drawing/2014/main" id="{57FEA385-6351-4493-A6A1-AE699CEB6EEC}"/>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0" y="0"/>
          <a:ext cx="6201640" cy="4677428"/>
        </a:xfrm>
        <a:prstGeom xmlns:a="http://schemas.openxmlformats.org/drawingml/2006/main" prst="rect">
          <a:avLst/>
        </a:prstGeom>
      </cdr:spPr>
    </cdr:pic>
  </cdr:relSizeAnchor>
</c:userShapes>
</file>

<file path=ppt/drawings/drawing3.xml><?xml version="1.0" encoding="utf-8"?>
<c:userShapes xmlns:c="http://schemas.openxmlformats.org/drawingml/2006/chart">
  <cdr:relSizeAnchor xmlns:cdr="http://schemas.openxmlformats.org/drawingml/2006/chartDrawing">
    <cdr:from>
      <cdr:x>0</cdr:x>
      <cdr:y>0</cdr:y>
    </cdr:from>
    <cdr:to>
      <cdr:x>1</cdr:x>
      <cdr:y>1</cdr:y>
    </cdr:to>
    <cdr:pic>
      <cdr:nvPicPr>
        <cdr:cNvPr id="2" name="chart">
          <a:extLst xmlns:a="http://schemas.openxmlformats.org/drawingml/2006/main">
            <a:ext uri="{FF2B5EF4-FFF2-40B4-BE49-F238E27FC236}">
              <a16:creationId xmlns:a16="http://schemas.microsoft.com/office/drawing/2014/main" id="{594E7807-7DAF-4100-B642-E8BF0A308055}"/>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0" y="0"/>
          <a:ext cx="6506483" cy="4544059"/>
        </a:xfrm>
        <a:prstGeom xmlns:a="http://schemas.openxmlformats.org/drawingml/2006/main" prst="rect">
          <a:avLst/>
        </a:prstGeom>
      </cdr:spPr>
    </cdr:pic>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380334-13B4-4816-BC0B-C9543A5DB747}" type="datetimeFigureOut">
              <a:rPr lang="en-US" smtClean="0"/>
              <a:t>1/1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225FB8-320C-4083-8A3A-856629D1AEA9}" type="slidenum">
              <a:rPr lang="en-US" smtClean="0"/>
              <a:t>‹#›</a:t>
            </a:fld>
            <a:endParaRPr lang="en-US"/>
          </a:p>
        </p:txBody>
      </p:sp>
    </p:spTree>
    <p:extLst>
      <p:ext uri="{BB962C8B-B14F-4D97-AF65-F5344CB8AC3E}">
        <p14:creationId xmlns:p14="http://schemas.microsoft.com/office/powerpoint/2010/main" val="27724305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unsplash.com/@lukechesser?utm_source=unsplash&amp;utm_medium=referral&amp;utm_content=creditCopyText"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unsplash.com/s/photos/data?utm_source=unsplash&amp;utm_medium=referral&amp;utm_content=creditCopyText"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unsplash.com/@kmuza?utm_source=unsplash&amp;utm_medium=referral&amp;utm_content=creditCopyText"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unsplash.com/s/photos/report?utm_source=unsplash&amp;utm_medium=referral&amp;utm_content=creditCopyText"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unsplash.com/@campaign_creators?utm_source=unsplash&amp;utm_medium=referral&amp;utm_content=creditCopyText"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unsplash.com/s/photos/web?utm_source=unsplash&amp;utm_medium=referral&amp;utm_content=creditCopyTex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1</a:t>
            </a:fld>
            <a:endParaRPr lang="en-US"/>
          </a:p>
        </p:txBody>
      </p:sp>
    </p:spTree>
    <p:extLst>
      <p:ext uri="{BB962C8B-B14F-4D97-AF65-F5344CB8AC3E}">
        <p14:creationId xmlns:p14="http://schemas.microsoft.com/office/powerpoint/2010/main" val="15572950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a:t>
            </a:r>
            <a:r>
              <a:rPr lang="en-US" dirty="0" err="1"/>
              <a:t>Jcomp</a:t>
            </a:r>
            <a:r>
              <a:rPr lang="en-US" dirty="0"/>
              <a:t>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12</a:t>
            </a:fld>
            <a:endParaRPr lang="en-US"/>
          </a:p>
        </p:txBody>
      </p:sp>
    </p:spTree>
    <p:extLst>
      <p:ext uri="{BB962C8B-B14F-4D97-AF65-F5344CB8AC3E}">
        <p14:creationId xmlns:p14="http://schemas.microsoft.com/office/powerpoint/2010/main" val="36545083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s by rawpixel.com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15</a:t>
            </a:fld>
            <a:endParaRPr lang="en-US"/>
          </a:p>
        </p:txBody>
      </p:sp>
    </p:spTree>
    <p:extLst>
      <p:ext uri="{BB962C8B-B14F-4D97-AF65-F5344CB8AC3E}">
        <p14:creationId xmlns:p14="http://schemas.microsoft.com/office/powerpoint/2010/main" val="39603510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a:t>
            </a:r>
            <a:r>
              <a:rPr lang="en-US" dirty="0" err="1"/>
              <a:t>creativeart</a:t>
            </a:r>
            <a:r>
              <a:rPr lang="en-US" dirty="0"/>
              <a:t>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17</a:t>
            </a:fld>
            <a:endParaRPr lang="en-US"/>
          </a:p>
        </p:txBody>
      </p:sp>
    </p:spTree>
    <p:extLst>
      <p:ext uri="{BB962C8B-B14F-4D97-AF65-F5344CB8AC3E}">
        <p14:creationId xmlns:p14="http://schemas.microsoft.com/office/powerpoint/2010/main" val="39203366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s by rawpixel.com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18</a:t>
            </a:fld>
            <a:endParaRPr lang="en-US"/>
          </a:p>
        </p:txBody>
      </p:sp>
    </p:spTree>
    <p:extLst>
      <p:ext uri="{BB962C8B-B14F-4D97-AF65-F5344CB8AC3E}">
        <p14:creationId xmlns:p14="http://schemas.microsoft.com/office/powerpoint/2010/main" val="7939760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rawpixel.com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19</a:t>
            </a:fld>
            <a:endParaRPr lang="en-US"/>
          </a:p>
        </p:txBody>
      </p:sp>
    </p:spTree>
    <p:extLst>
      <p:ext uri="{BB962C8B-B14F-4D97-AF65-F5344CB8AC3E}">
        <p14:creationId xmlns:p14="http://schemas.microsoft.com/office/powerpoint/2010/main" val="15572950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20</a:t>
            </a:fld>
            <a:endParaRPr lang="en-US"/>
          </a:p>
        </p:txBody>
      </p:sp>
    </p:spTree>
    <p:extLst>
      <p:ext uri="{BB962C8B-B14F-4D97-AF65-F5344CB8AC3E}">
        <p14:creationId xmlns:p14="http://schemas.microsoft.com/office/powerpoint/2010/main" val="29170124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
        <p:cNvGrpSpPr/>
        <p:nvPr/>
      </p:nvGrpSpPr>
      <p:grpSpPr>
        <a:xfrm>
          <a:off x="0" y="0"/>
          <a:ext cx="0" cy="0"/>
          <a:chOff x="0" y="0"/>
          <a:chExt cx="0" cy="0"/>
        </a:xfrm>
      </p:grpSpPr>
      <p:sp>
        <p:nvSpPr>
          <p:cNvPr id="258" name="Google Shape;258;g35ed75ccf_01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9" name="Google Shape;259;g35ed75ccf_01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s by </a:t>
            </a:r>
            <a:r>
              <a:rPr lang="en-US" dirty="0" err="1"/>
              <a:t>Evening_tao</a:t>
            </a:r>
            <a:r>
              <a:rPr lang="en-US" dirty="0"/>
              <a:t>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22</a:t>
            </a:fld>
            <a:endParaRPr lang="en-US"/>
          </a:p>
        </p:txBody>
      </p:sp>
    </p:spTree>
    <p:extLst>
      <p:ext uri="{BB962C8B-B14F-4D97-AF65-F5344CB8AC3E}">
        <p14:creationId xmlns:p14="http://schemas.microsoft.com/office/powerpoint/2010/main" val="28834954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24</a:t>
            </a:fld>
            <a:endParaRPr lang="en-US"/>
          </a:p>
        </p:txBody>
      </p:sp>
    </p:spTree>
    <p:extLst>
      <p:ext uri="{BB962C8B-B14F-4D97-AF65-F5344CB8AC3E}">
        <p14:creationId xmlns:p14="http://schemas.microsoft.com/office/powerpoint/2010/main" val="20795793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Luke </a:t>
            </a:r>
            <a:r>
              <a:rPr lang="en-US" dirty="0" err="1">
                <a:hlinkClick r:id="rId3"/>
              </a:rPr>
              <a:t>Chesser</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pPr/>
              <a:t>26</a:t>
            </a:fld>
            <a:endParaRPr lang="en-US"/>
          </a:p>
        </p:txBody>
      </p:sp>
    </p:spTree>
    <p:extLst>
      <p:ext uri="{BB962C8B-B14F-4D97-AF65-F5344CB8AC3E}">
        <p14:creationId xmlns:p14="http://schemas.microsoft.com/office/powerpoint/2010/main" val="1326516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2</a:t>
            </a:fld>
            <a:endParaRPr lang="en-US"/>
          </a:p>
        </p:txBody>
      </p:sp>
    </p:spTree>
    <p:extLst>
      <p:ext uri="{BB962C8B-B14F-4D97-AF65-F5344CB8AC3E}">
        <p14:creationId xmlns:p14="http://schemas.microsoft.com/office/powerpoint/2010/main" val="39061459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3</a:t>
            </a:fld>
            <a:endParaRPr lang="en-US"/>
          </a:p>
        </p:txBody>
      </p:sp>
    </p:spTree>
    <p:extLst>
      <p:ext uri="{BB962C8B-B14F-4D97-AF65-F5344CB8AC3E}">
        <p14:creationId xmlns:p14="http://schemas.microsoft.com/office/powerpoint/2010/main" val="29170124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s by rawpixel.com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5</a:t>
            </a:fld>
            <a:endParaRPr lang="en-US"/>
          </a:p>
        </p:txBody>
      </p:sp>
    </p:spTree>
    <p:extLst>
      <p:ext uri="{BB962C8B-B14F-4D97-AF65-F5344CB8AC3E}">
        <p14:creationId xmlns:p14="http://schemas.microsoft.com/office/powerpoint/2010/main" val="34381912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s by rawpixel.com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6</a:t>
            </a:fld>
            <a:endParaRPr lang="en-US"/>
          </a:p>
        </p:txBody>
      </p:sp>
    </p:spTree>
    <p:extLst>
      <p:ext uri="{BB962C8B-B14F-4D97-AF65-F5344CB8AC3E}">
        <p14:creationId xmlns:p14="http://schemas.microsoft.com/office/powerpoint/2010/main" val="22064068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8"/>
        <p:cNvGrpSpPr/>
        <p:nvPr/>
      </p:nvGrpSpPr>
      <p:grpSpPr>
        <a:xfrm>
          <a:off x="0" y="0"/>
          <a:ext cx="0" cy="0"/>
          <a:chOff x="0" y="0"/>
          <a:chExt cx="0" cy="0"/>
        </a:xfrm>
      </p:grpSpPr>
      <p:sp>
        <p:nvSpPr>
          <p:cNvPr id="419" name="Google Shape;419;g70b609c993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0" name="Google Shape;420;g70b609c993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Carlos </a:t>
            </a:r>
            <a:r>
              <a:rPr lang="en-US" dirty="0" err="1">
                <a:hlinkClick r:id="rId3"/>
              </a:rPr>
              <a:t>Muza</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pPr/>
              <a:t>9</a:t>
            </a:fld>
            <a:endParaRPr lang="en-US"/>
          </a:p>
        </p:txBody>
      </p:sp>
    </p:spTree>
    <p:extLst>
      <p:ext uri="{BB962C8B-B14F-4D97-AF65-F5344CB8AC3E}">
        <p14:creationId xmlns:p14="http://schemas.microsoft.com/office/powerpoint/2010/main" val="11653802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10</a:t>
            </a:fld>
            <a:endParaRPr lang="en-US"/>
          </a:p>
        </p:txBody>
      </p:sp>
    </p:spTree>
    <p:extLst>
      <p:ext uri="{BB962C8B-B14F-4D97-AF65-F5344CB8AC3E}">
        <p14:creationId xmlns:p14="http://schemas.microsoft.com/office/powerpoint/2010/main" val="10591219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Campaign Creators</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BF15C33D-FEDF-4E80-A3D6-D08B531D38EF}" type="slidenum">
              <a:rPr lang="en-US" smtClean="0"/>
              <a:pPr/>
              <a:t>11</a:t>
            </a:fld>
            <a:endParaRPr lang="en-US"/>
          </a:p>
        </p:txBody>
      </p:sp>
    </p:spTree>
    <p:extLst>
      <p:ext uri="{BB962C8B-B14F-4D97-AF65-F5344CB8AC3E}">
        <p14:creationId xmlns:p14="http://schemas.microsoft.com/office/powerpoint/2010/main" val="34834107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1A2541-C66C-4680-968E-4CFD21EFF52D}"/>
              </a:ext>
            </a:extLst>
          </p:cNvPr>
          <p:cNvGraphicFramePr>
            <a:graphicFrameLocks noChangeAspect="1"/>
          </p:cNvGraphicFramePr>
          <p:nvPr userDrawn="1">
            <p:custDataLst>
              <p:tags r:id="rId2"/>
            </p:custDataLst>
            <p:extLst>
              <p:ext uri="{D42A27DB-BD31-4B8C-83A1-F6EECF244321}">
                <p14:modId xmlns:p14="http://schemas.microsoft.com/office/powerpoint/2010/main" val="2670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CC127CB-45BF-4D09-B501-F4C759F6445D}"/>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6000" b="1" i="0" baseline="0"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CC5F3DBF-45AF-4497-B142-6B38DF4B36B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38DDFBC-1843-4C12-9D5E-451430B7161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0ADFB6B-EF4D-40B0-B7EB-BB5B7BCA65D9}"/>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4F285D75-D480-429C-B8A5-568CD5D6CEE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1BA913B-0C70-402E-BF80-D38C98E022EB}"/>
              </a:ext>
            </a:extLst>
          </p:cNvPr>
          <p:cNvSpPr>
            <a:spLocks noGrp="1"/>
          </p:cNvSpPr>
          <p:nvPr>
            <p:ph type="sldNum" sz="quarter" idx="12"/>
          </p:nvPr>
        </p:nvSpPr>
        <p:spPr>
          <a:xfrm>
            <a:off x="8610600" y="6356350"/>
            <a:ext cx="2743200" cy="365125"/>
          </a:xfrm>
          <a:prstGeom prst="rect">
            <a:avLst/>
          </a:prstGeom>
        </p:spPr>
        <p:txBody>
          <a:bodyPr/>
          <a:lstStyle/>
          <a:p>
            <a:fld id="{B84D2E29-67F4-44D8-B0E3-F54815B4F123}" type="slidenum">
              <a:rPr lang="en-US" smtClean="0"/>
              <a:t>‹#›</a:t>
            </a:fld>
            <a:endParaRPr lang="en-US"/>
          </a:p>
        </p:txBody>
      </p:sp>
    </p:spTree>
    <p:extLst>
      <p:ext uri="{BB962C8B-B14F-4D97-AF65-F5344CB8AC3E}">
        <p14:creationId xmlns:p14="http://schemas.microsoft.com/office/powerpoint/2010/main" val="16955724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Single Corner Rounded 3">
            <a:extLst>
              <a:ext uri="{FF2B5EF4-FFF2-40B4-BE49-F238E27FC236}">
                <a16:creationId xmlns:a16="http://schemas.microsoft.com/office/drawing/2014/main" id="{1A405EED-F690-4A11-92A7-2981DA55D4FE}"/>
              </a:ext>
            </a:extLst>
          </p:cNvPr>
          <p:cNvSpPr/>
          <p:nvPr userDrawn="1"/>
        </p:nvSpPr>
        <p:spPr>
          <a:xfrm flipH="1">
            <a:off x="11492632" y="6158632"/>
            <a:ext cx="699368" cy="699368"/>
          </a:xfrm>
          <a:prstGeom prst="round1Rect">
            <a:avLst>
              <a:gd name="adj" fmla="val 3119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a:extLst>
              <a:ext uri="{FF2B5EF4-FFF2-40B4-BE49-F238E27FC236}">
                <a16:creationId xmlns:a16="http://schemas.microsoft.com/office/drawing/2014/main" id="{DBA2064D-F3C3-4247-BB0E-3A8B9A2204D7}"/>
              </a:ext>
            </a:extLst>
          </p:cNvPr>
          <p:cNvGraphicFramePr>
            <a:graphicFrameLocks noChangeAspect="1"/>
          </p:cNvGraphicFramePr>
          <p:nvPr userDrawn="1">
            <p:custDataLst>
              <p:tags r:id="rId2"/>
            </p:custDataLst>
            <p:extLst>
              <p:ext uri="{D42A27DB-BD31-4B8C-83A1-F6EECF244321}">
                <p14:modId xmlns:p14="http://schemas.microsoft.com/office/powerpoint/2010/main" val="1257603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16F16FD-2C53-403B-BF33-81984B8570A7}"/>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7634B0F8-76FB-42F2-8E67-4517D27F0A9D}"/>
              </a:ext>
            </a:extLst>
          </p:cNvPr>
          <p:cNvSpPr>
            <a:spLocks noGrp="1"/>
          </p:cNvSpPr>
          <p:nvPr>
            <p:ph type="title"/>
          </p:nvPr>
        </p:nvSpPr>
        <p:spPr>
          <a:xfrm>
            <a:off x="609600" y="365126"/>
            <a:ext cx="10972800" cy="775612"/>
          </a:xfrm>
        </p:spPr>
        <p:txBody>
          <a:bodyPr lIns="0" tIns="0" rIns="0" bIns="0" anchor="ctr"/>
          <a:lstStyle/>
          <a:p>
            <a:r>
              <a:rPr lang="en-US"/>
              <a:t>Click to edit Master title style</a:t>
            </a:r>
          </a:p>
        </p:txBody>
      </p:sp>
      <p:sp>
        <p:nvSpPr>
          <p:cNvPr id="3" name="Content Placeholder 2">
            <a:extLst>
              <a:ext uri="{FF2B5EF4-FFF2-40B4-BE49-F238E27FC236}">
                <a16:creationId xmlns:a16="http://schemas.microsoft.com/office/drawing/2014/main" id="{9B9F3021-AB9D-4B2B-987A-B25B40257112}"/>
              </a:ext>
            </a:extLst>
          </p:cNvPr>
          <p:cNvSpPr>
            <a:spLocks noGrp="1"/>
          </p:cNvSpPr>
          <p:nvPr>
            <p:ph idx="1"/>
          </p:nvPr>
        </p:nvSpPr>
        <p:spPr>
          <a:xfrm>
            <a:off x="609600" y="1330859"/>
            <a:ext cx="10972800" cy="484610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BF14A7C7-1984-4854-9D29-7402A14F46DF}"/>
              </a:ext>
            </a:extLst>
          </p:cNvPr>
          <p:cNvSpPr>
            <a:spLocks noGrp="1"/>
          </p:cNvSpPr>
          <p:nvPr>
            <p:ph type="sldNum" sz="quarter" idx="4"/>
          </p:nvPr>
        </p:nvSpPr>
        <p:spPr>
          <a:xfrm>
            <a:off x="11658612" y="6369817"/>
            <a:ext cx="367408" cy="276999"/>
          </a:xfrm>
          <a:prstGeom prst="rect">
            <a:avLst/>
          </a:prstGeom>
        </p:spPr>
        <p:txBody>
          <a:bodyPr wrap="none" anchor="ctr">
            <a:spAutoFit/>
          </a:bodyPr>
          <a:lstStyle>
            <a:lvl1pPr algn="ctr">
              <a:defRPr sz="1200">
                <a:solidFill>
                  <a:schemeClr val="bg1"/>
                </a:solidFill>
              </a:defRPr>
            </a:lvl1pPr>
          </a:lstStyle>
          <a:p>
            <a:fld id="{B84D2E29-67F4-44D8-B0E3-F54815B4F123}" type="slidenum">
              <a:rPr lang="en-US" smtClean="0"/>
              <a:pPr/>
              <a:t>‹#›</a:t>
            </a:fld>
            <a:endParaRPr lang="en-US" dirty="0"/>
          </a:p>
        </p:txBody>
      </p:sp>
    </p:spTree>
    <p:extLst>
      <p:ext uri="{BB962C8B-B14F-4D97-AF65-F5344CB8AC3E}">
        <p14:creationId xmlns:p14="http://schemas.microsoft.com/office/powerpoint/2010/main" val="439993749"/>
      </p:ext>
    </p:extLst>
  </p:cSld>
  <p:clrMapOvr>
    <a:masterClrMapping/>
  </p:clrMapOvr>
  <p:extLst>
    <p:ext uri="{DCECCB84-F9BA-43D5-87BE-67443E8EF086}">
      <p15:sldGuideLst xmlns:p15="http://schemas.microsoft.com/office/powerpoint/2012/main">
        <p15:guide id="1" orient="horz" pos="840" userDrawn="1">
          <p15:clr>
            <a:srgbClr val="FBAE40"/>
          </p15:clr>
        </p15:guide>
        <p15:guide id="2" pos="7296" userDrawn="1">
          <p15:clr>
            <a:srgbClr val="FBAE40"/>
          </p15:clr>
        </p15:guide>
        <p15:guide id="3" pos="38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subtitle">
  <p:cSld name="Title and subtitle">
    <p:spTree>
      <p:nvGrpSpPr>
        <p:cNvPr id="1" name="Shape 32"/>
        <p:cNvGrpSpPr/>
        <p:nvPr/>
      </p:nvGrpSpPr>
      <p:grpSpPr>
        <a:xfrm>
          <a:off x="0" y="0"/>
          <a:ext cx="0" cy="0"/>
          <a:chOff x="0" y="0"/>
          <a:chExt cx="0" cy="0"/>
        </a:xfrm>
      </p:grpSpPr>
      <p:sp>
        <p:nvSpPr>
          <p:cNvPr id="33" name="Google Shape;33;p6"/>
          <p:cNvSpPr txBox="1">
            <a:spLocks noGrp="1"/>
          </p:cNvSpPr>
          <p:nvPr>
            <p:ph type="title"/>
          </p:nvPr>
        </p:nvSpPr>
        <p:spPr>
          <a:xfrm>
            <a:off x="8869833" y="568133"/>
            <a:ext cx="2981600" cy="763600"/>
          </a:xfrm>
          <a:prstGeom prst="rect">
            <a:avLst/>
          </a:prstGeom>
        </p:spPr>
        <p:txBody>
          <a:bodyPr spcFirstLastPara="1" wrap="square" lIns="91425" tIns="91425" rIns="91425" bIns="91425" anchor="t" anchorCtr="0">
            <a:noAutofit/>
          </a:bodyPr>
          <a:lstStyle>
            <a:lvl1pPr lvl="0" algn="r" rtl="0">
              <a:spcBef>
                <a:spcPts val="0"/>
              </a:spcBef>
              <a:spcAft>
                <a:spcPts val="0"/>
              </a:spcAft>
              <a:buClr>
                <a:srgbClr val="FFFFFF"/>
              </a:buClr>
              <a:buSzPts val="3600"/>
              <a:buNone/>
              <a:defRPr>
                <a:solidFill>
                  <a:srgbClr val="FFFFFF"/>
                </a:solidFill>
              </a:defRPr>
            </a:lvl1pPr>
            <a:lvl2pPr lvl="1" algn="r" rtl="0">
              <a:spcBef>
                <a:spcPts val="0"/>
              </a:spcBef>
              <a:spcAft>
                <a:spcPts val="0"/>
              </a:spcAft>
              <a:buClr>
                <a:srgbClr val="FFFFFF"/>
              </a:buClr>
              <a:buSzPts val="3600"/>
              <a:buNone/>
              <a:defRPr>
                <a:solidFill>
                  <a:srgbClr val="FFFFFF"/>
                </a:solidFill>
              </a:defRPr>
            </a:lvl2pPr>
            <a:lvl3pPr lvl="2" algn="r" rtl="0">
              <a:spcBef>
                <a:spcPts val="0"/>
              </a:spcBef>
              <a:spcAft>
                <a:spcPts val="0"/>
              </a:spcAft>
              <a:buClr>
                <a:srgbClr val="FFFFFF"/>
              </a:buClr>
              <a:buSzPts val="3600"/>
              <a:buNone/>
              <a:defRPr>
                <a:solidFill>
                  <a:srgbClr val="FFFFFF"/>
                </a:solidFill>
              </a:defRPr>
            </a:lvl3pPr>
            <a:lvl4pPr lvl="3" algn="r" rtl="0">
              <a:spcBef>
                <a:spcPts val="0"/>
              </a:spcBef>
              <a:spcAft>
                <a:spcPts val="0"/>
              </a:spcAft>
              <a:buClr>
                <a:srgbClr val="FFFFFF"/>
              </a:buClr>
              <a:buSzPts val="3600"/>
              <a:buNone/>
              <a:defRPr>
                <a:solidFill>
                  <a:srgbClr val="FFFFFF"/>
                </a:solidFill>
              </a:defRPr>
            </a:lvl4pPr>
            <a:lvl5pPr lvl="4" algn="r" rtl="0">
              <a:spcBef>
                <a:spcPts val="0"/>
              </a:spcBef>
              <a:spcAft>
                <a:spcPts val="0"/>
              </a:spcAft>
              <a:buClr>
                <a:srgbClr val="FFFFFF"/>
              </a:buClr>
              <a:buSzPts val="3600"/>
              <a:buNone/>
              <a:defRPr>
                <a:solidFill>
                  <a:srgbClr val="FFFFFF"/>
                </a:solidFill>
              </a:defRPr>
            </a:lvl5pPr>
            <a:lvl6pPr lvl="5" algn="r" rtl="0">
              <a:spcBef>
                <a:spcPts val="0"/>
              </a:spcBef>
              <a:spcAft>
                <a:spcPts val="0"/>
              </a:spcAft>
              <a:buClr>
                <a:srgbClr val="FFFFFF"/>
              </a:buClr>
              <a:buSzPts val="3600"/>
              <a:buNone/>
              <a:defRPr>
                <a:solidFill>
                  <a:srgbClr val="FFFFFF"/>
                </a:solidFill>
              </a:defRPr>
            </a:lvl6pPr>
            <a:lvl7pPr lvl="6" algn="r" rtl="0">
              <a:spcBef>
                <a:spcPts val="0"/>
              </a:spcBef>
              <a:spcAft>
                <a:spcPts val="0"/>
              </a:spcAft>
              <a:buClr>
                <a:srgbClr val="FFFFFF"/>
              </a:buClr>
              <a:buSzPts val="3600"/>
              <a:buNone/>
              <a:defRPr>
                <a:solidFill>
                  <a:srgbClr val="FFFFFF"/>
                </a:solidFill>
              </a:defRPr>
            </a:lvl7pPr>
            <a:lvl8pPr lvl="7" algn="r" rtl="0">
              <a:spcBef>
                <a:spcPts val="0"/>
              </a:spcBef>
              <a:spcAft>
                <a:spcPts val="0"/>
              </a:spcAft>
              <a:buClr>
                <a:srgbClr val="FFFFFF"/>
              </a:buClr>
              <a:buSzPts val="3600"/>
              <a:buNone/>
              <a:defRPr>
                <a:solidFill>
                  <a:srgbClr val="FFFFFF"/>
                </a:solidFill>
              </a:defRPr>
            </a:lvl8pPr>
            <a:lvl9pPr lvl="8" algn="r" rtl="0">
              <a:spcBef>
                <a:spcPts val="0"/>
              </a:spcBef>
              <a:spcAft>
                <a:spcPts val="0"/>
              </a:spcAft>
              <a:buClr>
                <a:srgbClr val="FFFFFF"/>
              </a:buClr>
              <a:buSzPts val="3600"/>
              <a:buNone/>
              <a:defRPr>
                <a:solidFill>
                  <a:srgbClr val="FFFFFF"/>
                </a:solidFill>
              </a:defRPr>
            </a:lvl9pPr>
          </a:lstStyle>
          <a:p>
            <a:endParaRPr/>
          </a:p>
        </p:txBody>
      </p:sp>
      <p:sp>
        <p:nvSpPr>
          <p:cNvPr id="34" name="Google Shape;34;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r"/>
            <a:fld id="{00000000-1234-1234-1234-123412341234}" type="slidenum">
              <a:rPr lang="en-GB" smtClean="0"/>
              <a:pPr algn="r"/>
              <a:t>‹#›</a:t>
            </a:fld>
            <a:endParaRPr lang="en-GB"/>
          </a:p>
        </p:txBody>
      </p:sp>
      <p:sp>
        <p:nvSpPr>
          <p:cNvPr id="35" name="Google Shape;35;p6"/>
          <p:cNvSpPr/>
          <p:nvPr/>
        </p:nvSpPr>
        <p:spPr>
          <a:xfrm rot="10800000">
            <a:off x="-100" y="0"/>
            <a:ext cx="8781600" cy="6874400"/>
          </a:xfrm>
          <a:prstGeom prst="rect">
            <a:avLst/>
          </a:prstGeom>
          <a:solidFill>
            <a:srgbClr val="FFFFFF"/>
          </a:solidFill>
          <a:ln>
            <a:noFill/>
          </a:ln>
          <a:effectLst>
            <a:outerShdw blurRad="285750" dist="114300" dir="21540000" algn="bl" rotWithShape="0">
              <a:srgbClr val="000000">
                <a:alpha val="28000"/>
              </a:srgbClr>
            </a:outerShdw>
          </a:effectLst>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 name="Google Shape;36;p6"/>
          <p:cNvSpPr txBox="1">
            <a:spLocks noGrp="1"/>
          </p:cNvSpPr>
          <p:nvPr>
            <p:ph type="subTitle" idx="1"/>
          </p:nvPr>
        </p:nvSpPr>
        <p:spPr>
          <a:xfrm>
            <a:off x="9311433" y="4303800"/>
            <a:ext cx="2540000" cy="1325200"/>
          </a:xfrm>
          <a:prstGeom prst="rect">
            <a:avLst/>
          </a:prstGeom>
        </p:spPr>
        <p:txBody>
          <a:bodyPr spcFirstLastPara="1" wrap="square" lIns="91425" tIns="91425" rIns="91425" bIns="91425" anchor="t" anchorCtr="0">
            <a:noAutofit/>
          </a:bodyPr>
          <a:lstStyle>
            <a:lvl1pPr lvl="0" algn="r" rtl="0">
              <a:spcBef>
                <a:spcPts val="0"/>
              </a:spcBef>
              <a:spcAft>
                <a:spcPts val="0"/>
              </a:spcAft>
              <a:buNone/>
              <a:defRPr/>
            </a:lvl1pPr>
            <a:lvl2pPr lvl="1" rtl="0">
              <a:spcBef>
                <a:spcPts val="2133"/>
              </a:spcBef>
              <a:spcAft>
                <a:spcPts val="0"/>
              </a:spcAft>
              <a:buNone/>
              <a:defRPr/>
            </a:lvl2pPr>
            <a:lvl3pPr lvl="2" rtl="0">
              <a:spcBef>
                <a:spcPts val="2133"/>
              </a:spcBef>
              <a:spcAft>
                <a:spcPts val="0"/>
              </a:spcAft>
              <a:buNone/>
              <a:defRPr/>
            </a:lvl3pPr>
            <a:lvl4pPr lvl="3" rtl="0">
              <a:spcBef>
                <a:spcPts val="2133"/>
              </a:spcBef>
              <a:spcAft>
                <a:spcPts val="0"/>
              </a:spcAft>
              <a:buNone/>
              <a:defRPr/>
            </a:lvl4pPr>
            <a:lvl5pPr lvl="4" rtl="0">
              <a:spcBef>
                <a:spcPts val="2133"/>
              </a:spcBef>
              <a:spcAft>
                <a:spcPts val="0"/>
              </a:spcAft>
              <a:buNone/>
              <a:defRPr/>
            </a:lvl5pPr>
            <a:lvl6pPr lvl="5" rtl="0">
              <a:spcBef>
                <a:spcPts val="2133"/>
              </a:spcBef>
              <a:spcAft>
                <a:spcPts val="0"/>
              </a:spcAft>
              <a:buNone/>
              <a:defRPr/>
            </a:lvl6pPr>
            <a:lvl7pPr lvl="6" rtl="0">
              <a:spcBef>
                <a:spcPts val="2133"/>
              </a:spcBef>
              <a:spcAft>
                <a:spcPts val="0"/>
              </a:spcAft>
              <a:buNone/>
              <a:defRPr/>
            </a:lvl7pPr>
            <a:lvl8pPr lvl="7" rtl="0">
              <a:spcBef>
                <a:spcPts val="2133"/>
              </a:spcBef>
              <a:spcAft>
                <a:spcPts val="0"/>
              </a:spcAft>
              <a:buNone/>
              <a:defRPr/>
            </a:lvl8pPr>
            <a:lvl9pPr lvl="8" rtl="0">
              <a:spcBef>
                <a:spcPts val="2133"/>
              </a:spcBef>
              <a:spcAft>
                <a:spcPts val="2133"/>
              </a:spcAft>
              <a:buNone/>
              <a:defRPr/>
            </a:lvl9pPr>
          </a:lstStyle>
          <a:p>
            <a:endParaRPr/>
          </a:p>
        </p:txBody>
      </p:sp>
      <p:sp>
        <p:nvSpPr>
          <p:cNvPr id="37" name="Google Shape;37;p6"/>
          <p:cNvSpPr txBox="1"/>
          <p:nvPr/>
        </p:nvSpPr>
        <p:spPr>
          <a:xfrm rot="5400000">
            <a:off x="-905800" y="6313633"/>
            <a:ext cx="2106400" cy="498000"/>
          </a:xfrm>
          <a:prstGeom prst="rect">
            <a:avLst/>
          </a:prstGeom>
          <a:noFill/>
          <a:ln>
            <a:noFill/>
          </a:ln>
        </p:spPr>
        <p:txBody>
          <a:bodyPr spcFirstLastPara="1" wrap="square" lIns="121900" tIns="121900" rIns="121900" bIns="121900" anchor="t" anchorCtr="0">
            <a:noAutofit/>
          </a:bodyPr>
          <a:lstStyle/>
          <a:p>
            <a:pPr marL="0" lvl="0" indent="0" algn="l" rtl="0">
              <a:spcBef>
                <a:spcPts val="0"/>
              </a:spcBef>
              <a:spcAft>
                <a:spcPts val="0"/>
              </a:spcAft>
              <a:buNone/>
            </a:pPr>
            <a:r>
              <a:rPr lang="en-GB" sz="1467">
                <a:solidFill>
                  <a:schemeClr val="accent1"/>
                </a:solidFill>
                <a:latin typeface="Barlow Condensed"/>
                <a:ea typeface="Barlow Condensed"/>
                <a:cs typeface="Barlow Condensed"/>
                <a:sym typeface="Barlow Condensed"/>
              </a:rPr>
              <a:t>SLIDESMANIA.COM</a:t>
            </a:r>
            <a:endParaRPr sz="1467">
              <a:solidFill>
                <a:schemeClr val="accent1"/>
              </a:solidFill>
              <a:latin typeface="Barlow Condensed"/>
              <a:ea typeface="Barlow Condensed"/>
              <a:cs typeface="Barlow Condensed"/>
              <a:sym typeface="Barlow Condensed"/>
            </a:endParaRPr>
          </a:p>
        </p:txBody>
      </p:sp>
    </p:spTree>
    <p:extLst>
      <p:ext uri="{BB962C8B-B14F-4D97-AF65-F5344CB8AC3E}">
        <p14:creationId xmlns:p14="http://schemas.microsoft.com/office/powerpoint/2010/main" val="34106346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1"/>
        <p:cNvGrpSpPr/>
        <p:nvPr/>
      </p:nvGrpSpPr>
      <p:grpSpPr>
        <a:xfrm>
          <a:off x="0" y="0"/>
          <a:ext cx="0" cy="0"/>
          <a:chOff x="0" y="0"/>
          <a:chExt cx="0" cy="0"/>
        </a:xfrm>
      </p:grpSpPr>
      <p:sp>
        <p:nvSpPr>
          <p:cNvPr id="62" name="Google Shape;62;p10"/>
          <p:cNvSpPr/>
          <p:nvPr/>
        </p:nvSpPr>
        <p:spPr>
          <a:xfrm>
            <a:off x="0" y="-67"/>
            <a:ext cx="12192000" cy="6858000"/>
          </a:xfrm>
          <a:prstGeom prst="rect">
            <a:avLst/>
          </a:prstGeom>
          <a:gradFill>
            <a:gsLst>
              <a:gs pos="0">
                <a:srgbClr val="B40036">
                  <a:alpha val="74901"/>
                </a:srgbClr>
              </a:gs>
              <a:gs pos="100000">
                <a:srgbClr val="002685">
                  <a:alpha val="74901"/>
                </a:srgbClr>
              </a:gs>
            </a:gsLst>
            <a:lin ang="18900044" scaled="0"/>
          </a:gra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63" name="Google Shape;63;p10"/>
          <p:cNvSpPr txBox="1">
            <a:spLocks noGrp="1"/>
          </p:cNvSpPr>
          <p:nvPr>
            <p:ph type="sldNum" idx="12"/>
          </p:nvPr>
        </p:nvSpPr>
        <p:spPr>
          <a:xfrm>
            <a:off x="-167" y="6333133"/>
            <a:ext cx="12192000" cy="5248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9778110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C59F4C5-B0B1-4297-BAA0-7E0E72AFC756}"/>
              </a:ext>
            </a:extLst>
          </p:cNvPr>
          <p:cNvGraphicFramePr>
            <a:graphicFrameLocks noChangeAspect="1"/>
          </p:cNvGraphicFramePr>
          <p:nvPr userDrawn="1">
            <p:custDataLst>
              <p:tags r:id="rId7"/>
            </p:custDataLst>
            <p:extLst>
              <p:ext uri="{D42A27DB-BD31-4B8C-83A1-F6EECF244321}">
                <p14:modId xmlns:p14="http://schemas.microsoft.com/office/powerpoint/2010/main" val="3801975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9" imgW="383" imgH="384" progId="TCLayout.ActiveDocument.1">
                  <p:embed/>
                </p:oleObj>
              </mc:Choice>
              <mc:Fallback>
                <p:oleObj name="think-cell Slide" r:id="rId9" imgW="383" imgH="384"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1C34D6F-D0F4-4534-8C4A-5CB0647CBE1B}"/>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2" name="Title Placeholder 1">
            <a:extLst>
              <a:ext uri="{FF2B5EF4-FFF2-40B4-BE49-F238E27FC236}">
                <a16:creationId xmlns:a16="http://schemas.microsoft.com/office/drawing/2014/main" id="{C15189CC-BB19-4580-9BD1-E60E21E8F458}"/>
              </a:ext>
            </a:extLst>
          </p:cNvPr>
          <p:cNvSpPr>
            <a:spLocks noGrp="1"/>
          </p:cNvSpPr>
          <p:nvPr>
            <p:ph type="title"/>
          </p:nvPr>
        </p:nvSpPr>
        <p:spPr>
          <a:xfrm>
            <a:off x="609600" y="365126"/>
            <a:ext cx="10972800" cy="775612"/>
          </a:xfrm>
          <a:prstGeom prst="rect">
            <a:avLst/>
          </a:prstGeom>
        </p:spPr>
        <p:txBody>
          <a:bodyPr vert="horz" lIns="0" tIns="0" rIns="0" bIns="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9FBED655-EDEF-4F48-8965-AC9A79BA0CE8}"/>
              </a:ext>
            </a:extLst>
          </p:cNvPr>
          <p:cNvSpPr>
            <a:spLocks noGrp="1"/>
          </p:cNvSpPr>
          <p:nvPr>
            <p:ph type="body" idx="1"/>
          </p:nvPr>
        </p:nvSpPr>
        <p:spPr>
          <a:xfrm>
            <a:off x="609600" y="1330859"/>
            <a:ext cx="10972800" cy="48461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Single Corner Rounded 12">
            <a:extLst>
              <a:ext uri="{FF2B5EF4-FFF2-40B4-BE49-F238E27FC236}">
                <a16:creationId xmlns:a16="http://schemas.microsoft.com/office/drawing/2014/main" id="{D9201932-F016-4634-83E9-B726DBE3A173}"/>
              </a:ext>
            </a:extLst>
          </p:cNvPr>
          <p:cNvSpPr/>
          <p:nvPr userDrawn="1"/>
        </p:nvSpPr>
        <p:spPr>
          <a:xfrm flipH="1">
            <a:off x="11492632" y="6158632"/>
            <a:ext cx="699368" cy="699368"/>
          </a:xfrm>
          <a:prstGeom prst="round1Rect">
            <a:avLst>
              <a:gd name="adj" fmla="val 3119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a:extLst>
              <a:ext uri="{FF2B5EF4-FFF2-40B4-BE49-F238E27FC236}">
                <a16:creationId xmlns:a16="http://schemas.microsoft.com/office/drawing/2014/main" id="{6AC4CF72-3B1D-42D0-A397-3629DD6ABDF2}"/>
              </a:ext>
            </a:extLst>
          </p:cNvPr>
          <p:cNvSpPr>
            <a:spLocks noGrp="1"/>
          </p:cNvSpPr>
          <p:nvPr>
            <p:ph type="sldNum" sz="quarter" idx="4"/>
          </p:nvPr>
        </p:nvSpPr>
        <p:spPr>
          <a:xfrm>
            <a:off x="11658612" y="6369817"/>
            <a:ext cx="367408" cy="276999"/>
          </a:xfrm>
          <a:prstGeom prst="rect">
            <a:avLst/>
          </a:prstGeom>
        </p:spPr>
        <p:txBody>
          <a:bodyPr wrap="none" anchor="ctr">
            <a:spAutoFit/>
          </a:bodyPr>
          <a:lstStyle>
            <a:lvl1pPr algn="ctr">
              <a:defRPr sz="1200">
                <a:solidFill>
                  <a:schemeClr val="bg1"/>
                </a:solidFill>
              </a:defRPr>
            </a:lvl1pPr>
          </a:lstStyle>
          <a:p>
            <a:fld id="{B84D2E29-67F4-44D8-B0E3-F54815B4F123}" type="slidenum">
              <a:rPr lang="en-US" smtClean="0"/>
              <a:pPr/>
              <a:t>‹#›</a:t>
            </a:fld>
            <a:endParaRPr lang="en-US" dirty="0"/>
          </a:p>
        </p:txBody>
      </p:sp>
    </p:spTree>
    <p:extLst>
      <p:ext uri="{BB962C8B-B14F-4D97-AF65-F5344CB8AC3E}">
        <p14:creationId xmlns:p14="http://schemas.microsoft.com/office/powerpoint/2010/main" val="315389542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3" r:id="rId3"/>
    <p:sldLayoutId id="2147483665" r:id="rId4"/>
  </p:sldLayoutIdLst>
  <p:hf hdr="0" ft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7296" userDrawn="1">
          <p15:clr>
            <a:srgbClr val="F26B43"/>
          </p15:clr>
        </p15:guide>
        <p15:guide id="3" pos="38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5.jpeg"/></Relationships>
</file>

<file path=ppt/slides/_rels/slide1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chart" Target="../charts/chart6.xml"/><Relationship Id="rId5" Type="http://schemas.openxmlformats.org/officeDocument/2006/relationships/notesSlide" Target="../notesSlides/notesSlide9.xml"/><Relationship Id="rId10" Type="http://schemas.openxmlformats.org/officeDocument/2006/relationships/chart" Target="../charts/chart5.xml"/><Relationship Id="rId4" Type="http://schemas.openxmlformats.org/officeDocument/2006/relationships/slideLayout" Target="../slideLayouts/slideLayout2.xml"/><Relationship Id="rId9" Type="http://schemas.openxmlformats.org/officeDocument/2006/relationships/chart" Target="../charts/chart4.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2.xml"/><Relationship Id="rId4" Type="http://schemas.openxmlformats.org/officeDocument/2006/relationships/slideLayout" Target="../slideLayouts/slideLayout2.xml"/><Relationship Id="rId9" Type="http://schemas.openxmlformats.org/officeDocument/2006/relationships/image" Target="../media/image5.svg"/></Relationships>
</file>

<file path=ppt/slides/_rels/slide2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36.jpeg"/><Relationship Id="rId4" Type="http://schemas.openxmlformats.org/officeDocument/2006/relationships/notesSlide" Target="../notesSlides/notesSlide15.xml"/><Relationship Id="rId9" Type="http://schemas.openxmlformats.org/officeDocument/2006/relationships/image" Target="../media/image38.png"/></Relationships>
</file>

<file path=ppt/slides/_rels/slide2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4.bin"/><Relationship Id="rId11" Type="http://schemas.openxmlformats.org/officeDocument/2006/relationships/image" Target="../media/image46.png"/><Relationship Id="rId5" Type="http://schemas.openxmlformats.org/officeDocument/2006/relationships/notesSlide" Target="../notesSlides/notesSlide17.xml"/><Relationship Id="rId10" Type="http://schemas.openxmlformats.org/officeDocument/2006/relationships/image" Target="../media/image45.png"/><Relationship Id="rId4" Type="http://schemas.openxmlformats.org/officeDocument/2006/relationships/slideLayout" Target="../slideLayouts/slideLayout2.xml"/><Relationship Id="rId9" Type="http://schemas.openxmlformats.org/officeDocument/2006/relationships/image" Target="../media/image4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7.png"/><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8.xml"/></Relationships>
</file>

<file path=ppt/slides/_rels/slide2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xml"/><Relationship Id="rId7" Type="http://schemas.openxmlformats.org/officeDocument/2006/relationships/oleObject" Target="../embeddings/oleObject10.bin"/><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chart" Target="../charts/chart7.xml"/><Relationship Id="rId5" Type="http://schemas.openxmlformats.org/officeDocument/2006/relationships/notesSlide" Target="../notesSlides/notesSlide19.xml"/><Relationship Id="rId10" Type="http://schemas.openxmlformats.org/officeDocument/2006/relationships/image" Target="../media/image50.png"/><Relationship Id="rId4" Type="http://schemas.openxmlformats.org/officeDocument/2006/relationships/slideLayout" Target="../slideLayouts/slideLayout2.xml"/><Relationship Id="rId9" Type="http://schemas.openxmlformats.org/officeDocument/2006/relationships/image" Target="../media/image49.png"/></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6.jpe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hyperlink" Target="https://pixabay.com/photos/code-code-editor-coding-computer-1839406/" TargetMode="External"/><Relationship Id="rId7" Type="http://schemas.openxmlformats.org/officeDocument/2006/relationships/chart" Target="../charts/chart3.xml"/><Relationship Id="rId2" Type="http://schemas.openxmlformats.org/officeDocument/2006/relationships/image" Target="../media/image8.jpeg"/><Relationship Id="rId1" Type="http://schemas.openxmlformats.org/officeDocument/2006/relationships/slideLayout" Target="../slideLayouts/slideLayout1.xml"/><Relationship Id="rId6" Type="http://schemas.openxmlformats.org/officeDocument/2006/relationships/chart" Target="../charts/chart2.xml"/><Relationship Id="rId5" Type="http://schemas.openxmlformats.org/officeDocument/2006/relationships/image" Target="../media/image9.png"/><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0.jpeg"/><Relationship Id="rId7" Type="http://schemas.openxmlformats.org/officeDocument/2006/relationships/diagramQuickStyle" Target="../diagrams/quickStyle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hyperlink" Target="https://www.pexels.com/zh-tw/video/5562047/" TargetMode="External"/><Relationship Id="rId9" Type="http://schemas.microsoft.com/office/2007/relationships/diagramDrawing" Target="../diagrams/drawing1.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3.jpe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 name="Rectangle 34">
            <a:extLst>
              <a:ext uri="{FF2B5EF4-FFF2-40B4-BE49-F238E27FC236}">
                <a16:creationId xmlns:a16="http://schemas.microsoft.com/office/drawing/2014/main" id="{D1F89E4E-E549-4B72-B0C1-B89855BD0328}"/>
              </a:ext>
            </a:extLst>
          </p:cNvPr>
          <p:cNvSpPr/>
          <p:nvPr/>
        </p:nvSpPr>
        <p:spPr>
          <a:xfrm flipH="1" flipV="1">
            <a:off x="-2" y="2665371"/>
            <a:ext cx="11487152" cy="4192629"/>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59199" y="93304"/>
                  <a:pt x="0" y="0"/>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259" name="Picture 258" descr="A group of people sitting at a table&#10;&#10;Description automatically generated">
            <a:extLst>
              <a:ext uri="{FF2B5EF4-FFF2-40B4-BE49-F238E27FC236}">
                <a16:creationId xmlns:a16="http://schemas.microsoft.com/office/drawing/2014/main" id="{F0F7A178-0008-4EBA-B8D1-993F1780F153}"/>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624344" y="276138"/>
            <a:ext cx="4052641" cy="5425997"/>
          </a:xfrm>
          <a:prstGeom prst="rect">
            <a:avLst/>
          </a:prstGeom>
        </p:spPr>
      </p:pic>
      <p:sp>
        <p:nvSpPr>
          <p:cNvPr id="256" name="Rectangle 255">
            <a:extLst>
              <a:ext uri="{FF2B5EF4-FFF2-40B4-BE49-F238E27FC236}">
                <a16:creationId xmlns:a16="http://schemas.microsoft.com/office/drawing/2014/main" id="{562E07FC-6BAE-43C3-9C70-3CD3DB4FC862}"/>
              </a:ext>
            </a:extLst>
          </p:cNvPr>
          <p:cNvSpPr/>
          <p:nvPr/>
        </p:nvSpPr>
        <p:spPr>
          <a:xfrm>
            <a:off x="624343" y="264014"/>
            <a:ext cx="4053562" cy="5450244"/>
          </a:xfrm>
          <a:prstGeom prst="rect">
            <a:avLst/>
          </a:pr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16" name="Group 15">
            <a:extLst>
              <a:ext uri="{FF2B5EF4-FFF2-40B4-BE49-F238E27FC236}">
                <a16:creationId xmlns:a16="http://schemas.microsoft.com/office/drawing/2014/main" id="{38B681EB-DB13-4D6C-B8F5-BFEE8EC6FD95}"/>
              </a:ext>
            </a:extLst>
          </p:cNvPr>
          <p:cNvGrpSpPr/>
          <p:nvPr/>
        </p:nvGrpSpPr>
        <p:grpSpPr>
          <a:xfrm>
            <a:off x="5668509" y="552757"/>
            <a:ext cx="2423933" cy="3175248"/>
            <a:chOff x="594889" y="1834251"/>
            <a:chExt cx="2734301" cy="3581817"/>
          </a:xfrm>
          <a:solidFill>
            <a:schemeClr val="accent1"/>
          </a:solidFill>
        </p:grpSpPr>
        <p:sp>
          <p:nvSpPr>
            <p:cNvPr id="198" name="Freeform 43">
              <a:extLst>
                <a:ext uri="{FF2B5EF4-FFF2-40B4-BE49-F238E27FC236}">
                  <a16:creationId xmlns:a16="http://schemas.microsoft.com/office/drawing/2014/main" id="{0AFCA4F1-54EB-42BD-A4E4-D0C198A6B36D}"/>
                </a:ext>
              </a:extLst>
            </p:cNvPr>
            <p:cNvSpPr>
              <a:spLocks/>
            </p:cNvSpPr>
            <p:nvPr/>
          </p:nvSpPr>
          <p:spPr bwMode="auto">
            <a:xfrm>
              <a:off x="2323443" y="5364933"/>
              <a:ext cx="53497" cy="51135"/>
            </a:xfrm>
            <a:custGeom>
              <a:avLst/>
              <a:gdLst>
                <a:gd name="T0" fmla="*/ 0 w 41"/>
                <a:gd name="T1" fmla="*/ 30 h 38"/>
                <a:gd name="T2" fmla="*/ 10 w 41"/>
                <a:gd name="T3" fmla="*/ 0 h 38"/>
                <a:gd name="T4" fmla="*/ 13 w 41"/>
                <a:gd name="T5" fmla="*/ 0 h 38"/>
                <a:gd name="T6" fmla="*/ 22 w 41"/>
                <a:gd name="T7" fmla="*/ 12 h 38"/>
                <a:gd name="T8" fmla="*/ 40 w 41"/>
                <a:gd name="T9" fmla="*/ 25 h 38"/>
                <a:gd name="T10" fmla="*/ 19 w 41"/>
                <a:gd name="T11" fmla="*/ 25 h 38"/>
                <a:gd name="T12" fmla="*/ 15 w 41"/>
                <a:gd name="T13" fmla="*/ 37 h 38"/>
                <a:gd name="T14" fmla="*/ 0 w 41"/>
                <a:gd name="T15" fmla="*/ 3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8">
                  <a:moveTo>
                    <a:pt x="0" y="30"/>
                  </a:moveTo>
                  <a:lnTo>
                    <a:pt x="10" y="0"/>
                  </a:lnTo>
                  <a:lnTo>
                    <a:pt x="13" y="0"/>
                  </a:lnTo>
                  <a:lnTo>
                    <a:pt x="22" y="12"/>
                  </a:lnTo>
                  <a:lnTo>
                    <a:pt x="40" y="25"/>
                  </a:lnTo>
                  <a:lnTo>
                    <a:pt x="19" y="25"/>
                  </a:lnTo>
                  <a:lnTo>
                    <a:pt x="15" y="37"/>
                  </a:lnTo>
                  <a:lnTo>
                    <a:pt x="0" y="3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99" name="Freeform 44">
              <a:extLst>
                <a:ext uri="{FF2B5EF4-FFF2-40B4-BE49-F238E27FC236}">
                  <a16:creationId xmlns:a16="http://schemas.microsoft.com/office/drawing/2014/main" id="{839CCD9E-67CE-42FF-86B6-DC64279A6A9E}"/>
                </a:ext>
              </a:extLst>
            </p:cNvPr>
            <p:cNvSpPr>
              <a:spLocks/>
            </p:cNvSpPr>
            <p:nvPr/>
          </p:nvSpPr>
          <p:spPr bwMode="auto">
            <a:xfrm>
              <a:off x="2293722" y="5357798"/>
              <a:ext cx="47553" cy="49946"/>
            </a:xfrm>
            <a:custGeom>
              <a:avLst/>
              <a:gdLst>
                <a:gd name="T0" fmla="*/ 31 w 35"/>
                <a:gd name="T1" fmla="*/ 5 h 38"/>
                <a:gd name="T2" fmla="*/ 21 w 35"/>
                <a:gd name="T3" fmla="*/ 37 h 38"/>
                <a:gd name="T4" fmla="*/ 0 w 35"/>
                <a:gd name="T5" fmla="*/ 25 h 38"/>
                <a:gd name="T6" fmla="*/ 5 w 35"/>
                <a:gd name="T7" fmla="*/ 7 h 38"/>
                <a:gd name="T8" fmla="*/ 14 w 35"/>
                <a:gd name="T9" fmla="*/ 0 h 38"/>
                <a:gd name="T10" fmla="*/ 34 w 35"/>
                <a:gd name="T11" fmla="*/ 5 h 38"/>
                <a:gd name="T12" fmla="*/ 31 w 35"/>
                <a:gd name="T13" fmla="*/ 5 h 38"/>
              </a:gdLst>
              <a:ahLst/>
              <a:cxnLst>
                <a:cxn ang="0">
                  <a:pos x="T0" y="T1"/>
                </a:cxn>
                <a:cxn ang="0">
                  <a:pos x="T2" y="T3"/>
                </a:cxn>
                <a:cxn ang="0">
                  <a:pos x="T4" y="T5"/>
                </a:cxn>
                <a:cxn ang="0">
                  <a:pos x="T6" y="T7"/>
                </a:cxn>
                <a:cxn ang="0">
                  <a:pos x="T8" y="T9"/>
                </a:cxn>
                <a:cxn ang="0">
                  <a:pos x="T10" y="T11"/>
                </a:cxn>
                <a:cxn ang="0">
                  <a:pos x="T12" y="T13"/>
                </a:cxn>
              </a:cxnLst>
              <a:rect l="0" t="0" r="r" b="b"/>
              <a:pathLst>
                <a:path w="35" h="38">
                  <a:moveTo>
                    <a:pt x="31" y="5"/>
                  </a:moveTo>
                  <a:lnTo>
                    <a:pt x="21" y="37"/>
                  </a:lnTo>
                  <a:lnTo>
                    <a:pt x="0" y="25"/>
                  </a:lnTo>
                  <a:lnTo>
                    <a:pt x="5" y="7"/>
                  </a:lnTo>
                  <a:lnTo>
                    <a:pt x="14" y="0"/>
                  </a:lnTo>
                  <a:lnTo>
                    <a:pt x="34" y="5"/>
                  </a:lnTo>
                  <a:lnTo>
                    <a:pt x="31" y="5"/>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00" name="Freeform 45">
              <a:extLst>
                <a:ext uri="{FF2B5EF4-FFF2-40B4-BE49-F238E27FC236}">
                  <a16:creationId xmlns:a16="http://schemas.microsoft.com/office/drawing/2014/main" id="{8AD7273D-F148-4DE3-B2CB-3B578FDE61C1}"/>
                </a:ext>
              </a:extLst>
            </p:cNvPr>
            <p:cNvSpPr>
              <a:spLocks/>
            </p:cNvSpPr>
            <p:nvPr/>
          </p:nvSpPr>
          <p:spPr bwMode="auto">
            <a:xfrm>
              <a:off x="2161763" y="4490884"/>
              <a:ext cx="137904" cy="899022"/>
            </a:xfrm>
            <a:custGeom>
              <a:avLst/>
              <a:gdLst>
                <a:gd name="T0" fmla="*/ 56 w 103"/>
                <a:gd name="T1" fmla="*/ 625 h 674"/>
                <a:gd name="T2" fmla="*/ 40 w 103"/>
                <a:gd name="T3" fmla="*/ 597 h 674"/>
                <a:gd name="T4" fmla="*/ 46 w 103"/>
                <a:gd name="T5" fmla="*/ 551 h 674"/>
                <a:gd name="T6" fmla="*/ 49 w 103"/>
                <a:gd name="T7" fmla="*/ 478 h 674"/>
                <a:gd name="T8" fmla="*/ 43 w 103"/>
                <a:gd name="T9" fmla="*/ 438 h 674"/>
                <a:gd name="T10" fmla="*/ 33 w 103"/>
                <a:gd name="T11" fmla="*/ 397 h 674"/>
                <a:gd name="T12" fmla="*/ 44 w 103"/>
                <a:gd name="T13" fmla="*/ 372 h 674"/>
                <a:gd name="T14" fmla="*/ 41 w 103"/>
                <a:gd name="T15" fmla="*/ 326 h 674"/>
                <a:gd name="T16" fmla="*/ 41 w 103"/>
                <a:gd name="T17" fmla="*/ 309 h 674"/>
                <a:gd name="T18" fmla="*/ 49 w 103"/>
                <a:gd name="T19" fmla="*/ 284 h 674"/>
                <a:gd name="T20" fmla="*/ 41 w 103"/>
                <a:gd name="T21" fmla="*/ 265 h 674"/>
                <a:gd name="T22" fmla="*/ 47 w 103"/>
                <a:gd name="T23" fmla="*/ 235 h 674"/>
                <a:gd name="T24" fmla="*/ 42 w 103"/>
                <a:gd name="T25" fmla="*/ 198 h 674"/>
                <a:gd name="T26" fmla="*/ 49 w 103"/>
                <a:gd name="T27" fmla="*/ 175 h 674"/>
                <a:gd name="T28" fmla="*/ 63 w 103"/>
                <a:gd name="T29" fmla="*/ 155 h 674"/>
                <a:gd name="T30" fmla="*/ 64 w 103"/>
                <a:gd name="T31" fmla="*/ 134 h 674"/>
                <a:gd name="T32" fmla="*/ 73 w 103"/>
                <a:gd name="T33" fmla="*/ 112 h 674"/>
                <a:gd name="T34" fmla="*/ 64 w 103"/>
                <a:gd name="T35" fmla="*/ 87 h 674"/>
                <a:gd name="T36" fmla="*/ 54 w 103"/>
                <a:gd name="T37" fmla="*/ 36 h 674"/>
                <a:gd name="T38" fmla="*/ 38 w 103"/>
                <a:gd name="T39" fmla="*/ 8 h 674"/>
                <a:gd name="T40" fmla="*/ 21 w 103"/>
                <a:gd name="T41" fmla="*/ 10 h 674"/>
                <a:gd name="T42" fmla="*/ 28 w 103"/>
                <a:gd name="T43" fmla="*/ 39 h 674"/>
                <a:gd name="T44" fmla="*/ 23 w 103"/>
                <a:gd name="T45" fmla="*/ 104 h 674"/>
                <a:gd name="T46" fmla="*/ 28 w 103"/>
                <a:gd name="T47" fmla="*/ 112 h 674"/>
                <a:gd name="T48" fmla="*/ 24 w 103"/>
                <a:gd name="T49" fmla="*/ 147 h 674"/>
                <a:gd name="T50" fmla="*/ 13 w 103"/>
                <a:gd name="T51" fmla="*/ 187 h 674"/>
                <a:gd name="T52" fmla="*/ 14 w 103"/>
                <a:gd name="T53" fmla="*/ 216 h 674"/>
                <a:gd name="T54" fmla="*/ 15 w 103"/>
                <a:gd name="T55" fmla="*/ 268 h 674"/>
                <a:gd name="T56" fmla="*/ 4 w 103"/>
                <a:gd name="T57" fmla="*/ 340 h 674"/>
                <a:gd name="T58" fmla="*/ 11 w 103"/>
                <a:gd name="T59" fmla="*/ 437 h 674"/>
                <a:gd name="T60" fmla="*/ 15 w 103"/>
                <a:gd name="T61" fmla="*/ 451 h 674"/>
                <a:gd name="T62" fmla="*/ 20 w 103"/>
                <a:gd name="T63" fmla="*/ 499 h 674"/>
                <a:gd name="T64" fmla="*/ 13 w 103"/>
                <a:gd name="T65" fmla="*/ 535 h 674"/>
                <a:gd name="T66" fmla="*/ 13 w 103"/>
                <a:gd name="T67" fmla="*/ 566 h 674"/>
                <a:gd name="T68" fmla="*/ 28 w 103"/>
                <a:gd name="T69" fmla="*/ 605 h 674"/>
                <a:gd name="T70" fmla="*/ 40 w 103"/>
                <a:gd name="T71" fmla="*/ 625 h 674"/>
                <a:gd name="T72" fmla="*/ 54 w 103"/>
                <a:gd name="T73" fmla="*/ 637 h 674"/>
                <a:gd name="T74" fmla="*/ 72 w 103"/>
                <a:gd name="T75" fmla="*/ 654 h 674"/>
                <a:gd name="T76" fmla="*/ 87 w 103"/>
                <a:gd name="T77" fmla="*/ 673 h 674"/>
                <a:gd name="T78" fmla="*/ 102 w 103"/>
                <a:gd name="T79" fmla="*/ 65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3" h="674">
                  <a:moveTo>
                    <a:pt x="99" y="623"/>
                  </a:moveTo>
                  <a:lnTo>
                    <a:pt x="56" y="625"/>
                  </a:lnTo>
                  <a:lnTo>
                    <a:pt x="53" y="604"/>
                  </a:lnTo>
                  <a:lnTo>
                    <a:pt x="40" y="597"/>
                  </a:lnTo>
                  <a:lnTo>
                    <a:pt x="38" y="552"/>
                  </a:lnTo>
                  <a:lnTo>
                    <a:pt x="46" y="551"/>
                  </a:lnTo>
                  <a:lnTo>
                    <a:pt x="48" y="538"/>
                  </a:lnTo>
                  <a:lnTo>
                    <a:pt x="49" y="478"/>
                  </a:lnTo>
                  <a:lnTo>
                    <a:pt x="43" y="462"/>
                  </a:lnTo>
                  <a:lnTo>
                    <a:pt x="43" y="438"/>
                  </a:lnTo>
                  <a:lnTo>
                    <a:pt x="38" y="411"/>
                  </a:lnTo>
                  <a:lnTo>
                    <a:pt x="33" y="397"/>
                  </a:lnTo>
                  <a:lnTo>
                    <a:pt x="33" y="385"/>
                  </a:lnTo>
                  <a:lnTo>
                    <a:pt x="44" y="372"/>
                  </a:lnTo>
                  <a:lnTo>
                    <a:pt x="31" y="343"/>
                  </a:lnTo>
                  <a:lnTo>
                    <a:pt x="41" y="326"/>
                  </a:lnTo>
                  <a:lnTo>
                    <a:pt x="48" y="317"/>
                  </a:lnTo>
                  <a:lnTo>
                    <a:pt x="41" y="309"/>
                  </a:lnTo>
                  <a:lnTo>
                    <a:pt x="41" y="287"/>
                  </a:lnTo>
                  <a:lnTo>
                    <a:pt x="49" y="284"/>
                  </a:lnTo>
                  <a:lnTo>
                    <a:pt x="48" y="267"/>
                  </a:lnTo>
                  <a:lnTo>
                    <a:pt x="41" y="265"/>
                  </a:lnTo>
                  <a:lnTo>
                    <a:pt x="40" y="240"/>
                  </a:lnTo>
                  <a:lnTo>
                    <a:pt x="47" y="235"/>
                  </a:lnTo>
                  <a:lnTo>
                    <a:pt x="45" y="222"/>
                  </a:lnTo>
                  <a:lnTo>
                    <a:pt x="42" y="198"/>
                  </a:lnTo>
                  <a:lnTo>
                    <a:pt x="48" y="189"/>
                  </a:lnTo>
                  <a:lnTo>
                    <a:pt x="49" y="175"/>
                  </a:lnTo>
                  <a:lnTo>
                    <a:pt x="59" y="168"/>
                  </a:lnTo>
                  <a:lnTo>
                    <a:pt x="63" y="155"/>
                  </a:lnTo>
                  <a:lnTo>
                    <a:pt x="55" y="144"/>
                  </a:lnTo>
                  <a:lnTo>
                    <a:pt x="64" y="134"/>
                  </a:lnTo>
                  <a:lnTo>
                    <a:pt x="64" y="115"/>
                  </a:lnTo>
                  <a:lnTo>
                    <a:pt x="73" y="112"/>
                  </a:lnTo>
                  <a:lnTo>
                    <a:pt x="74" y="93"/>
                  </a:lnTo>
                  <a:lnTo>
                    <a:pt x="64" y="87"/>
                  </a:lnTo>
                  <a:lnTo>
                    <a:pt x="54" y="67"/>
                  </a:lnTo>
                  <a:lnTo>
                    <a:pt x="54" y="36"/>
                  </a:lnTo>
                  <a:lnTo>
                    <a:pt x="40" y="23"/>
                  </a:lnTo>
                  <a:lnTo>
                    <a:pt x="38" y="8"/>
                  </a:lnTo>
                  <a:lnTo>
                    <a:pt x="31" y="0"/>
                  </a:lnTo>
                  <a:lnTo>
                    <a:pt x="21" y="10"/>
                  </a:lnTo>
                  <a:lnTo>
                    <a:pt x="24" y="31"/>
                  </a:lnTo>
                  <a:lnTo>
                    <a:pt x="28" y="39"/>
                  </a:lnTo>
                  <a:lnTo>
                    <a:pt x="29" y="97"/>
                  </a:lnTo>
                  <a:lnTo>
                    <a:pt x="23" y="104"/>
                  </a:lnTo>
                  <a:lnTo>
                    <a:pt x="23" y="112"/>
                  </a:lnTo>
                  <a:lnTo>
                    <a:pt x="28" y="112"/>
                  </a:lnTo>
                  <a:lnTo>
                    <a:pt x="28" y="147"/>
                  </a:lnTo>
                  <a:lnTo>
                    <a:pt x="24" y="147"/>
                  </a:lnTo>
                  <a:lnTo>
                    <a:pt x="23" y="187"/>
                  </a:lnTo>
                  <a:lnTo>
                    <a:pt x="13" y="187"/>
                  </a:lnTo>
                  <a:lnTo>
                    <a:pt x="18" y="196"/>
                  </a:lnTo>
                  <a:lnTo>
                    <a:pt x="14" y="216"/>
                  </a:lnTo>
                  <a:lnTo>
                    <a:pt x="11" y="266"/>
                  </a:lnTo>
                  <a:lnTo>
                    <a:pt x="15" y="268"/>
                  </a:lnTo>
                  <a:lnTo>
                    <a:pt x="9" y="330"/>
                  </a:lnTo>
                  <a:lnTo>
                    <a:pt x="4" y="340"/>
                  </a:lnTo>
                  <a:lnTo>
                    <a:pt x="0" y="346"/>
                  </a:lnTo>
                  <a:lnTo>
                    <a:pt x="11" y="437"/>
                  </a:lnTo>
                  <a:lnTo>
                    <a:pt x="5" y="451"/>
                  </a:lnTo>
                  <a:lnTo>
                    <a:pt x="15" y="451"/>
                  </a:lnTo>
                  <a:lnTo>
                    <a:pt x="18" y="454"/>
                  </a:lnTo>
                  <a:lnTo>
                    <a:pt x="20" y="499"/>
                  </a:lnTo>
                  <a:lnTo>
                    <a:pt x="14" y="512"/>
                  </a:lnTo>
                  <a:lnTo>
                    <a:pt x="13" y="535"/>
                  </a:lnTo>
                  <a:lnTo>
                    <a:pt x="23" y="540"/>
                  </a:lnTo>
                  <a:lnTo>
                    <a:pt x="13" y="566"/>
                  </a:lnTo>
                  <a:lnTo>
                    <a:pt x="20" y="592"/>
                  </a:lnTo>
                  <a:lnTo>
                    <a:pt x="28" y="605"/>
                  </a:lnTo>
                  <a:lnTo>
                    <a:pt x="38" y="610"/>
                  </a:lnTo>
                  <a:lnTo>
                    <a:pt x="40" y="625"/>
                  </a:lnTo>
                  <a:lnTo>
                    <a:pt x="44" y="632"/>
                  </a:lnTo>
                  <a:lnTo>
                    <a:pt x="54" y="637"/>
                  </a:lnTo>
                  <a:lnTo>
                    <a:pt x="59" y="647"/>
                  </a:lnTo>
                  <a:lnTo>
                    <a:pt x="72" y="654"/>
                  </a:lnTo>
                  <a:lnTo>
                    <a:pt x="80" y="662"/>
                  </a:lnTo>
                  <a:lnTo>
                    <a:pt x="87" y="673"/>
                  </a:lnTo>
                  <a:lnTo>
                    <a:pt x="91" y="656"/>
                  </a:lnTo>
                  <a:lnTo>
                    <a:pt x="102" y="650"/>
                  </a:lnTo>
                  <a:lnTo>
                    <a:pt x="99" y="62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01" name="Freeform 46">
              <a:extLst>
                <a:ext uri="{FF2B5EF4-FFF2-40B4-BE49-F238E27FC236}">
                  <a16:creationId xmlns:a16="http://schemas.microsoft.com/office/drawing/2014/main" id="{B07F2CEE-90E4-4184-942A-D72B7459167D}"/>
                </a:ext>
              </a:extLst>
            </p:cNvPr>
            <p:cNvSpPr>
              <a:spLocks/>
            </p:cNvSpPr>
            <p:nvPr/>
          </p:nvSpPr>
          <p:spPr bwMode="auto">
            <a:xfrm>
              <a:off x="2117776" y="3656078"/>
              <a:ext cx="57064" cy="53513"/>
            </a:xfrm>
            <a:custGeom>
              <a:avLst/>
              <a:gdLst>
                <a:gd name="T0" fmla="*/ 32 w 43"/>
                <a:gd name="T1" fmla="*/ 1 h 41"/>
                <a:gd name="T2" fmla="*/ 26 w 43"/>
                <a:gd name="T3" fmla="*/ 14 h 41"/>
                <a:gd name="T4" fmla="*/ 32 w 43"/>
                <a:gd name="T5" fmla="*/ 21 h 41"/>
                <a:gd name="T6" fmla="*/ 23 w 43"/>
                <a:gd name="T7" fmla="*/ 26 h 41"/>
                <a:gd name="T8" fmla="*/ 0 w 43"/>
                <a:gd name="T9" fmla="*/ 26 h 41"/>
                <a:gd name="T10" fmla="*/ 3 w 43"/>
                <a:gd name="T11" fmla="*/ 37 h 41"/>
                <a:gd name="T12" fmla="*/ 21 w 43"/>
                <a:gd name="T13" fmla="*/ 38 h 41"/>
                <a:gd name="T14" fmla="*/ 37 w 43"/>
                <a:gd name="T15" fmla="*/ 40 h 41"/>
                <a:gd name="T16" fmla="*/ 42 w 43"/>
                <a:gd name="T17" fmla="*/ 29 h 41"/>
                <a:gd name="T18" fmla="*/ 42 w 43"/>
                <a:gd name="T19" fmla="*/ 8 h 41"/>
                <a:gd name="T20" fmla="*/ 42 w 43"/>
                <a:gd name="T21" fmla="*/ 0 h 41"/>
                <a:gd name="T22" fmla="*/ 32 w 43"/>
                <a:gd name="T23"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41">
                  <a:moveTo>
                    <a:pt x="32" y="1"/>
                  </a:moveTo>
                  <a:lnTo>
                    <a:pt x="26" y="14"/>
                  </a:lnTo>
                  <a:lnTo>
                    <a:pt x="32" y="21"/>
                  </a:lnTo>
                  <a:lnTo>
                    <a:pt x="23" y="26"/>
                  </a:lnTo>
                  <a:lnTo>
                    <a:pt x="0" y="26"/>
                  </a:lnTo>
                  <a:lnTo>
                    <a:pt x="3" y="37"/>
                  </a:lnTo>
                  <a:lnTo>
                    <a:pt x="21" y="38"/>
                  </a:lnTo>
                  <a:lnTo>
                    <a:pt x="37" y="40"/>
                  </a:lnTo>
                  <a:lnTo>
                    <a:pt x="42" y="29"/>
                  </a:lnTo>
                  <a:lnTo>
                    <a:pt x="42" y="8"/>
                  </a:lnTo>
                  <a:lnTo>
                    <a:pt x="42" y="0"/>
                  </a:lnTo>
                  <a:lnTo>
                    <a:pt x="32" y="1"/>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02" name="Freeform 47">
              <a:extLst>
                <a:ext uri="{FF2B5EF4-FFF2-40B4-BE49-F238E27FC236}">
                  <a16:creationId xmlns:a16="http://schemas.microsoft.com/office/drawing/2014/main" id="{8AF30C6E-75A0-4EF0-8356-12FBD2F90654}"/>
                </a:ext>
              </a:extLst>
            </p:cNvPr>
            <p:cNvSpPr>
              <a:spLocks/>
            </p:cNvSpPr>
            <p:nvPr/>
          </p:nvSpPr>
          <p:spPr bwMode="auto">
            <a:xfrm>
              <a:off x="1337906" y="3364729"/>
              <a:ext cx="549238" cy="415025"/>
            </a:xfrm>
            <a:custGeom>
              <a:avLst/>
              <a:gdLst>
                <a:gd name="T0" fmla="*/ 245 w 412"/>
                <a:gd name="T1" fmla="*/ 119 h 312"/>
                <a:gd name="T2" fmla="*/ 229 w 412"/>
                <a:gd name="T3" fmla="*/ 93 h 312"/>
                <a:gd name="T4" fmla="*/ 216 w 412"/>
                <a:gd name="T5" fmla="*/ 60 h 312"/>
                <a:gd name="T6" fmla="*/ 196 w 412"/>
                <a:gd name="T7" fmla="*/ 70 h 312"/>
                <a:gd name="T8" fmla="*/ 174 w 412"/>
                <a:gd name="T9" fmla="*/ 45 h 312"/>
                <a:gd name="T10" fmla="*/ 164 w 412"/>
                <a:gd name="T11" fmla="*/ 29 h 312"/>
                <a:gd name="T12" fmla="*/ 147 w 412"/>
                <a:gd name="T13" fmla="*/ 11 h 312"/>
                <a:gd name="T14" fmla="*/ 125 w 412"/>
                <a:gd name="T15" fmla="*/ 20 h 312"/>
                <a:gd name="T16" fmla="*/ 101 w 412"/>
                <a:gd name="T17" fmla="*/ 29 h 312"/>
                <a:gd name="T18" fmla="*/ 63 w 412"/>
                <a:gd name="T19" fmla="*/ 31 h 312"/>
                <a:gd name="T20" fmla="*/ 35 w 412"/>
                <a:gd name="T21" fmla="*/ 11 h 312"/>
                <a:gd name="T22" fmla="*/ 0 w 412"/>
                <a:gd name="T23" fmla="*/ 0 h 312"/>
                <a:gd name="T24" fmla="*/ 16 w 412"/>
                <a:gd name="T25" fmla="*/ 53 h 312"/>
                <a:gd name="T26" fmla="*/ 25 w 412"/>
                <a:gd name="T27" fmla="*/ 87 h 312"/>
                <a:gd name="T28" fmla="*/ 41 w 412"/>
                <a:gd name="T29" fmla="*/ 110 h 312"/>
                <a:gd name="T30" fmla="*/ 59 w 412"/>
                <a:gd name="T31" fmla="*/ 146 h 312"/>
                <a:gd name="T32" fmla="*/ 98 w 412"/>
                <a:gd name="T33" fmla="*/ 177 h 312"/>
                <a:gd name="T34" fmla="*/ 78 w 412"/>
                <a:gd name="T35" fmla="*/ 129 h 312"/>
                <a:gd name="T36" fmla="*/ 51 w 412"/>
                <a:gd name="T37" fmla="*/ 83 h 312"/>
                <a:gd name="T38" fmla="*/ 31 w 412"/>
                <a:gd name="T39" fmla="*/ 45 h 312"/>
                <a:gd name="T40" fmla="*/ 41 w 412"/>
                <a:gd name="T41" fmla="*/ 28 h 312"/>
                <a:gd name="T42" fmla="*/ 64 w 412"/>
                <a:gd name="T43" fmla="*/ 49 h 312"/>
                <a:gd name="T44" fmla="*/ 78 w 412"/>
                <a:gd name="T45" fmla="*/ 88 h 312"/>
                <a:gd name="T46" fmla="*/ 97 w 412"/>
                <a:gd name="T47" fmla="*/ 112 h 312"/>
                <a:gd name="T48" fmla="*/ 110 w 412"/>
                <a:gd name="T49" fmla="*/ 132 h 312"/>
                <a:gd name="T50" fmla="*/ 129 w 412"/>
                <a:gd name="T51" fmla="*/ 158 h 312"/>
                <a:gd name="T52" fmla="*/ 140 w 412"/>
                <a:gd name="T53" fmla="*/ 172 h 312"/>
                <a:gd name="T54" fmla="*/ 147 w 412"/>
                <a:gd name="T55" fmla="*/ 207 h 312"/>
                <a:gd name="T56" fmla="*/ 156 w 412"/>
                <a:gd name="T57" fmla="*/ 230 h 312"/>
                <a:gd name="T58" fmla="*/ 275 w 412"/>
                <a:gd name="T59" fmla="*/ 295 h 312"/>
                <a:gd name="T60" fmla="*/ 299 w 412"/>
                <a:gd name="T61" fmla="*/ 291 h 312"/>
                <a:gd name="T62" fmla="*/ 327 w 412"/>
                <a:gd name="T63" fmla="*/ 311 h 312"/>
                <a:gd name="T64" fmla="*/ 346 w 412"/>
                <a:gd name="T65" fmla="*/ 290 h 312"/>
                <a:gd name="T66" fmla="*/ 370 w 412"/>
                <a:gd name="T67" fmla="*/ 263 h 312"/>
                <a:gd name="T68" fmla="*/ 396 w 412"/>
                <a:gd name="T69" fmla="*/ 250 h 312"/>
                <a:gd name="T70" fmla="*/ 405 w 412"/>
                <a:gd name="T71" fmla="*/ 218 h 312"/>
                <a:gd name="T72" fmla="*/ 408 w 412"/>
                <a:gd name="T73" fmla="*/ 200 h 312"/>
                <a:gd name="T74" fmla="*/ 362 w 412"/>
                <a:gd name="T75" fmla="*/ 208 h 312"/>
                <a:gd name="T76" fmla="*/ 325 w 412"/>
                <a:gd name="T77" fmla="*/ 245 h 312"/>
                <a:gd name="T78" fmla="*/ 269 w 412"/>
                <a:gd name="T79" fmla="*/ 229 h 312"/>
                <a:gd name="T80" fmla="*/ 254 w 412"/>
                <a:gd name="T81" fmla="*/ 160 h 312"/>
                <a:gd name="T82" fmla="*/ 265 w 412"/>
                <a:gd name="T83" fmla="*/ 11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2" h="312">
                  <a:moveTo>
                    <a:pt x="265" y="119"/>
                  </a:moveTo>
                  <a:lnTo>
                    <a:pt x="245" y="119"/>
                  </a:lnTo>
                  <a:lnTo>
                    <a:pt x="241" y="99"/>
                  </a:lnTo>
                  <a:lnTo>
                    <a:pt x="229" y="93"/>
                  </a:lnTo>
                  <a:lnTo>
                    <a:pt x="225" y="72"/>
                  </a:lnTo>
                  <a:lnTo>
                    <a:pt x="216" y="60"/>
                  </a:lnTo>
                  <a:lnTo>
                    <a:pt x="201" y="49"/>
                  </a:lnTo>
                  <a:lnTo>
                    <a:pt x="196" y="70"/>
                  </a:lnTo>
                  <a:lnTo>
                    <a:pt x="181" y="70"/>
                  </a:lnTo>
                  <a:lnTo>
                    <a:pt x="174" y="45"/>
                  </a:lnTo>
                  <a:lnTo>
                    <a:pt x="165" y="43"/>
                  </a:lnTo>
                  <a:lnTo>
                    <a:pt x="164" y="29"/>
                  </a:lnTo>
                  <a:lnTo>
                    <a:pt x="152" y="26"/>
                  </a:lnTo>
                  <a:lnTo>
                    <a:pt x="147" y="11"/>
                  </a:lnTo>
                  <a:lnTo>
                    <a:pt x="137" y="19"/>
                  </a:lnTo>
                  <a:lnTo>
                    <a:pt x="125" y="20"/>
                  </a:lnTo>
                  <a:lnTo>
                    <a:pt x="122" y="29"/>
                  </a:lnTo>
                  <a:lnTo>
                    <a:pt x="101" y="29"/>
                  </a:lnTo>
                  <a:lnTo>
                    <a:pt x="85" y="36"/>
                  </a:lnTo>
                  <a:lnTo>
                    <a:pt x="63" y="31"/>
                  </a:lnTo>
                  <a:lnTo>
                    <a:pt x="47" y="15"/>
                  </a:lnTo>
                  <a:lnTo>
                    <a:pt x="35" y="11"/>
                  </a:lnTo>
                  <a:lnTo>
                    <a:pt x="31" y="2"/>
                  </a:lnTo>
                  <a:lnTo>
                    <a:pt x="0" y="0"/>
                  </a:lnTo>
                  <a:lnTo>
                    <a:pt x="3" y="37"/>
                  </a:lnTo>
                  <a:lnTo>
                    <a:pt x="16" y="53"/>
                  </a:lnTo>
                  <a:lnTo>
                    <a:pt x="29" y="73"/>
                  </a:lnTo>
                  <a:lnTo>
                    <a:pt x="25" y="87"/>
                  </a:lnTo>
                  <a:lnTo>
                    <a:pt x="17" y="92"/>
                  </a:lnTo>
                  <a:lnTo>
                    <a:pt x="41" y="110"/>
                  </a:lnTo>
                  <a:lnTo>
                    <a:pt x="57" y="123"/>
                  </a:lnTo>
                  <a:lnTo>
                    <a:pt x="59" y="146"/>
                  </a:lnTo>
                  <a:lnTo>
                    <a:pt x="87" y="177"/>
                  </a:lnTo>
                  <a:lnTo>
                    <a:pt x="98" y="177"/>
                  </a:lnTo>
                  <a:lnTo>
                    <a:pt x="91" y="154"/>
                  </a:lnTo>
                  <a:lnTo>
                    <a:pt x="78" y="129"/>
                  </a:lnTo>
                  <a:lnTo>
                    <a:pt x="69" y="105"/>
                  </a:lnTo>
                  <a:lnTo>
                    <a:pt x="51" y="83"/>
                  </a:lnTo>
                  <a:lnTo>
                    <a:pt x="40" y="63"/>
                  </a:lnTo>
                  <a:lnTo>
                    <a:pt x="31" y="45"/>
                  </a:lnTo>
                  <a:lnTo>
                    <a:pt x="31" y="22"/>
                  </a:lnTo>
                  <a:lnTo>
                    <a:pt x="41" y="28"/>
                  </a:lnTo>
                  <a:lnTo>
                    <a:pt x="52" y="40"/>
                  </a:lnTo>
                  <a:lnTo>
                    <a:pt x="64" y="49"/>
                  </a:lnTo>
                  <a:lnTo>
                    <a:pt x="66" y="76"/>
                  </a:lnTo>
                  <a:lnTo>
                    <a:pt x="78" y="88"/>
                  </a:lnTo>
                  <a:lnTo>
                    <a:pt x="89" y="106"/>
                  </a:lnTo>
                  <a:lnTo>
                    <a:pt x="97" y="112"/>
                  </a:lnTo>
                  <a:lnTo>
                    <a:pt x="96" y="127"/>
                  </a:lnTo>
                  <a:lnTo>
                    <a:pt x="110" y="132"/>
                  </a:lnTo>
                  <a:lnTo>
                    <a:pt x="111" y="150"/>
                  </a:lnTo>
                  <a:lnTo>
                    <a:pt x="129" y="158"/>
                  </a:lnTo>
                  <a:lnTo>
                    <a:pt x="129" y="171"/>
                  </a:lnTo>
                  <a:lnTo>
                    <a:pt x="140" y="172"/>
                  </a:lnTo>
                  <a:lnTo>
                    <a:pt x="141" y="190"/>
                  </a:lnTo>
                  <a:lnTo>
                    <a:pt x="147" y="207"/>
                  </a:lnTo>
                  <a:lnTo>
                    <a:pt x="142" y="222"/>
                  </a:lnTo>
                  <a:lnTo>
                    <a:pt x="156" y="230"/>
                  </a:lnTo>
                  <a:lnTo>
                    <a:pt x="235" y="282"/>
                  </a:lnTo>
                  <a:lnTo>
                    <a:pt x="275" y="295"/>
                  </a:lnTo>
                  <a:lnTo>
                    <a:pt x="288" y="286"/>
                  </a:lnTo>
                  <a:lnTo>
                    <a:pt x="299" y="291"/>
                  </a:lnTo>
                  <a:lnTo>
                    <a:pt x="316" y="297"/>
                  </a:lnTo>
                  <a:lnTo>
                    <a:pt x="327" y="311"/>
                  </a:lnTo>
                  <a:lnTo>
                    <a:pt x="333" y="293"/>
                  </a:lnTo>
                  <a:lnTo>
                    <a:pt x="346" y="290"/>
                  </a:lnTo>
                  <a:lnTo>
                    <a:pt x="348" y="272"/>
                  </a:lnTo>
                  <a:lnTo>
                    <a:pt x="370" y="263"/>
                  </a:lnTo>
                  <a:lnTo>
                    <a:pt x="378" y="260"/>
                  </a:lnTo>
                  <a:lnTo>
                    <a:pt x="396" y="250"/>
                  </a:lnTo>
                  <a:lnTo>
                    <a:pt x="406" y="237"/>
                  </a:lnTo>
                  <a:lnTo>
                    <a:pt x="405" y="218"/>
                  </a:lnTo>
                  <a:lnTo>
                    <a:pt x="411" y="214"/>
                  </a:lnTo>
                  <a:lnTo>
                    <a:pt x="408" y="200"/>
                  </a:lnTo>
                  <a:lnTo>
                    <a:pt x="375" y="197"/>
                  </a:lnTo>
                  <a:lnTo>
                    <a:pt x="362" y="208"/>
                  </a:lnTo>
                  <a:lnTo>
                    <a:pt x="347" y="238"/>
                  </a:lnTo>
                  <a:lnTo>
                    <a:pt x="325" y="245"/>
                  </a:lnTo>
                  <a:lnTo>
                    <a:pt x="293" y="246"/>
                  </a:lnTo>
                  <a:lnTo>
                    <a:pt x="269" y="229"/>
                  </a:lnTo>
                  <a:lnTo>
                    <a:pt x="262" y="188"/>
                  </a:lnTo>
                  <a:lnTo>
                    <a:pt x="254" y="160"/>
                  </a:lnTo>
                  <a:lnTo>
                    <a:pt x="261" y="139"/>
                  </a:lnTo>
                  <a:lnTo>
                    <a:pt x="265" y="11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03" name="Freeform 48">
              <a:extLst>
                <a:ext uri="{FF2B5EF4-FFF2-40B4-BE49-F238E27FC236}">
                  <a16:creationId xmlns:a16="http://schemas.microsoft.com/office/drawing/2014/main" id="{4C762BD8-5358-4895-BE5F-224E20CF7EF5}"/>
                </a:ext>
              </a:extLst>
            </p:cNvPr>
            <p:cNvSpPr>
              <a:spLocks/>
            </p:cNvSpPr>
            <p:nvPr/>
          </p:nvSpPr>
          <p:spPr bwMode="auto">
            <a:xfrm>
              <a:off x="1818192" y="3751213"/>
              <a:ext cx="130771" cy="64216"/>
            </a:xfrm>
            <a:custGeom>
              <a:avLst/>
              <a:gdLst>
                <a:gd name="T0" fmla="*/ 15 w 98"/>
                <a:gd name="T1" fmla="*/ 8 h 49"/>
                <a:gd name="T2" fmla="*/ 13 w 98"/>
                <a:gd name="T3" fmla="*/ 20 h 49"/>
                <a:gd name="T4" fmla="*/ 3 w 98"/>
                <a:gd name="T5" fmla="*/ 20 h 49"/>
                <a:gd name="T6" fmla="*/ 0 w 98"/>
                <a:gd name="T7" fmla="*/ 34 h 49"/>
                <a:gd name="T8" fmla="*/ 11 w 98"/>
                <a:gd name="T9" fmla="*/ 29 h 49"/>
                <a:gd name="T10" fmla="*/ 27 w 98"/>
                <a:gd name="T11" fmla="*/ 29 h 49"/>
                <a:gd name="T12" fmla="*/ 29 w 98"/>
                <a:gd name="T13" fmla="*/ 48 h 49"/>
                <a:gd name="T14" fmla="*/ 42 w 98"/>
                <a:gd name="T15" fmla="*/ 40 h 49"/>
                <a:gd name="T16" fmla="*/ 61 w 98"/>
                <a:gd name="T17" fmla="*/ 40 h 49"/>
                <a:gd name="T18" fmla="*/ 66 w 98"/>
                <a:gd name="T19" fmla="*/ 25 h 49"/>
                <a:gd name="T20" fmla="*/ 88 w 98"/>
                <a:gd name="T21" fmla="*/ 25 h 49"/>
                <a:gd name="T22" fmla="*/ 97 w 98"/>
                <a:gd name="T23" fmla="*/ 14 h 49"/>
                <a:gd name="T24" fmla="*/ 82 w 98"/>
                <a:gd name="T25" fmla="*/ 10 h 49"/>
                <a:gd name="T26" fmla="*/ 73 w 98"/>
                <a:gd name="T27" fmla="*/ 1 h 49"/>
                <a:gd name="T28" fmla="*/ 50 w 98"/>
                <a:gd name="T29" fmla="*/ 1 h 49"/>
                <a:gd name="T30" fmla="*/ 40 w 98"/>
                <a:gd name="T31" fmla="*/ 8 h 49"/>
                <a:gd name="T32" fmla="*/ 35 w 98"/>
                <a:gd name="T33" fmla="*/ 0 h 49"/>
                <a:gd name="T34" fmla="*/ 24 w 98"/>
                <a:gd name="T35" fmla="*/ 7 h 49"/>
                <a:gd name="T36" fmla="*/ 15 w 98"/>
                <a:gd name="T37"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8" h="49">
                  <a:moveTo>
                    <a:pt x="15" y="8"/>
                  </a:moveTo>
                  <a:lnTo>
                    <a:pt x="13" y="20"/>
                  </a:lnTo>
                  <a:lnTo>
                    <a:pt x="3" y="20"/>
                  </a:lnTo>
                  <a:lnTo>
                    <a:pt x="0" y="34"/>
                  </a:lnTo>
                  <a:lnTo>
                    <a:pt x="11" y="29"/>
                  </a:lnTo>
                  <a:lnTo>
                    <a:pt x="27" y="29"/>
                  </a:lnTo>
                  <a:lnTo>
                    <a:pt x="29" y="48"/>
                  </a:lnTo>
                  <a:lnTo>
                    <a:pt x="42" y="40"/>
                  </a:lnTo>
                  <a:lnTo>
                    <a:pt x="61" y="40"/>
                  </a:lnTo>
                  <a:lnTo>
                    <a:pt x="66" y="25"/>
                  </a:lnTo>
                  <a:lnTo>
                    <a:pt x="88" y="25"/>
                  </a:lnTo>
                  <a:lnTo>
                    <a:pt x="97" y="14"/>
                  </a:lnTo>
                  <a:lnTo>
                    <a:pt x="82" y="10"/>
                  </a:lnTo>
                  <a:lnTo>
                    <a:pt x="73" y="1"/>
                  </a:lnTo>
                  <a:lnTo>
                    <a:pt x="50" y="1"/>
                  </a:lnTo>
                  <a:lnTo>
                    <a:pt x="40" y="8"/>
                  </a:lnTo>
                  <a:lnTo>
                    <a:pt x="35" y="0"/>
                  </a:lnTo>
                  <a:lnTo>
                    <a:pt x="24" y="7"/>
                  </a:lnTo>
                  <a:lnTo>
                    <a:pt x="15" y="8"/>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04" name="Freeform 49">
              <a:extLst>
                <a:ext uri="{FF2B5EF4-FFF2-40B4-BE49-F238E27FC236}">
                  <a16:creationId xmlns:a16="http://schemas.microsoft.com/office/drawing/2014/main" id="{9955EBF7-11D5-425F-96F6-085104510354}"/>
                </a:ext>
              </a:extLst>
            </p:cNvPr>
            <p:cNvSpPr>
              <a:spLocks/>
            </p:cNvSpPr>
            <p:nvPr/>
          </p:nvSpPr>
          <p:spPr bwMode="auto">
            <a:xfrm>
              <a:off x="1856234" y="3784510"/>
              <a:ext cx="87973" cy="85621"/>
            </a:xfrm>
            <a:custGeom>
              <a:avLst/>
              <a:gdLst>
                <a:gd name="T0" fmla="*/ 60 w 66"/>
                <a:gd name="T1" fmla="*/ 0 h 63"/>
                <a:gd name="T2" fmla="*/ 38 w 66"/>
                <a:gd name="T3" fmla="*/ 0 h 63"/>
                <a:gd name="T4" fmla="*/ 33 w 66"/>
                <a:gd name="T5" fmla="*/ 14 h 63"/>
                <a:gd name="T6" fmla="*/ 14 w 66"/>
                <a:gd name="T7" fmla="*/ 15 h 63"/>
                <a:gd name="T8" fmla="*/ 0 w 66"/>
                <a:gd name="T9" fmla="*/ 23 h 63"/>
                <a:gd name="T10" fmla="*/ 8 w 66"/>
                <a:gd name="T11" fmla="*/ 31 h 63"/>
                <a:gd name="T12" fmla="*/ 15 w 66"/>
                <a:gd name="T13" fmla="*/ 49 h 63"/>
                <a:gd name="T14" fmla="*/ 25 w 66"/>
                <a:gd name="T15" fmla="*/ 60 h 63"/>
                <a:gd name="T16" fmla="*/ 56 w 66"/>
                <a:gd name="T17" fmla="*/ 62 h 63"/>
                <a:gd name="T18" fmla="*/ 60 w 66"/>
                <a:gd name="T19" fmla="*/ 18 h 63"/>
                <a:gd name="T20" fmla="*/ 65 w 66"/>
                <a:gd name="T21" fmla="*/ 7 h 63"/>
                <a:gd name="T22" fmla="*/ 60 w 6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63">
                  <a:moveTo>
                    <a:pt x="60" y="0"/>
                  </a:moveTo>
                  <a:lnTo>
                    <a:pt x="38" y="0"/>
                  </a:lnTo>
                  <a:lnTo>
                    <a:pt x="33" y="14"/>
                  </a:lnTo>
                  <a:lnTo>
                    <a:pt x="14" y="15"/>
                  </a:lnTo>
                  <a:lnTo>
                    <a:pt x="0" y="23"/>
                  </a:lnTo>
                  <a:lnTo>
                    <a:pt x="8" y="31"/>
                  </a:lnTo>
                  <a:lnTo>
                    <a:pt x="15" y="49"/>
                  </a:lnTo>
                  <a:lnTo>
                    <a:pt x="25" y="60"/>
                  </a:lnTo>
                  <a:lnTo>
                    <a:pt x="56" y="62"/>
                  </a:lnTo>
                  <a:lnTo>
                    <a:pt x="60" y="18"/>
                  </a:lnTo>
                  <a:lnTo>
                    <a:pt x="65" y="7"/>
                  </a:lnTo>
                  <a:lnTo>
                    <a:pt x="60"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05" name="Freeform 50">
              <a:extLst>
                <a:ext uri="{FF2B5EF4-FFF2-40B4-BE49-F238E27FC236}">
                  <a16:creationId xmlns:a16="http://schemas.microsoft.com/office/drawing/2014/main" id="{F3982481-F83D-4121-9B46-B7694786D20A}"/>
                </a:ext>
              </a:extLst>
            </p:cNvPr>
            <p:cNvSpPr>
              <a:spLocks/>
            </p:cNvSpPr>
            <p:nvPr/>
          </p:nvSpPr>
          <p:spPr bwMode="auto">
            <a:xfrm>
              <a:off x="2203371" y="4591965"/>
              <a:ext cx="323361" cy="732536"/>
            </a:xfrm>
            <a:custGeom>
              <a:avLst/>
              <a:gdLst>
                <a:gd name="T0" fmla="*/ 53 w 243"/>
                <a:gd name="T1" fmla="*/ 0 h 550"/>
                <a:gd name="T2" fmla="*/ 84 w 243"/>
                <a:gd name="T3" fmla="*/ 17 h 550"/>
                <a:gd name="T4" fmla="*/ 110 w 243"/>
                <a:gd name="T5" fmla="*/ 13 h 550"/>
                <a:gd name="T6" fmla="*/ 128 w 243"/>
                <a:gd name="T7" fmla="*/ 26 h 550"/>
                <a:gd name="T8" fmla="*/ 145 w 243"/>
                <a:gd name="T9" fmla="*/ 37 h 550"/>
                <a:gd name="T10" fmla="*/ 170 w 243"/>
                <a:gd name="T11" fmla="*/ 49 h 550"/>
                <a:gd name="T12" fmla="*/ 179 w 243"/>
                <a:gd name="T13" fmla="*/ 57 h 550"/>
                <a:gd name="T14" fmla="*/ 170 w 243"/>
                <a:gd name="T15" fmla="*/ 92 h 550"/>
                <a:gd name="T16" fmla="*/ 216 w 243"/>
                <a:gd name="T17" fmla="*/ 85 h 550"/>
                <a:gd name="T18" fmla="*/ 232 w 243"/>
                <a:gd name="T19" fmla="*/ 67 h 550"/>
                <a:gd name="T20" fmla="*/ 241 w 243"/>
                <a:gd name="T21" fmla="*/ 82 h 550"/>
                <a:gd name="T22" fmla="*/ 231 w 243"/>
                <a:gd name="T23" fmla="*/ 96 h 550"/>
                <a:gd name="T24" fmla="*/ 217 w 243"/>
                <a:gd name="T25" fmla="*/ 108 h 550"/>
                <a:gd name="T26" fmla="*/ 201 w 243"/>
                <a:gd name="T27" fmla="*/ 128 h 550"/>
                <a:gd name="T28" fmla="*/ 188 w 243"/>
                <a:gd name="T29" fmla="*/ 149 h 550"/>
                <a:gd name="T30" fmla="*/ 177 w 243"/>
                <a:gd name="T31" fmla="*/ 179 h 550"/>
                <a:gd name="T32" fmla="*/ 183 w 243"/>
                <a:gd name="T33" fmla="*/ 219 h 550"/>
                <a:gd name="T34" fmla="*/ 189 w 243"/>
                <a:gd name="T35" fmla="*/ 224 h 550"/>
                <a:gd name="T36" fmla="*/ 204 w 243"/>
                <a:gd name="T37" fmla="*/ 228 h 550"/>
                <a:gd name="T38" fmla="*/ 212 w 243"/>
                <a:gd name="T39" fmla="*/ 252 h 550"/>
                <a:gd name="T40" fmla="*/ 201 w 243"/>
                <a:gd name="T41" fmla="*/ 277 h 550"/>
                <a:gd name="T42" fmla="*/ 185 w 243"/>
                <a:gd name="T43" fmla="*/ 289 h 550"/>
                <a:gd name="T44" fmla="*/ 151 w 243"/>
                <a:gd name="T45" fmla="*/ 295 h 550"/>
                <a:gd name="T46" fmla="*/ 138 w 243"/>
                <a:gd name="T47" fmla="*/ 301 h 550"/>
                <a:gd name="T48" fmla="*/ 141 w 243"/>
                <a:gd name="T49" fmla="*/ 336 h 550"/>
                <a:gd name="T50" fmla="*/ 104 w 243"/>
                <a:gd name="T51" fmla="*/ 329 h 550"/>
                <a:gd name="T52" fmla="*/ 112 w 243"/>
                <a:gd name="T53" fmla="*/ 352 h 550"/>
                <a:gd name="T54" fmla="*/ 119 w 243"/>
                <a:gd name="T55" fmla="*/ 374 h 550"/>
                <a:gd name="T56" fmla="*/ 107 w 243"/>
                <a:gd name="T57" fmla="*/ 388 h 550"/>
                <a:gd name="T58" fmla="*/ 93 w 243"/>
                <a:gd name="T59" fmla="*/ 410 h 550"/>
                <a:gd name="T60" fmla="*/ 81 w 243"/>
                <a:gd name="T61" fmla="*/ 421 h 550"/>
                <a:gd name="T62" fmla="*/ 101 w 243"/>
                <a:gd name="T63" fmla="*/ 450 h 550"/>
                <a:gd name="T64" fmla="*/ 101 w 243"/>
                <a:gd name="T65" fmla="*/ 469 h 550"/>
                <a:gd name="T66" fmla="*/ 87 w 243"/>
                <a:gd name="T67" fmla="*/ 483 h 550"/>
                <a:gd name="T68" fmla="*/ 77 w 243"/>
                <a:gd name="T69" fmla="*/ 510 h 550"/>
                <a:gd name="T70" fmla="*/ 70 w 243"/>
                <a:gd name="T71" fmla="*/ 529 h 550"/>
                <a:gd name="T72" fmla="*/ 25 w 243"/>
                <a:gd name="T73" fmla="*/ 549 h 550"/>
                <a:gd name="T74" fmla="*/ 9 w 243"/>
                <a:gd name="T75" fmla="*/ 522 h 550"/>
                <a:gd name="T76" fmla="*/ 15 w 243"/>
                <a:gd name="T77" fmla="*/ 475 h 550"/>
                <a:gd name="T78" fmla="*/ 19 w 243"/>
                <a:gd name="T79" fmla="*/ 402 h 550"/>
                <a:gd name="T80" fmla="*/ 12 w 243"/>
                <a:gd name="T81" fmla="*/ 363 h 550"/>
                <a:gd name="T82" fmla="*/ 2 w 243"/>
                <a:gd name="T83" fmla="*/ 322 h 550"/>
                <a:gd name="T84" fmla="*/ 14 w 243"/>
                <a:gd name="T85" fmla="*/ 297 h 550"/>
                <a:gd name="T86" fmla="*/ 10 w 243"/>
                <a:gd name="T87" fmla="*/ 251 h 550"/>
                <a:gd name="T88" fmla="*/ 10 w 243"/>
                <a:gd name="T89" fmla="*/ 234 h 550"/>
                <a:gd name="T90" fmla="*/ 19 w 243"/>
                <a:gd name="T91" fmla="*/ 209 h 550"/>
                <a:gd name="T92" fmla="*/ 10 w 243"/>
                <a:gd name="T93" fmla="*/ 190 h 550"/>
                <a:gd name="T94" fmla="*/ 16 w 243"/>
                <a:gd name="T95" fmla="*/ 160 h 550"/>
                <a:gd name="T96" fmla="*/ 11 w 243"/>
                <a:gd name="T97" fmla="*/ 123 h 550"/>
                <a:gd name="T98" fmla="*/ 19 w 243"/>
                <a:gd name="T99" fmla="*/ 100 h 550"/>
                <a:gd name="T100" fmla="*/ 32 w 243"/>
                <a:gd name="T101" fmla="*/ 80 h 550"/>
                <a:gd name="T102" fmla="*/ 33 w 243"/>
                <a:gd name="T103" fmla="*/ 59 h 550"/>
                <a:gd name="T104" fmla="*/ 42 w 243"/>
                <a:gd name="T105" fmla="*/ 3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3" h="550">
                  <a:moveTo>
                    <a:pt x="44" y="19"/>
                  </a:moveTo>
                  <a:lnTo>
                    <a:pt x="53" y="0"/>
                  </a:lnTo>
                  <a:lnTo>
                    <a:pt x="67" y="11"/>
                  </a:lnTo>
                  <a:lnTo>
                    <a:pt x="84" y="17"/>
                  </a:lnTo>
                  <a:lnTo>
                    <a:pt x="101" y="3"/>
                  </a:lnTo>
                  <a:lnTo>
                    <a:pt x="110" y="13"/>
                  </a:lnTo>
                  <a:lnTo>
                    <a:pt x="124" y="19"/>
                  </a:lnTo>
                  <a:lnTo>
                    <a:pt x="128" y="26"/>
                  </a:lnTo>
                  <a:lnTo>
                    <a:pt x="137" y="30"/>
                  </a:lnTo>
                  <a:lnTo>
                    <a:pt x="145" y="37"/>
                  </a:lnTo>
                  <a:lnTo>
                    <a:pt x="149" y="47"/>
                  </a:lnTo>
                  <a:lnTo>
                    <a:pt x="170" y="49"/>
                  </a:lnTo>
                  <a:lnTo>
                    <a:pt x="174" y="52"/>
                  </a:lnTo>
                  <a:lnTo>
                    <a:pt x="179" y="57"/>
                  </a:lnTo>
                  <a:lnTo>
                    <a:pt x="173" y="78"/>
                  </a:lnTo>
                  <a:lnTo>
                    <a:pt x="170" y="92"/>
                  </a:lnTo>
                  <a:lnTo>
                    <a:pt x="215" y="92"/>
                  </a:lnTo>
                  <a:lnTo>
                    <a:pt x="216" y="85"/>
                  </a:lnTo>
                  <a:lnTo>
                    <a:pt x="225" y="79"/>
                  </a:lnTo>
                  <a:lnTo>
                    <a:pt x="232" y="67"/>
                  </a:lnTo>
                  <a:lnTo>
                    <a:pt x="234" y="82"/>
                  </a:lnTo>
                  <a:lnTo>
                    <a:pt x="241" y="82"/>
                  </a:lnTo>
                  <a:lnTo>
                    <a:pt x="242" y="94"/>
                  </a:lnTo>
                  <a:lnTo>
                    <a:pt x="231" y="96"/>
                  </a:lnTo>
                  <a:lnTo>
                    <a:pt x="223" y="106"/>
                  </a:lnTo>
                  <a:lnTo>
                    <a:pt x="217" y="108"/>
                  </a:lnTo>
                  <a:lnTo>
                    <a:pt x="209" y="119"/>
                  </a:lnTo>
                  <a:lnTo>
                    <a:pt x="201" y="128"/>
                  </a:lnTo>
                  <a:lnTo>
                    <a:pt x="195" y="139"/>
                  </a:lnTo>
                  <a:lnTo>
                    <a:pt x="188" y="149"/>
                  </a:lnTo>
                  <a:lnTo>
                    <a:pt x="179" y="163"/>
                  </a:lnTo>
                  <a:lnTo>
                    <a:pt x="177" y="179"/>
                  </a:lnTo>
                  <a:lnTo>
                    <a:pt x="179" y="202"/>
                  </a:lnTo>
                  <a:lnTo>
                    <a:pt x="183" y="219"/>
                  </a:lnTo>
                  <a:lnTo>
                    <a:pt x="189" y="216"/>
                  </a:lnTo>
                  <a:lnTo>
                    <a:pt x="189" y="224"/>
                  </a:lnTo>
                  <a:lnTo>
                    <a:pt x="195" y="227"/>
                  </a:lnTo>
                  <a:lnTo>
                    <a:pt x="204" y="228"/>
                  </a:lnTo>
                  <a:lnTo>
                    <a:pt x="204" y="249"/>
                  </a:lnTo>
                  <a:lnTo>
                    <a:pt x="212" y="252"/>
                  </a:lnTo>
                  <a:lnTo>
                    <a:pt x="210" y="271"/>
                  </a:lnTo>
                  <a:lnTo>
                    <a:pt x="201" y="277"/>
                  </a:lnTo>
                  <a:lnTo>
                    <a:pt x="189" y="279"/>
                  </a:lnTo>
                  <a:lnTo>
                    <a:pt x="185" y="289"/>
                  </a:lnTo>
                  <a:lnTo>
                    <a:pt x="178" y="290"/>
                  </a:lnTo>
                  <a:lnTo>
                    <a:pt x="151" y="295"/>
                  </a:lnTo>
                  <a:lnTo>
                    <a:pt x="141" y="296"/>
                  </a:lnTo>
                  <a:lnTo>
                    <a:pt x="138" y="301"/>
                  </a:lnTo>
                  <a:lnTo>
                    <a:pt x="141" y="316"/>
                  </a:lnTo>
                  <a:lnTo>
                    <a:pt x="141" y="336"/>
                  </a:lnTo>
                  <a:lnTo>
                    <a:pt x="127" y="341"/>
                  </a:lnTo>
                  <a:lnTo>
                    <a:pt x="104" y="329"/>
                  </a:lnTo>
                  <a:lnTo>
                    <a:pt x="101" y="344"/>
                  </a:lnTo>
                  <a:lnTo>
                    <a:pt x="112" y="352"/>
                  </a:lnTo>
                  <a:lnTo>
                    <a:pt x="116" y="362"/>
                  </a:lnTo>
                  <a:lnTo>
                    <a:pt x="119" y="374"/>
                  </a:lnTo>
                  <a:lnTo>
                    <a:pt x="113" y="380"/>
                  </a:lnTo>
                  <a:lnTo>
                    <a:pt x="107" y="388"/>
                  </a:lnTo>
                  <a:lnTo>
                    <a:pt x="101" y="407"/>
                  </a:lnTo>
                  <a:lnTo>
                    <a:pt x="93" y="410"/>
                  </a:lnTo>
                  <a:lnTo>
                    <a:pt x="91" y="418"/>
                  </a:lnTo>
                  <a:lnTo>
                    <a:pt x="81" y="421"/>
                  </a:lnTo>
                  <a:lnTo>
                    <a:pt x="79" y="441"/>
                  </a:lnTo>
                  <a:lnTo>
                    <a:pt x="101" y="450"/>
                  </a:lnTo>
                  <a:lnTo>
                    <a:pt x="101" y="460"/>
                  </a:lnTo>
                  <a:lnTo>
                    <a:pt x="101" y="469"/>
                  </a:lnTo>
                  <a:lnTo>
                    <a:pt x="93" y="475"/>
                  </a:lnTo>
                  <a:lnTo>
                    <a:pt x="87" y="483"/>
                  </a:lnTo>
                  <a:lnTo>
                    <a:pt x="88" y="507"/>
                  </a:lnTo>
                  <a:lnTo>
                    <a:pt x="77" y="510"/>
                  </a:lnTo>
                  <a:lnTo>
                    <a:pt x="69" y="516"/>
                  </a:lnTo>
                  <a:lnTo>
                    <a:pt x="70" y="529"/>
                  </a:lnTo>
                  <a:lnTo>
                    <a:pt x="69" y="547"/>
                  </a:lnTo>
                  <a:lnTo>
                    <a:pt x="25" y="549"/>
                  </a:lnTo>
                  <a:lnTo>
                    <a:pt x="22" y="529"/>
                  </a:lnTo>
                  <a:lnTo>
                    <a:pt x="9" y="522"/>
                  </a:lnTo>
                  <a:lnTo>
                    <a:pt x="7" y="477"/>
                  </a:lnTo>
                  <a:lnTo>
                    <a:pt x="15" y="475"/>
                  </a:lnTo>
                  <a:lnTo>
                    <a:pt x="18" y="463"/>
                  </a:lnTo>
                  <a:lnTo>
                    <a:pt x="19" y="402"/>
                  </a:lnTo>
                  <a:lnTo>
                    <a:pt x="13" y="386"/>
                  </a:lnTo>
                  <a:lnTo>
                    <a:pt x="12" y="363"/>
                  </a:lnTo>
                  <a:lnTo>
                    <a:pt x="8" y="336"/>
                  </a:lnTo>
                  <a:lnTo>
                    <a:pt x="2" y="322"/>
                  </a:lnTo>
                  <a:lnTo>
                    <a:pt x="3" y="310"/>
                  </a:lnTo>
                  <a:lnTo>
                    <a:pt x="14" y="297"/>
                  </a:lnTo>
                  <a:lnTo>
                    <a:pt x="0" y="268"/>
                  </a:lnTo>
                  <a:lnTo>
                    <a:pt x="10" y="251"/>
                  </a:lnTo>
                  <a:lnTo>
                    <a:pt x="17" y="241"/>
                  </a:lnTo>
                  <a:lnTo>
                    <a:pt x="10" y="234"/>
                  </a:lnTo>
                  <a:lnTo>
                    <a:pt x="10" y="212"/>
                  </a:lnTo>
                  <a:lnTo>
                    <a:pt x="19" y="209"/>
                  </a:lnTo>
                  <a:lnTo>
                    <a:pt x="17" y="192"/>
                  </a:lnTo>
                  <a:lnTo>
                    <a:pt x="10" y="190"/>
                  </a:lnTo>
                  <a:lnTo>
                    <a:pt x="9" y="165"/>
                  </a:lnTo>
                  <a:lnTo>
                    <a:pt x="16" y="160"/>
                  </a:lnTo>
                  <a:lnTo>
                    <a:pt x="14" y="147"/>
                  </a:lnTo>
                  <a:lnTo>
                    <a:pt x="11" y="123"/>
                  </a:lnTo>
                  <a:lnTo>
                    <a:pt x="17" y="114"/>
                  </a:lnTo>
                  <a:lnTo>
                    <a:pt x="19" y="100"/>
                  </a:lnTo>
                  <a:lnTo>
                    <a:pt x="28" y="93"/>
                  </a:lnTo>
                  <a:lnTo>
                    <a:pt x="32" y="80"/>
                  </a:lnTo>
                  <a:lnTo>
                    <a:pt x="25" y="69"/>
                  </a:lnTo>
                  <a:lnTo>
                    <a:pt x="33" y="59"/>
                  </a:lnTo>
                  <a:lnTo>
                    <a:pt x="34" y="40"/>
                  </a:lnTo>
                  <a:lnTo>
                    <a:pt x="42" y="37"/>
                  </a:lnTo>
                  <a:lnTo>
                    <a:pt x="44" y="1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06" name="Freeform 51">
              <a:extLst>
                <a:ext uri="{FF2B5EF4-FFF2-40B4-BE49-F238E27FC236}">
                  <a16:creationId xmlns:a16="http://schemas.microsoft.com/office/drawing/2014/main" id="{FCD84030-BB5E-406B-B0BD-78E0268BC0A0}"/>
                </a:ext>
              </a:extLst>
            </p:cNvPr>
            <p:cNvSpPr>
              <a:spLocks/>
            </p:cNvSpPr>
            <p:nvPr/>
          </p:nvSpPr>
          <p:spPr bwMode="auto">
            <a:xfrm>
              <a:off x="2337709" y="4525370"/>
              <a:ext cx="174758" cy="191458"/>
            </a:xfrm>
            <a:custGeom>
              <a:avLst/>
              <a:gdLst>
                <a:gd name="T0" fmla="*/ 23 w 132"/>
                <a:gd name="T1" fmla="*/ 68 h 142"/>
                <a:gd name="T2" fmla="*/ 27 w 132"/>
                <a:gd name="T3" fmla="*/ 75 h 142"/>
                <a:gd name="T4" fmla="*/ 36 w 132"/>
                <a:gd name="T5" fmla="*/ 79 h 142"/>
                <a:gd name="T6" fmla="*/ 44 w 132"/>
                <a:gd name="T7" fmla="*/ 86 h 142"/>
                <a:gd name="T8" fmla="*/ 48 w 132"/>
                <a:gd name="T9" fmla="*/ 95 h 142"/>
                <a:gd name="T10" fmla="*/ 69 w 132"/>
                <a:gd name="T11" fmla="*/ 98 h 142"/>
                <a:gd name="T12" fmla="*/ 74 w 132"/>
                <a:gd name="T13" fmla="*/ 100 h 142"/>
                <a:gd name="T14" fmla="*/ 78 w 132"/>
                <a:gd name="T15" fmla="*/ 106 h 142"/>
                <a:gd name="T16" fmla="*/ 73 w 132"/>
                <a:gd name="T17" fmla="*/ 127 h 142"/>
                <a:gd name="T18" fmla="*/ 69 w 132"/>
                <a:gd name="T19" fmla="*/ 140 h 142"/>
                <a:gd name="T20" fmla="*/ 114 w 132"/>
                <a:gd name="T21" fmla="*/ 141 h 142"/>
                <a:gd name="T22" fmla="*/ 115 w 132"/>
                <a:gd name="T23" fmla="*/ 133 h 142"/>
                <a:gd name="T24" fmla="*/ 124 w 132"/>
                <a:gd name="T25" fmla="*/ 127 h 142"/>
                <a:gd name="T26" fmla="*/ 131 w 132"/>
                <a:gd name="T27" fmla="*/ 116 h 142"/>
                <a:gd name="T28" fmla="*/ 128 w 132"/>
                <a:gd name="T29" fmla="*/ 112 h 142"/>
                <a:gd name="T30" fmla="*/ 126 w 132"/>
                <a:gd name="T31" fmla="*/ 75 h 142"/>
                <a:gd name="T32" fmla="*/ 114 w 132"/>
                <a:gd name="T33" fmla="*/ 74 h 142"/>
                <a:gd name="T34" fmla="*/ 112 w 132"/>
                <a:gd name="T35" fmla="*/ 57 h 142"/>
                <a:gd name="T36" fmla="*/ 99 w 132"/>
                <a:gd name="T37" fmla="*/ 57 h 142"/>
                <a:gd name="T38" fmla="*/ 91 w 132"/>
                <a:gd name="T39" fmla="*/ 53 h 142"/>
                <a:gd name="T40" fmla="*/ 88 w 132"/>
                <a:gd name="T41" fmla="*/ 46 h 142"/>
                <a:gd name="T42" fmla="*/ 74 w 132"/>
                <a:gd name="T43" fmla="*/ 43 h 142"/>
                <a:gd name="T44" fmla="*/ 74 w 132"/>
                <a:gd name="T45" fmla="*/ 31 h 142"/>
                <a:gd name="T46" fmla="*/ 63 w 132"/>
                <a:gd name="T47" fmla="*/ 28 h 142"/>
                <a:gd name="T48" fmla="*/ 62 w 132"/>
                <a:gd name="T49" fmla="*/ 17 h 142"/>
                <a:gd name="T50" fmla="*/ 55 w 132"/>
                <a:gd name="T51" fmla="*/ 6 h 142"/>
                <a:gd name="T52" fmla="*/ 38 w 132"/>
                <a:gd name="T53" fmla="*/ 0 h 142"/>
                <a:gd name="T54" fmla="*/ 27 w 132"/>
                <a:gd name="T55" fmla="*/ 8 h 142"/>
                <a:gd name="T56" fmla="*/ 11 w 132"/>
                <a:gd name="T57" fmla="*/ 15 h 142"/>
                <a:gd name="T58" fmla="*/ 6 w 132"/>
                <a:gd name="T59" fmla="*/ 28 h 142"/>
                <a:gd name="T60" fmla="*/ 0 w 132"/>
                <a:gd name="T61" fmla="*/ 52 h 142"/>
                <a:gd name="T62" fmla="*/ 9 w 132"/>
                <a:gd name="T63" fmla="*/ 62 h 142"/>
                <a:gd name="T64" fmla="*/ 23 w 132"/>
                <a:gd name="T65" fmla="*/ 6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2" h="142">
                  <a:moveTo>
                    <a:pt x="23" y="68"/>
                  </a:moveTo>
                  <a:lnTo>
                    <a:pt x="27" y="75"/>
                  </a:lnTo>
                  <a:lnTo>
                    <a:pt x="36" y="79"/>
                  </a:lnTo>
                  <a:lnTo>
                    <a:pt x="44" y="86"/>
                  </a:lnTo>
                  <a:lnTo>
                    <a:pt x="48" y="95"/>
                  </a:lnTo>
                  <a:lnTo>
                    <a:pt x="69" y="98"/>
                  </a:lnTo>
                  <a:lnTo>
                    <a:pt x="74" y="100"/>
                  </a:lnTo>
                  <a:lnTo>
                    <a:pt x="78" y="106"/>
                  </a:lnTo>
                  <a:lnTo>
                    <a:pt x="73" y="127"/>
                  </a:lnTo>
                  <a:lnTo>
                    <a:pt x="69" y="140"/>
                  </a:lnTo>
                  <a:lnTo>
                    <a:pt x="114" y="141"/>
                  </a:lnTo>
                  <a:lnTo>
                    <a:pt x="115" y="133"/>
                  </a:lnTo>
                  <a:lnTo>
                    <a:pt x="124" y="127"/>
                  </a:lnTo>
                  <a:lnTo>
                    <a:pt x="131" y="116"/>
                  </a:lnTo>
                  <a:lnTo>
                    <a:pt x="128" y="112"/>
                  </a:lnTo>
                  <a:lnTo>
                    <a:pt x="126" y="75"/>
                  </a:lnTo>
                  <a:lnTo>
                    <a:pt x="114" y="74"/>
                  </a:lnTo>
                  <a:lnTo>
                    <a:pt x="112" y="57"/>
                  </a:lnTo>
                  <a:lnTo>
                    <a:pt x="99" y="57"/>
                  </a:lnTo>
                  <a:lnTo>
                    <a:pt x="91" y="53"/>
                  </a:lnTo>
                  <a:lnTo>
                    <a:pt x="88" y="46"/>
                  </a:lnTo>
                  <a:lnTo>
                    <a:pt x="74" y="43"/>
                  </a:lnTo>
                  <a:lnTo>
                    <a:pt x="74" y="31"/>
                  </a:lnTo>
                  <a:lnTo>
                    <a:pt x="63" y="28"/>
                  </a:lnTo>
                  <a:lnTo>
                    <a:pt x="62" y="17"/>
                  </a:lnTo>
                  <a:lnTo>
                    <a:pt x="55" y="6"/>
                  </a:lnTo>
                  <a:lnTo>
                    <a:pt x="38" y="0"/>
                  </a:lnTo>
                  <a:lnTo>
                    <a:pt x="27" y="8"/>
                  </a:lnTo>
                  <a:lnTo>
                    <a:pt x="11" y="15"/>
                  </a:lnTo>
                  <a:lnTo>
                    <a:pt x="6" y="28"/>
                  </a:lnTo>
                  <a:lnTo>
                    <a:pt x="0" y="52"/>
                  </a:lnTo>
                  <a:lnTo>
                    <a:pt x="9" y="62"/>
                  </a:lnTo>
                  <a:lnTo>
                    <a:pt x="23" y="68"/>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07" name="Freeform 52">
              <a:extLst>
                <a:ext uri="{FF2B5EF4-FFF2-40B4-BE49-F238E27FC236}">
                  <a16:creationId xmlns:a16="http://schemas.microsoft.com/office/drawing/2014/main" id="{7C985BEA-4297-45B2-8855-7B64C0F33A4F}"/>
                </a:ext>
              </a:extLst>
            </p:cNvPr>
            <p:cNvSpPr>
              <a:spLocks/>
            </p:cNvSpPr>
            <p:nvPr/>
          </p:nvSpPr>
          <p:spPr bwMode="auto">
            <a:xfrm>
              <a:off x="2041691" y="3688186"/>
              <a:ext cx="46364" cy="24973"/>
            </a:xfrm>
            <a:custGeom>
              <a:avLst/>
              <a:gdLst>
                <a:gd name="T0" fmla="*/ 8 w 34"/>
                <a:gd name="T1" fmla="*/ 0 h 18"/>
                <a:gd name="T2" fmla="*/ 19 w 34"/>
                <a:gd name="T3" fmla="*/ 0 h 18"/>
                <a:gd name="T4" fmla="*/ 33 w 34"/>
                <a:gd name="T5" fmla="*/ 6 h 18"/>
                <a:gd name="T6" fmla="*/ 29 w 34"/>
                <a:gd name="T7" fmla="*/ 16 h 18"/>
                <a:gd name="T8" fmla="*/ 11 w 34"/>
                <a:gd name="T9" fmla="*/ 17 h 18"/>
                <a:gd name="T10" fmla="*/ 0 w 34"/>
                <a:gd name="T11" fmla="*/ 9 h 18"/>
                <a:gd name="T12" fmla="*/ 8 w 3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8" y="0"/>
                  </a:moveTo>
                  <a:lnTo>
                    <a:pt x="19" y="0"/>
                  </a:lnTo>
                  <a:lnTo>
                    <a:pt x="33" y="6"/>
                  </a:lnTo>
                  <a:lnTo>
                    <a:pt x="29" y="16"/>
                  </a:lnTo>
                  <a:lnTo>
                    <a:pt x="11" y="17"/>
                  </a:lnTo>
                  <a:lnTo>
                    <a:pt x="0" y="9"/>
                  </a:lnTo>
                  <a:lnTo>
                    <a:pt x="8"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08" name="Freeform 53">
              <a:extLst>
                <a:ext uri="{FF2B5EF4-FFF2-40B4-BE49-F238E27FC236}">
                  <a16:creationId xmlns:a16="http://schemas.microsoft.com/office/drawing/2014/main" id="{67E19CB1-1121-412A-AD02-B49478A55BE9}"/>
                </a:ext>
              </a:extLst>
            </p:cNvPr>
            <p:cNvSpPr>
              <a:spLocks/>
            </p:cNvSpPr>
            <p:nvPr/>
          </p:nvSpPr>
          <p:spPr bwMode="auto">
            <a:xfrm>
              <a:off x="2164140" y="3656078"/>
              <a:ext cx="77274" cy="53513"/>
            </a:xfrm>
            <a:custGeom>
              <a:avLst/>
              <a:gdLst>
                <a:gd name="T0" fmla="*/ 0 w 57"/>
                <a:gd name="T1" fmla="*/ 40 h 41"/>
                <a:gd name="T2" fmla="*/ 5 w 57"/>
                <a:gd name="T3" fmla="*/ 29 h 41"/>
                <a:gd name="T4" fmla="*/ 5 w 57"/>
                <a:gd name="T5" fmla="*/ 8 h 41"/>
                <a:gd name="T6" fmla="*/ 5 w 57"/>
                <a:gd name="T7" fmla="*/ 0 h 41"/>
                <a:gd name="T8" fmla="*/ 18 w 57"/>
                <a:gd name="T9" fmla="*/ 2 h 41"/>
                <a:gd name="T10" fmla="*/ 23 w 57"/>
                <a:gd name="T11" fmla="*/ 9 h 41"/>
                <a:gd name="T12" fmla="*/ 29 w 57"/>
                <a:gd name="T13" fmla="*/ 11 h 41"/>
                <a:gd name="T14" fmla="*/ 36 w 57"/>
                <a:gd name="T15" fmla="*/ 11 h 41"/>
                <a:gd name="T16" fmla="*/ 39 w 57"/>
                <a:gd name="T17" fmla="*/ 20 h 41"/>
                <a:gd name="T18" fmla="*/ 47 w 57"/>
                <a:gd name="T19" fmla="*/ 24 h 41"/>
                <a:gd name="T20" fmla="*/ 56 w 57"/>
                <a:gd name="T21" fmla="*/ 31 h 41"/>
                <a:gd name="T22" fmla="*/ 53 w 57"/>
                <a:gd name="T23" fmla="*/ 37 h 41"/>
                <a:gd name="T24" fmla="*/ 40 w 57"/>
                <a:gd name="T25" fmla="*/ 38 h 41"/>
                <a:gd name="T26" fmla="*/ 18 w 57"/>
                <a:gd name="T27" fmla="*/ 37 h 41"/>
                <a:gd name="T28" fmla="*/ 0 w 57"/>
                <a:gd name="T29"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41">
                  <a:moveTo>
                    <a:pt x="0" y="40"/>
                  </a:moveTo>
                  <a:lnTo>
                    <a:pt x="5" y="29"/>
                  </a:lnTo>
                  <a:lnTo>
                    <a:pt x="5" y="8"/>
                  </a:lnTo>
                  <a:lnTo>
                    <a:pt x="5" y="0"/>
                  </a:lnTo>
                  <a:lnTo>
                    <a:pt x="18" y="2"/>
                  </a:lnTo>
                  <a:lnTo>
                    <a:pt x="23" y="9"/>
                  </a:lnTo>
                  <a:lnTo>
                    <a:pt x="29" y="11"/>
                  </a:lnTo>
                  <a:lnTo>
                    <a:pt x="36" y="11"/>
                  </a:lnTo>
                  <a:lnTo>
                    <a:pt x="39" y="20"/>
                  </a:lnTo>
                  <a:lnTo>
                    <a:pt x="47" y="24"/>
                  </a:lnTo>
                  <a:lnTo>
                    <a:pt x="56" y="31"/>
                  </a:lnTo>
                  <a:lnTo>
                    <a:pt x="53" y="37"/>
                  </a:lnTo>
                  <a:lnTo>
                    <a:pt x="40" y="38"/>
                  </a:lnTo>
                  <a:lnTo>
                    <a:pt x="18" y="37"/>
                  </a:lnTo>
                  <a:lnTo>
                    <a:pt x="0" y="4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09" name="Freeform 54">
              <a:extLst>
                <a:ext uri="{FF2B5EF4-FFF2-40B4-BE49-F238E27FC236}">
                  <a16:creationId xmlns:a16="http://schemas.microsoft.com/office/drawing/2014/main" id="{9B5ADDFF-F877-4405-A4D3-ECEDD45EE2DE}"/>
                </a:ext>
              </a:extLst>
            </p:cNvPr>
            <p:cNvSpPr>
              <a:spLocks/>
            </p:cNvSpPr>
            <p:nvPr/>
          </p:nvSpPr>
          <p:spPr bwMode="auto">
            <a:xfrm>
              <a:off x="2254491" y="3691754"/>
              <a:ext cx="30909" cy="21405"/>
            </a:xfrm>
            <a:custGeom>
              <a:avLst/>
              <a:gdLst>
                <a:gd name="T0" fmla="*/ 8 w 23"/>
                <a:gd name="T1" fmla="*/ 2 h 16"/>
                <a:gd name="T2" fmla="*/ 0 w 23"/>
                <a:gd name="T3" fmla="*/ 7 h 16"/>
                <a:gd name="T4" fmla="*/ 6 w 23"/>
                <a:gd name="T5" fmla="*/ 11 h 16"/>
                <a:gd name="T6" fmla="*/ 14 w 23"/>
                <a:gd name="T7" fmla="*/ 15 h 16"/>
                <a:gd name="T8" fmla="*/ 22 w 23"/>
                <a:gd name="T9" fmla="*/ 11 h 16"/>
                <a:gd name="T10" fmla="*/ 22 w 23"/>
                <a:gd name="T11" fmla="*/ 0 h 16"/>
                <a:gd name="T12" fmla="*/ 8 w 23"/>
                <a:gd name="T13" fmla="*/ 2 h 16"/>
              </a:gdLst>
              <a:ahLst/>
              <a:cxnLst>
                <a:cxn ang="0">
                  <a:pos x="T0" y="T1"/>
                </a:cxn>
                <a:cxn ang="0">
                  <a:pos x="T2" y="T3"/>
                </a:cxn>
                <a:cxn ang="0">
                  <a:pos x="T4" y="T5"/>
                </a:cxn>
                <a:cxn ang="0">
                  <a:pos x="T6" y="T7"/>
                </a:cxn>
                <a:cxn ang="0">
                  <a:pos x="T8" y="T9"/>
                </a:cxn>
                <a:cxn ang="0">
                  <a:pos x="T10" y="T11"/>
                </a:cxn>
                <a:cxn ang="0">
                  <a:pos x="T12" y="T13"/>
                </a:cxn>
              </a:cxnLst>
              <a:rect l="0" t="0" r="r" b="b"/>
              <a:pathLst>
                <a:path w="23" h="16">
                  <a:moveTo>
                    <a:pt x="8" y="2"/>
                  </a:moveTo>
                  <a:lnTo>
                    <a:pt x="0" y="7"/>
                  </a:lnTo>
                  <a:lnTo>
                    <a:pt x="6" y="11"/>
                  </a:lnTo>
                  <a:lnTo>
                    <a:pt x="14" y="15"/>
                  </a:lnTo>
                  <a:lnTo>
                    <a:pt x="22" y="11"/>
                  </a:lnTo>
                  <a:lnTo>
                    <a:pt x="22" y="0"/>
                  </a:lnTo>
                  <a:lnTo>
                    <a:pt x="8" y="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10" name="Freeform 55">
              <a:extLst>
                <a:ext uri="{FF2B5EF4-FFF2-40B4-BE49-F238E27FC236}">
                  <a16:creationId xmlns:a16="http://schemas.microsoft.com/office/drawing/2014/main" id="{679EE471-5F1C-45F1-BDE6-8D93CD74F7AF}"/>
                </a:ext>
              </a:extLst>
            </p:cNvPr>
            <p:cNvSpPr>
              <a:spLocks/>
            </p:cNvSpPr>
            <p:nvPr/>
          </p:nvSpPr>
          <p:spPr bwMode="auto">
            <a:xfrm>
              <a:off x="1773016" y="3713159"/>
              <a:ext cx="66574" cy="84432"/>
            </a:xfrm>
            <a:custGeom>
              <a:avLst/>
              <a:gdLst>
                <a:gd name="T0" fmla="*/ 0 w 50"/>
                <a:gd name="T1" fmla="*/ 49 h 63"/>
                <a:gd name="T2" fmla="*/ 6 w 50"/>
                <a:gd name="T3" fmla="*/ 31 h 63"/>
                <a:gd name="T4" fmla="*/ 19 w 50"/>
                <a:gd name="T5" fmla="*/ 28 h 63"/>
                <a:gd name="T6" fmla="*/ 21 w 50"/>
                <a:gd name="T7" fmla="*/ 9 h 63"/>
                <a:gd name="T8" fmla="*/ 43 w 50"/>
                <a:gd name="T9" fmla="*/ 0 h 63"/>
                <a:gd name="T10" fmla="*/ 41 w 50"/>
                <a:gd name="T11" fmla="*/ 20 h 63"/>
                <a:gd name="T12" fmla="*/ 41 w 50"/>
                <a:gd name="T13" fmla="*/ 34 h 63"/>
                <a:gd name="T14" fmla="*/ 49 w 50"/>
                <a:gd name="T15" fmla="*/ 35 h 63"/>
                <a:gd name="T16" fmla="*/ 47 w 50"/>
                <a:gd name="T17" fmla="*/ 48 h 63"/>
                <a:gd name="T18" fmla="*/ 37 w 50"/>
                <a:gd name="T19" fmla="*/ 48 h 63"/>
                <a:gd name="T20" fmla="*/ 34 w 50"/>
                <a:gd name="T21" fmla="*/ 62 h 63"/>
                <a:gd name="T22" fmla="*/ 14 w 50"/>
                <a:gd name="T23" fmla="*/ 61 h 63"/>
                <a:gd name="T24" fmla="*/ 0 w 50"/>
                <a:gd name="T25" fmla="*/ 4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63">
                  <a:moveTo>
                    <a:pt x="0" y="49"/>
                  </a:moveTo>
                  <a:lnTo>
                    <a:pt x="6" y="31"/>
                  </a:lnTo>
                  <a:lnTo>
                    <a:pt x="19" y="28"/>
                  </a:lnTo>
                  <a:lnTo>
                    <a:pt x="21" y="9"/>
                  </a:lnTo>
                  <a:lnTo>
                    <a:pt x="43" y="0"/>
                  </a:lnTo>
                  <a:lnTo>
                    <a:pt x="41" y="20"/>
                  </a:lnTo>
                  <a:lnTo>
                    <a:pt x="41" y="34"/>
                  </a:lnTo>
                  <a:lnTo>
                    <a:pt x="49" y="35"/>
                  </a:lnTo>
                  <a:lnTo>
                    <a:pt x="47" y="48"/>
                  </a:lnTo>
                  <a:lnTo>
                    <a:pt x="37" y="48"/>
                  </a:lnTo>
                  <a:lnTo>
                    <a:pt x="34" y="62"/>
                  </a:lnTo>
                  <a:lnTo>
                    <a:pt x="14" y="61"/>
                  </a:lnTo>
                  <a:lnTo>
                    <a:pt x="0" y="4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11" name="Freeform 56">
              <a:extLst>
                <a:ext uri="{FF2B5EF4-FFF2-40B4-BE49-F238E27FC236}">
                  <a16:creationId xmlns:a16="http://schemas.microsoft.com/office/drawing/2014/main" id="{D4196802-7FB4-4475-80E5-A2052E5DC873}"/>
                </a:ext>
              </a:extLst>
            </p:cNvPr>
            <p:cNvSpPr>
              <a:spLocks/>
            </p:cNvSpPr>
            <p:nvPr/>
          </p:nvSpPr>
          <p:spPr bwMode="auto">
            <a:xfrm>
              <a:off x="1977494" y="4142454"/>
              <a:ext cx="246087" cy="365079"/>
            </a:xfrm>
            <a:custGeom>
              <a:avLst/>
              <a:gdLst>
                <a:gd name="T0" fmla="*/ 149 w 185"/>
                <a:gd name="T1" fmla="*/ 12 h 274"/>
                <a:gd name="T2" fmla="*/ 136 w 185"/>
                <a:gd name="T3" fmla="*/ 3 h 274"/>
                <a:gd name="T4" fmla="*/ 111 w 185"/>
                <a:gd name="T5" fmla="*/ 0 h 274"/>
                <a:gd name="T6" fmla="*/ 103 w 185"/>
                <a:gd name="T7" fmla="*/ 10 h 274"/>
                <a:gd name="T8" fmla="*/ 62 w 185"/>
                <a:gd name="T9" fmla="*/ 29 h 274"/>
                <a:gd name="T10" fmla="*/ 42 w 185"/>
                <a:gd name="T11" fmla="*/ 43 h 274"/>
                <a:gd name="T12" fmla="*/ 28 w 185"/>
                <a:gd name="T13" fmla="*/ 54 h 274"/>
                <a:gd name="T14" fmla="*/ 17 w 185"/>
                <a:gd name="T15" fmla="*/ 43 h 274"/>
                <a:gd name="T16" fmla="*/ 14 w 185"/>
                <a:gd name="T17" fmla="*/ 31 h 274"/>
                <a:gd name="T18" fmla="*/ 6 w 185"/>
                <a:gd name="T19" fmla="*/ 31 h 274"/>
                <a:gd name="T20" fmla="*/ 0 w 185"/>
                <a:gd name="T21" fmla="*/ 37 h 274"/>
                <a:gd name="T22" fmla="*/ 0 w 185"/>
                <a:gd name="T23" fmla="*/ 71 h 274"/>
                <a:gd name="T24" fmla="*/ 15 w 185"/>
                <a:gd name="T25" fmla="*/ 71 h 274"/>
                <a:gd name="T26" fmla="*/ 21 w 185"/>
                <a:gd name="T27" fmla="*/ 94 h 274"/>
                <a:gd name="T28" fmla="*/ 29 w 185"/>
                <a:gd name="T29" fmla="*/ 100 h 274"/>
                <a:gd name="T30" fmla="*/ 31 w 185"/>
                <a:gd name="T31" fmla="*/ 114 h 274"/>
                <a:gd name="T32" fmla="*/ 36 w 185"/>
                <a:gd name="T33" fmla="*/ 127 h 274"/>
                <a:gd name="T34" fmla="*/ 45 w 185"/>
                <a:gd name="T35" fmla="*/ 132 h 274"/>
                <a:gd name="T36" fmla="*/ 47 w 185"/>
                <a:gd name="T37" fmla="*/ 147 h 274"/>
                <a:gd name="T38" fmla="*/ 51 w 185"/>
                <a:gd name="T39" fmla="*/ 151 h 274"/>
                <a:gd name="T40" fmla="*/ 57 w 185"/>
                <a:gd name="T41" fmla="*/ 159 h 274"/>
                <a:gd name="T42" fmla="*/ 61 w 185"/>
                <a:gd name="T43" fmla="*/ 173 h 274"/>
                <a:gd name="T44" fmla="*/ 68 w 185"/>
                <a:gd name="T45" fmla="*/ 187 h 274"/>
                <a:gd name="T46" fmla="*/ 75 w 185"/>
                <a:gd name="T47" fmla="*/ 193 h 274"/>
                <a:gd name="T48" fmla="*/ 71 w 185"/>
                <a:gd name="T49" fmla="*/ 199 h 274"/>
                <a:gd name="T50" fmla="*/ 76 w 185"/>
                <a:gd name="T51" fmla="*/ 212 h 274"/>
                <a:gd name="T52" fmla="*/ 91 w 185"/>
                <a:gd name="T53" fmla="*/ 221 h 274"/>
                <a:gd name="T54" fmla="*/ 105 w 185"/>
                <a:gd name="T55" fmla="*/ 239 h 274"/>
                <a:gd name="T56" fmla="*/ 127 w 185"/>
                <a:gd name="T57" fmla="*/ 247 h 274"/>
                <a:gd name="T58" fmla="*/ 147 w 185"/>
                <a:gd name="T59" fmla="*/ 263 h 274"/>
                <a:gd name="T60" fmla="*/ 159 w 185"/>
                <a:gd name="T61" fmla="*/ 273 h 274"/>
                <a:gd name="T62" fmla="*/ 170 w 185"/>
                <a:gd name="T63" fmla="*/ 263 h 274"/>
                <a:gd name="T64" fmla="*/ 174 w 185"/>
                <a:gd name="T65" fmla="*/ 251 h 274"/>
                <a:gd name="T66" fmla="*/ 179 w 185"/>
                <a:gd name="T67" fmla="*/ 249 h 274"/>
                <a:gd name="T68" fmla="*/ 174 w 185"/>
                <a:gd name="T69" fmla="*/ 241 h 274"/>
                <a:gd name="T70" fmla="*/ 176 w 185"/>
                <a:gd name="T71" fmla="*/ 215 h 274"/>
                <a:gd name="T72" fmla="*/ 176 w 185"/>
                <a:gd name="T73" fmla="*/ 196 h 274"/>
                <a:gd name="T74" fmla="*/ 182 w 185"/>
                <a:gd name="T75" fmla="*/ 190 h 274"/>
                <a:gd name="T76" fmla="*/ 184 w 185"/>
                <a:gd name="T77" fmla="*/ 175 h 274"/>
                <a:gd name="T78" fmla="*/ 173 w 185"/>
                <a:gd name="T79" fmla="*/ 158 h 274"/>
                <a:gd name="T80" fmla="*/ 160 w 185"/>
                <a:gd name="T81" fmla="*/ 151 h 274"/>
                <a:gd name="T82" fmla="*/ 155 w 185"/>
                <a:gd name="T83" fmla="*/ 134 h 274"/>
                <a:gd name="T84" fmla="*/ 143 w 185"/>
                <a:gd name="T85" fmla="*/ 140 h 274"/>
                <a:gd name="T86" fmla="*/ 131 w 185"/>
                <a:gd name="T87" fmla="*/ 138 h 274"/>
                <a:gd name="T88" fmla="*/ 129 w 185"/>
                <a:gd name="T89" fmla="*/ 129 h 274"/>
                <a:gd name="T90" fmla="*/ 119 w 185"/>
                <a:gd name="T91" fmla="*/ 128 h 274"/>
                <a:gd name="T92" fmla="*/ 115 w 185"/>
                <a:gd name="T93" fmla="*/ 118 h 274"/>
                <a:gd name="T94" fmla="*/ 105 w 185"/>
                <a:gd name="T95" fmla="*/ 110 h 274"/>
                <a:gd name="T96" fmla="*/ 102 w 185"/>
                <a:gd name="T97" fmla="*/ 100 h 274"/>
                <a:gd name="T98" fmla="*/ 104 w 185"/>
                <a:gd name="T99" fmla="*/ 87 h 274"/>
                <a:gd name="T100" fmla="*/ 113 w 185"/>
                <a:gd name="T101" fmla="*/ 82 h 274"/>
                <a:gd name="T102" fmla="*/ 120 w 185"/>
                <a:gd name="T103" fmla="*/ 77 h 274"/>
                <a:gd name="T104" fmla="*/ 116 w 185"/>
                <a:gd name="T105" fmla="*/ 67 h 274"/>
                <a:gd name="T106" fmla="*/ 120 w 185"/>
                <a:gd name="T107" fmla="*/ 54 h 274"/>
                <a:gd name="T108" fmla="*/ 131 w 185"/>
                <a:gd name="T109" fmla="*/ 47 h 274"/>
                <a:gd name="T110" fmla="*/ 143 w 185"/>
                <a:gd name="T111" fmla="*/ 50 h 274"/>
                <a:gd name="T112" fmla="*/ 155 w 185"/>
                <a:gd name="T113" fmla="*/ 44 h 274"/>
                <a:gd name="T114" fmla="*/ 159 w 185"/>
                <a:gd name="T115" fmla="*/ 31 h 274"/>
                <a:gd name="T116" fmla="*/ 149 w 185"/>
                <a:gd name="T117" fmla="*/ 12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5" h="274">
                  <a:moveTo>
                    <a:pt x="149" y="12"/>
                  </a:moveTo>
                  <a:lnTo>
                    <a:pt x="136" y="3"/>
                  </a:lnTo>
                  <a:lnTo>
                    <a:pt x="111" y="0"/>
                  </a:lnTo>
                  <a:lnTo>
                    <a:pt x="103" y="10"/>
                  </a:lnTo>
                  <a:lnTo>
                    <a:pt x="62" y="29"/>
                  </a:lnTo>
                  <a:lnTo>
                    <a:pt x="42" y="43"/>
                  </a:lnTo>
                  <a:lnTo>
                    <a:pt x="28" y="54"/>
                  </a:lnTo>
                  <a:lnTo>
                    <a:pt x="17" y="43"/>
                  </a:lnTo>
                  <a:lnTo>
                    <a:pt x="14" y="31"/>
                  </a:lnTo>
                  <a:lnTo>
                    <a:pt x="6" y="31"/>
                  </a:lnTo>
                  <a:lnTo>
                    <a:pt x="0" y="37"/>
                  </a:lnTo>
                  <a:lnTo>
                    <a:pt x="0" y="71"/>
                  </a:lnTo>
                  <a:lnTo>
                    <a:pt x="15" y="71"/>
                  </a:lnTo>
                  <a:lnTo>
                    <a:pt x="21" y="94"/>
                  </a:lnTo>
                  <a:lnTo>
                    <a:pt x="29" y="100"/>
                  </a:lnTo>
                  <a:lnTo>
                    <a:pt x="31" y="114"/>
                  </a:lnTo>
                  <a:lnTo>
                    <a:pt x="36" y="127"/>
                  </a:lnTo>
                  <a:lnTo>
                    <a:pt x="45" y="132"/>
                  </a:lnTo>
                  <a:lnTo>
                    <a:pt x="47" y="147"/>
                  </a:lnTo>
                  <a:lnTo>
                    <a:pt x="51" y="151"/>
                  </a:lnTo>
                  <a:lnTo>
                    <a:pt x="57" y="159"/>
                  </a:lnTo>
                  <a:lnTo>
                    <a:pt x="61" y="173"/>
                  </a:lnTo>
                  <a:lnTo>
                    <a:pt x="68" y="187"/>
                  </a:lnTo>
                  <a:lnTo>
                    <a:pt x="75" y="193"/>
                  </a:lnTo>
                  <a:lnTo>
                    <a:pt x="71" y="199"/>
                  </a:lnTo>
                  <a:lnTo>
                    <a:pt x="76" y="212"/>
                  </a:lnTo>
                  <a:lnTo>
                    <a:pt x="91" y="221"/>
                  </a:lnTo>
                  <a:lnTo>
                    <a:pt x="105" y="239"/>
                  </a:lnTo>
                  <a:lnTo>
                    <a:pt x="127" y="247"/>
                  </a:lnTo>
                  <a:lnTo>
                    <a:pt x="147" y="263"/>
                  </a:lnTo>
                  <a:lnTo>
                    <a:pt x="159" y="273"/>
                  </a:lnTo>
                  <a:lnTo>
                    <a:pt x="170" y="263"/>
                  </a:lnTo>
                  <a:lnTo>
                    <a:pt x="174" y="251"/>
                  </a:lnTo>
                  <a:lnTo>
                    <a:pt x="179" y="249"/>
                  </a:lnTo>
                  <a:lnTo>
                    <a:pt x="174" y="241"/>
                  </a:lnTo>
                  <a:lnTo>
                    <a:pt x="176" y="215"/>
                  </a:lnTo>
                  <a:lnTo>
                    <a:pt x="176" y="196"/>
                  </a:lnTo>
                  <a:lnTo>
                    <a:pt x="182" y="190"/>
                  </a:lnTo>
                  <a:lnTo>
                    <a:pt x="184" y="175"/>
                  </a:lnTo>
                  <a:lnTo>
                    <a:pt x="173" y="158"/>
                  </a:lnTo>
                  <a:lnTo>
                    <a:pt x="160" y="151"/>
                  </a:lnTo>
                  <a:lnTo>
                    <a:pt x="155" y="134"/>
                  </a:lnTo>
                  <a:lnTo>
                    <a:pt x="143" y="140"/>
                  </a:lnTo>
                  <a:lnTo>
                    <a:pt x="131" y="138"/>
                  </a:lnTo>
                  <a:lnTo>
                    <a:pt x="129" y="129"/>
                  </a:lnTo>
                  <a:lnTo>
                    <a:pt x="119" y="128"/>
                  </a:lnTo>
                  <a:lnTo>
                    <a:pt x="115" y="118"/>
                  </a:lnTo>
                  <a:lnTo>
                    <a:pt x="105" y="110"/>
                  </a:lnTo>
                  <a:lnTo>
                    <a:pt x="102" y="100"/>
                  </a:lnTo>
                  <a:lnTo>
                    <a:pt x="104" y="87"/>
                  </a:lnTo>
                  <a:lnTo>
                    <a:pt x="113" y="82"/>
                  </a:lnTo>
                  <a:lnTo>
                    <a:pt x="120" y="77"/>
                  </a:lnTo>
                  <a:lnTo>
                    <a:pt x="116" y="67"/>
                  </a:lnTo>
                  <a:lnTo>
                    <a:pt x="120" y="54"/>
                  </a:lnTo>
                  <a:lnTo>
                    <a:pt x="131" y="47"/>
                  </a:lnTo>
                  <a:lnTo>
                    <a:pt x="143" y="50"/>
                  </a:lnTo>
                  <a:lnTo>
                    <a:pt x="155" y="44"/>
                  </a:lnTo>
                  <a:lnTo>
                    <a:pt x="159" y="31"/>
                  </a:lnTo>
                  <a:lnTo>
                    <a:pt x="149" y="1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12" name="Freeform 57">
              <a:extLst>
                <a:ext uri="{FF2B5EF4-FFF2-40B4-BE49-F238E27FC236}">
                  <a16:creationId xmlns:a16="http://schemas.microsoft.com/office/drawing/2014/main" id="{9A3CA58A-46AE-4E53-9F27-692C8F35D05F}"/>
                </a:ext>
              </a:extLst>
            </p:cNvPr>
            <p:cNvSpPr>
              <a:spLocks/>
            </p:cNvSpPr>
            <p:nvPr/>
          </p:nvSpPr>
          <p:spPr bwMode="auto">
            <a:xfrm>
              <a:off x="2014348" y="3830888"/>
              <a:ext cx="219933" cy="329403"/>
            </a:xfrm>
            <a:custGeom>
              <a:avLst/>
              <a:gdLst>
                <a:gd name="T0" fmla="*/ 23 w 166"/>
                <a:gd name="T1" fmla="*/ 95 h 248"/>
                <a:gd name="T2" fmla="*/ 26 w 166"/>
                <a:gd name="T3" fmla="*/ 63 h 248"/>
                <a:gd name="T4" fmla="*/ 40 w 166"/>
                <a:gd name="T5" fmla="*/ 76 h 248"/>
                <a:gd name="T6" fmla="*/ 41 w 166"/>
                <a:gd name="T7" fmla="*/ 53 h 248"/>
                <a:gd name="T8" fmla="*/ 57 w 166"/>
                <a:gd name="T9" fmla="*/ 48 h 248"/>
                <a:gd name="T10" fmla="*/ 58 w 166"/>
                <a:gd name="T11" fmla="*/ 31 h 248"/>
                <a:gd name="T12" fmla="*/ 74 w 166"/>
                <a:gd name="T13" fmla="*/ 20 h 248"/>
                <a:gd name="T14" fmla="*/ 91 w 166"/>
                <a:gd name="T15" fmla="*/ 18 h 248"/>
                <a:gd name="T16" fmla="*/ 96 w 166"/>
                <a:gd name="T17" fmla="*/ 6 h 248"/>
                <a:gd name="T18" fmla="*/ 106 w 166"/>
                <a:gd name="T19" fmla="*/ 0 h 248"/>
                <a:gd name="T20" fmla="*/ 113 w 166"/>
                <a:gd name="T21" fmla="*/ 6 h 248"/>
                <a:gd name="T22" fmla="*/ 102 w 166"/>
                <a:gd name="T23" fmla="*/ 20 h 248"/>
                <a:gd name="T24" fmla="*/ 96 w 166"/>
                <a:gd name="T25" fmla="*/ 42 h 248"/>
                <a:gd name="T26" fmla="*/ 85 w 166"/>
                <a:gd name="T27" fmla="*/ 49 h 248"/>
                <a:gd name="T28" fmla="*/ 98 w 166"/>
                <a:gd name="T29" fmla="*/ 67 h 248"/>
                <a:gd name="T30" fmla="*/ 95 w 166"/>
                <a:gd name="T31" fmla="*/ 84 h 248"/>
                <a:gd name="T32" fmla="*/ 121 w 166"/>
                <a:gd name="T33" fmla="*/ 86 h 248"/>
                <a:gd name="T34" fmla="*/ 121 w 166"/>
                <a:gd name="T35" fmla="*/ 95 h 248"/>
                <a:gd name="T36" fmla="*/ 143 w 166"/>
                <a:gd name="T37" fmla="*/ 105 h 248"/>
                <a:gd name="T38" fmla="*/ 165 w 166"/>
                <a:gd name="T39" fmla="*/ 113 h 248"/>
                <a:gd name="T40" fmla="*/ 165 w 166"/>
                <a:gd name="T41" fmla="*/ 141 h 248"/>
                <a:gd name="T42" fmla="*/ 161 w 166"/>
                <a:gd name="T43" fmla="*/ 160 h 248"/>
                <a:gd name="T44" fmla="*/ 162 w 166"/>
                <a:gd name="T45" fmla="*/ 173 h 248"/>
                <a:gd name="T46" fmla="*/ 138 w 166"/>
                <a:gd name="T47" fmla="*/ 182 h 248"/>
                <a:gd name="T48" fmla="*/ 132 w 166"/>
                <a:gd name="T49" fmla="*/ 192 h 248"/>
                <a:gd name="T50" fmla="*/ 140 w 166"/>
                <a:gd name="T51" fmla="*/ 199 h 248"/>
                <a:gd name="T52" fmla="*/ 132 w 166"/>
                <a:gd name="T53" fmla="*/ 204 h 248"/>
                <a:gd name="T54" fmla="*/ 135 w 166"/>
                <a:gd name="T55" fmla="*/ 233 h 248"/>
                <a:gd name="T56" fmla="*/ 135 w 166"/>
                <a:gd name="T57" fmla="*/ 245 h 248"/>
                <a:gd name="T58" fmla="*/ 121 w 166"/>
                <a:gd name="T59" fmla="*/ 247 h 248"/>
                <a:gd name="T60" fmla="*/ 107 w 166"/>
                <a:gd name="T61" fmla="*/ 238 h 248"/>
                <a:gd name="T62" fmla="*/ 83 w 166"/>
                <a:gd name="T63" fmla="*/ 235 h 248"/>
                <a:gd name="T64" fmla="*/ 70 w 166"/>
                <a:gd name="T65" fmla="*/ 219 h 248"/>
                <a:gd name="T66" fmla="*/ 55 w 166"/>
                <a:gd name="T67" fmla="*/ 209 h 248"/>
                <a:gd name="T68" fmla="*/ 44 w 166"/>
                <a:gd name="T69" fmla="*/ 199 h 248"/>
                <a:gd name="T70" fmla="*/ 21 w 166"/>
                <a:gd name="T71" fmla="*/ 200 h 248"/>
                <a:gd name="T72" fmla="*/ 0 w 166"/>
                <a:gd name="T73" fmla="*/ 188 h 248"/>
                <a:gd name="T74" fmla="*/ 11 w 166"/>
                <a:gd name="T75" fmla="*/ 171 h 248"/>
                <a:gd name="T76" fmla="*/ 14 w 166"/>
                <a:gd name="T77" fmla="*/ 163 h 248"/>
                <a:gd name="T78" fmla="*/ 27 w 166"/>
                <a:gd name="T79" fmla="*/ 161 h 248"/>
                <a:gd name="T80" fmla="*/ 23 w 166"/>
                <a:gd name="T81" fmla="*/ 9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 h="248">
                  <a:moveTo>
                    <a:pt x="23" y="95"/>
                  </a:moveTo>
                  <a:lnTo>
                    <a:pt x="26" y="63"/>
                  </a:lnTo>
                  <a:lnTo>
                    <a:pt x="40" y="76"/>
                  </a:lnTo>
                  <a:lnTo>
                    <a:pt x="41" y="53"/>
                  </a:lnTo>
                  <a:lnTo>
                    <a:pt x="57" y="48"/>
                  </a:lnTo>
                  <a:lnTo>
                    <a:pt x="58" y="31"/>
                  </a:lnTo>
                  <a:lnTo>
                    <a:pt x="74" y="20"/>
                  </a:lnTo>
                  <a:lnTo>
                    <a:pt x="91" y="18"/>
                  </a:lnTo>
                  <a:lnTo>
                    <a:pt x="96" y="6"/>
                  </a:lnTo>
                  <a:lnTo>
                    <a:pt x="106" y="0"/>
                  </a:lnTo>
                  <a:lnTo>
                    <a:pt x="113" y="6"/>
                  </a:lnTo>
                  <a:lnTo>
                    <a:pt x="102" y="20"/>
                  </a:lnTo>
                  <a:lnTo>
                    <a:pt x="96" y="42"/>
                  </a:lnTo>
                  <a:lnTo>
                    <a:pt x="85" y="49"/>
                  </a:lnTo>
                  <a:lnTo>
                    <a:pt x="98" y="67"/>
                  </a:lnTo>
                  <a:lnTo>
                    <a:pt x="95" y="84"/>
                  </a:lnTo>
                  <a:lnTo>
                    <a:pt x="121" y="86"/>
                  </a:lnTo>
                  <a:lnTo>
                    <a:pt x="121" y="95"/>
                  </a:lnTo>
                  <a:lnTo>
                    <a:pt x="143" y="105"/>
                  </a:lnTo>
                  <a:lnTo>
                    <a:pt x="165" y="113"/>
                  </a:lnTo>
                  <a:lnTo>
                    <a:pt x="165" y="141"/>
                  </a:lnTo>
                  <a:lnTo>
                    <a:pt x="161" y="160"/>
                  </a:lnTo>
                  <a:lnTo>
                    <a:pt x="162" y="173"/>
                  </a:lnTo>
                  <a:lnTo>
                    <a:pt x="138" y="182"/>
                  </a:lnTo>
                  <a:lnTo>
                    <a:pt x="132" y="192"/>
                  </a:lnTo>
                  <a:lnTo>
                    <a:pt x="140" y="199"/>
                  </a:lnTo>
                  <a:lnTo>
                    <a:pt x="132" y="204"/>
                  </a:lnTo>
                  <a:lnTo>
                    <a:pt x="135" y="233"/>
                  </a:lnTo>
                  <a:lnTo>
                    <a:pt x="135" y="245"/>
                  </a:lnTo>
                  <a:lnTo>
                    <a:pt x="121" y="247"/>
                  </a:lnTo>
                  <a:lnTo>
                    <a:pt x="107" y="238"/>
                  </a:lnTo>
                  <a:lnTo>
                    <a:pt x="83" y="235"/>
                  </a:lnTo>
                  <a:lnTo>
                    <a:pt x="70" y="219"/>
                  </a:lnTo>
                  <a:lnTo>
                    <a:pt x="55" y="209"/>
                  </a:lnTo>
                  <a:lnTo>
                    <a:pt x="44" y="199"/>
                  </a:lnTo>
                  <a:lnTo>
                    <a:pt x="21" y="200"/>
                  </a:lnTo>
                  <a:lnTo>
                    <a:pt x="0" y="188"/>
                  </a:lnTo>
                  <a:lnTo>
                    <a:pt x="11" y="171"/>
                  </a:lnTo>
                  <a:lnTo>
                    <a:pt x="14" y="163"/>
                  </a:lnTo>
                  <a:lnTo>
                    <a:pt x="27" y="161"/>
                  </a:lnTo>
                  <a:lnTo>
                    <a:pt x="23" y="95"/>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13" name="Freeform 60">
              <a:extLst>
                <a:ext uri="{FF2B5EF4-FFF2-40B4-BE49-F238E27FC236}">
                  <a16:creationId xmlns:a16="http://schemas.microsoft.com/office/drawing/2014/main" id="{0010B1FB-8D90-4DBC-A598-8DB682870451}"/>
                </a:ext>
              </a:extLst>
            </p:cNvPr>
            <p:cNvSpPr>
              <a:spLocks/>
            </p:cNvSpPr>
            <p:nvPr/>
          </p:nvSpPr>
          <p:spPr bwMode="auto">
            <a:xfrm>
              <a:off x="1828891" y="3698889"/>
              <a:ext cx="36854" cy="63027"/>
            </a:xfrm>
            <a:custGeom>
              <a:avLst/>
              <a:gdLst>
                <a:gd name="T0" fmla="*/ 2 w 29"/>
                <a:gd name="T1" fmla="*/ 13 h 48"/>
                <a:gd name="T2" fmla="*/ 10 w 29"/>
                <a:gd name="T3" fmla="*/ 10 h 48"/>
                <a:gd name="T4" fmla="*/ 28 w 29"/>
                <a:gd name="T5" fmla="*/ 0 h 48"/>
                <a:gd name="T6" fmla="*/ 25 w 29"/>
                <a:gd name="T7" fmla="*/ 19 h 48"/>
                <a:gd name="T8" fmla="*/ 28 w 29"/>
                <a:gd name="T9" fmla="*/ 39 h 48"/>
                <a:gd name="T10" fmla="*/ 18 w 29"/>
                <a:gd name="T11" fmla="*/ 46 h 48"/>
                <a:gd name="T12" fmla="*/ 8 w 29"/>
                <a:gd name="T13" fmla="*/ 47 h 48"/>
                <a:gd name="T14" fmla="*/ 0 w 29"/>
                <a:gd name="T15" fmla="*/ 45 h 48"/>
                <a:gd name="T16" fmla="*/ 0 w 29"/>
                <a:gd name="T17" fmla="*/ 32 h 48"/>
                <a:gd name="T18" fmla="*/ 2 w 29"/>
                <a:gd name="T19" fmla="*/ 1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48">
                  <a:moveTo>
                    <a:pt x="2" y="13"/>
                  </a:moveTo>
                  <a:lnTo>
                    <a:pt x="10" y="10"/>
                  </a:lnTo>
                  <a:lnTo>
                    <a:pt x="28" y="0"/>
                  </a:lnTo>
                  <a:lnTo>
                    <a:pt x="25" y="19"/>
                  </a:lnTo>
                  <a:lnTo>
                    <a:pt x="28" y="39"/>
                  </a:lnTo>
                  <a:lnTo>
                    <a:pt x="18" y="46"/>
                  </a:lnTo>
                  <a:lnTo>
                    <a:pt x="8" y="47"/>
                  </a:lnTo>
                  <a:lnTo>
                    <a:pt x="0" y="45"/>
                  </a:lnTo>
                  <a:lnTo>
                    <a:pt x="0" y="32"/>
                  </a:lnTo>
                  <a:lnTo>
                    <a:pt x="2" y="1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14" name="Freeform 61">
              <a:extLst>
                <a:ext uri="{FF2B5EF4-FFF2-40B4-BE49-F238E27FC236}">
                  <a16:creationId xmlns:a16="http://schemas.microsoft.com/office/drawing/2014/main" id="{9BF7B66D-258C-4BE9-A2D4-47BE530CDE25}"/>
                </a:ext>
              </a:extLst>
            </p:cNvPr>
            <p:cNvSpPr>
              <a:spLocks/>
            </p:cNvSpPr>
            <p:nvPr/>
          </p:nvSpPr>
          <p:spPr bwMode="auto">
            <a:xfrm>
              <a:off x="1887144" y="3865374"/>
              <a:ext cx="65385" cy="40432"/>
            </a:xfrm>
            <a:custGeom>
              <a:avLst/>
              <a:gdLst>
                <a:gd name="T0" fmla="*/ 33 w 49"/>
                <a:gd name="T1" fmla="*/ 2 h 31"/>
                <a:gd name="T2" fmla="*/ 1 w 49"/>
                <a:gd name="T3" fmla="*/ 0 h 31"/>
                <a:gd name="T4" fmla="*/ 0 w 49"/>
                <a:gd name="T5" fmla="*/ 12 h 31"/>
                <a:gd name="T6" fmla="*/ 7 w 49"/>
                <a:gd name="T7" fmla="*/ 23 h 31"/>
                <a:gd name="T8" fmla="*/ 35 w 49"/>
                <a:gd name="T9" fmla="*/ 30 h 31"/>
                <a:gd name="T10" fmla="*/ 48 w 49"/>
                <a:gd name="T11" fmla="*/ 23 h 31"/>
                <a:gd name="T12" fmla="*/ 47 w 49"/>
                <a:gd name="T13" fmla="*/ 10 h 31"/>
                <a:gd name="T14" fmla="*/ 33 w 49"/>
                <a:gd name="T15" fmla="*/ 2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31">
                  <a:moveTo>
                    <a:pt x="33" y="2"/>
                  </a:moveTo>
                  <a:lnTo>
                    <a:pt x="1" y="0"/>
                  </a:lnTo>
                  <a:lnTo>
                    <a:pt x="0" y="12"/>
                  </a:lnTo>
                  <a:lnTo>
                    <a:pt x="7" y="23"/>
                  </a:lnTo>
                  <a:lnTo>
                    <a:pt x="35" y="30"/>
                  </a:lnTo>
                  <a:lnTo>
                    <a:pt x="48" y="23"/>
                  </a:lnTo>
                  <a:lnTo>
                    <a:pt x="47" y="10"/>
                  </a:lnTo>
                  <a:lnTo>
                    <a:pt x="33" y="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15" name="Freeform 62">
              <a:extLst>
                <a:ext uri="{FF2B5EF4-FFF2-40B4-BE49-F238E27FC236}">
                  <a16:creationId xmlns:a16="http://schemas.microsoft.com/office/drawing/2014/main" id="{497E2390-FF3B-4421-81E4-83EF61506761}"/>
                </a:ext>
              </a:extLst>
            </p:cNvPr>
            <p:cNvSpPr>
              <a:spLocks/>
            </p:cNvSpPr>
            <p:nvPr/>
          </p:nvSpPr>
          <p:spPr bwMode="auto">
            <a:xfrm>
              <a:off x="2127287" y="3830888"/>
              <a:ext cx="254409" cy="255674"/>
            </a:xfrm>
            <a:custGeom>
              <a:avLst/>
              <a:gdLst>
                <a:gd name="T0" fmla="*/ 28 w 191"/>
                <a:gd name="T1" fmla="*/ 6 h 193"/>
                <a:gd name="T2" fmla="*/ 16 w 191"/>
                <a:gd name="T3" fmla="*/ 19 h 193"/>
                <a:gd name="T4" fmla="*/ 10 w 191"/>
                <a:gd name="T5" fmla="*/ 42 h 193"/>
                <a:gd name="T6" fmla="*/ 0 w 191"/>
                <a:gd name="T7" fmla="*/ 49 h 193"/>
                <a:gd name="T8" fmla="*/ 13 w 191"/>
                <a:gd name="T9" fmla="*/ 67 h 193"/>
                <a:gd name="T10" fmla="*/ 9 w 191"/>
                <a:gd name="T11" fmla="*/ 84 h 193"/>
                <a:gd name="T12" fmla="*/ 36 w 191"/>
                <a:gd name="T13" fmla="*/ 85 h 193"/>
                <a:gd name="T14" fmla="*/ 36 w 191"/>
                <a:gd name="T15" fmla="*/ 95 h 193"/>
                <a:gd name="T16" fmla="*/ 58 w 191"/>
                <a:gd name="T17" fmla="*/ 105 h 193"/>
                <a:gd name="T18" fmla="*/ 80 w 191"/>
                <a:gd name="T19" fmla="*/ 112 h 193"/>
                <a:gd name="T20" fmla="*/ 80 w 191"/>
                <a:gd name="T21" fmla="*/ 140 h 193"/>
                <a:gd name="T22" fmla="*/ 75 w 191"/>
                <a:gd name="T23" fmla="*/ 159 h 193"/>
                <a:gd name="T24" fmla="*/ 77 w 191"/>
                <a:gd name="T25" fmla="*/ 173 h 193"/>
                <a:gd name="T26" fmla="*/ 87 w 191"/>
                <a:gd name="T27" fmla="*/ 176 h 193"/>
                <a:gd name="T28" fmla="*/ 94 w 191"/>
                <a:gd name="T29" fmla="*/ 186 h 193"/>
                <a:gd name="T30" fmla="*/ 105 w 191"/>
                <a:gd name="T31" fmla="*/ 192 h 193"/>
                <a:gd name="T32" fmla="*/ 120 w 191"/>
                <a:gd name="T33" fmla="*/ 189 h 193"/>
                <a:gd name="T34" fmla="*/ 132 w 191"/>
                <a:gd name="T35" fmla="*/ 180 h 193"/>
                <a:gd name="T36" fmla="*/ 131 w 191"/>
                <a:gd name="T37" fmla="*/ 169 h 193"/>
                <a:gd name="T38" fmla="*/ 122 w 191"/>
                <a:gd name="T39" fmla="*/ 162 h 193"/>
                <a:gd name="T40" fmla="*/ 120 w 191"/>
                <a:gd name="T41" fmla="*/ 154 h 193"/>
                <a:gd name="T42" fmla="*/ 124 w 191"/>
                <a:gd name="T43" fmla="*/ 140 h 193"/>
                <a:gd name="T44" fmla="*/ 130 w 191"/>
                <a:gd name="T45" fmla="*/ 139 h 193"/>
                <a:gd name="T46" fmla="*/ 143 w 191"/>
                <a:gd name="T47" fmla="*/ 150 h 193"/>
                <a:gd name="T48" fmla="*/ 150 w 191"/>
                <a:gd name="T49" fmla="*/ 145 h 193"/>
                <a:gd name="T50" fmla="*/ 176 w 191"/>
                <a:gd name="T51" fmla="*/ 143 h 193"/>
                <a:gd name="T52" fmla="*/ 179 w 191"/>
                <a:gd name="T53" fmla="*/ 134 h 193"/>
                <a:gd name="T54" fmla="*/ 179 w 191"/>
                <a:gd name="T55" fmla="*/ 123 h 193"/>
                <a:gd name="T56" fmla="*/ 172 w 191"/>
                <a:gd name="T57" fmla="*/ 114 h 193"/>
                <a:gd name="T58" fmla="*/ 173 w 191"/>
                <a:gd name="T59" fmla="*/ 100 h 193"/>
                <a:gd name="T60" fmla="*/ 182 w 191"/>
                <a:gd name="T61" fmla="*/ 92 h 193"/>
                <a:gd name="T62" fmla="*/ 184 w 191"/>
                <a:gd name="T63" fmla="*/ 85 h 193"/>
                <a:gd name="T64" fmla="*/ 190 w 191"/>
                <a:gd name="T65" fmla="*/ 79 h 193"/>
                <a:gd name="T66" fmla="*/ 190 w 191"/>
                <a:gd name="T67" fmla="*/ 64 h 193"/>
                <a:gd name="T68" fmla="*/ 184 w 191"/>
                <a:gd name="T69" fmla="*/ 61 h 193"/>
                <a:gd name="T70" fmla="*/ 179 w 191"/>
                <a:gd name="T71" fmla="*/ 47 h 193"/>
                <a:gd name="T72" fmla="*/ 172 w 191"/>
                <a:gd name="T73" fmla="*/ 39 h 193"/>
                <a:gd name="T74" fmla="*/ 176 w 191"/>
                <a:gd name="T75" fmla="*/ 35 h 193"/>
                <a:gd name="T76" fmla="*/ 176 w 191"/>
                <a:gd name="T77" fmla="*/ 28 h 193"/>
                <a:gd name="T78" fmla="*/ 154 w 191"/>
                <a:gd name="T79" fmla="*/ 27 h 193"/>
                <a:gd name="T80" fmla="*/ 137 w 191"/>
                <a:gd name="T81" fmla="*/ 30 h 193"/>
                <a:gd name="T82" fmla="*/ 128 w 191"/>
                <a:gd name="T83" fmla="*/ 37 h 193"/>
                <a:gd name="T84" fmla="*/ 117 w 191"/>
                <a:gd name="T85" fmla="*/ 35 h 193"/>
                <a:gd name="T86" fmla="*/ 86 w 191"/>
                <a:gd name="T87" fmla="*/ 33 h 193"/>
                <a:gd name="T88" fmla="*/ 83 w 191"/>
                <a:gd name="T89" fmla="*/ 25 h 193"/>
                <a:gd name="T90" fmla="*/ 75 w 191"/>
                <a:gd name="T91" fmla="*/ 22 h 193"/>
                <a:gd name="T92" fmla="*/ 62 w 191"/>
                <a:gd name="T93" fmla="*/ 18 h 193"/>
                <a:gd name="T94" fmla="*/ 59 w 191"/>
                <a:gd name="T95" fmla="*/ 9 h 193"/>
                <a:gd name="T96" fmla="*/ 48 w 191"/>
                <a:gd name="T97" fmla="*/ 6 h 193"/>
                <a:gd name="T98" fmla="*/ 48 w 191"/>
                <a:gd name="T99" fmla="*/ 0 h 193"/>
                <a:gd name="T100" fmla="*/ 43 w 191"/>
                <a:gd name="T101" fmla="*/ 6 h 193"/>
                <a:gd name="T102" fmla="*/ 28 w 191"/>
                <a:gd name="T103" fmla="*/ 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 h="193">
                  <a:moveTo>
                    <a:pt x="28" y="6"/>
                  </a:moveTo>
                  <a:lnTo>
                    <a:pt x="16" y="19"/>
                  </a:lnTo>
                  <a:lnTo>
                    <a:pt x="10" y="42"/>
                  </a:lnTo>
                  <a:lnTo>
                    <a:pt x="0" y="49"/>
                  </a:lnTo>
                  <a:lnTo>
                    <a:pt x="13" y="67"/>
                  </a:lnTo>
                  <a:lnTo>
                    <a:pt x="9" y="84"/>
                  </a:lnTo>
                  <a:lnTo>
                    <a:pt x="36" y="85"/>
                  </a:lnTo>
                  <a:lnTo>
                    <a:pt x="36" y="95"/>
                  </a:lnTo>
                  <a:lnTo>
                    <a:pt x="58" y="105"/>
                  </a:lnTo>
                  <a:lnTo>
                    <a:pt x="80" y="112"/>
                  </a:lnTo>
                  <a:lnTo>
                    <a:pt x="80" y="140"/>
                  </a:lnTo>
                  <a:lnTo>
                    <a:pt x="75" y="159"/>
                  </a:lnTo>
                  <a:lnTo>
                    <a:pt x="77" y="173"/>
                  </a:lnTo>
                  <a:lnTo>
                    <a:pt x="87" y="176"/>
                  </a:lnTo>
                  <a:lnTo>
                    <a:pt x="94" y="186"/>
                  </a:lnTo>
                  <a:lnTo>
                    <a:pt x="105" y="192"/>
                  </a:lnTo>
                  <a:lnTo>
                    <a:pt x="120" y="189"/>
                  </a:lnTo>
                  <a:lnTo>
                    <a:pt x="132" y="180"/>
                  </a:lnTo>
                  <a:lnTo>
                    <a:pt x="131" y="169"/>
                  </a:lnTo>
                  <a:lnTo>
                    <a:pt x="122" y="162"/>
                  </a:lnTo>
                  <a:lnTo>
                    <a:pt x="120" y="154"/>
                  </a:lnTo>
                  <a:lnTo>
                    <a:pt x="124" y="140"/>
                  </a:lnTo>
                  <a:lnTo>
                    <a:pt x="130" y="139"/>
                  </a:lnTo>
                  <a:lnTo>
                    <a:pt x="143" y="150"/>
                  </a:lnTo>
                  <a:lnTo>
                    <a:pt x="150" y="145"/>
                  </a:lnTo>
                  <a:lnTo>
                    <a:pt x="176" y="143"/>
                  </a:lnTo>
                  <a:lnTo>
                    <a:pt x="179" y="134"/>
                  </a:lnTo>
                  <a:lnTo>
                    <a:pt x="179" y="123"/>
                  </a:lnTo>
                  <a:lnTo>
                    <a:pt x="172" y="114"/>
                  </a:lnTo>
                  <a:lnTo>
                    <a:pt x="173" y="100"/>
                  </a:lnTo>
                  <a:lnTo>
                    <a:pt x="182" y="92"/>
                  </a:lnTo>
                  <a:lnTo>
                    <a:pt x="184" y="85"/>
                  </a:lnTo>
                  <a:lnTo>
                    <a:pt x="190" y="79"/>
                  </a:lnTo>
                  <a:lnTo>
                    <a:pt x="190" y="64"/>
                  </a:lnTo>
                  <a:lnTo>
                    <a:pt x="184" y="61"/>
                  </a:lnTo>
                  <a:lnTo>
                    <a:pt x="179" y="47"/>
                  </a:lnTo>
                  <a:lnTo>
                    <a:pt x="172" y="39"/>
                  </a:lnTo>
                  <a:lnTo>
                    <a:pt x="176" y="35"/>
                  </a:lnTo>
                  <a:lnTo>
                    <a:pt x="176" y="28"/>
                  </a:lnTo>
                  <a:lnTo>
                    <a:pt x="154" y="27"/>
                  </a:lnTo>
                  <a:lnTo>
                    <a:pt x="137" y="30"/>
                  </a:lnTo>
                  <a:lnTo>
                    <a:pt x="128" y="37"/>
                  </a:lnTo>
                  <a:lnTo>
                    <a:pt x="117" y="35"/>
                  </a:lnTo>
                  <a:lnTo>
                    <a:pt x="86" y="33"/>
                  </a:lnTo>
                  <a:lnTo>
                    <a:pt x="83" y="25"/>
                  </a:lnTo>
                  <a:lnTo>
                    <a:pt x="75" y="22"/>
                  </a:lnTo>
                  <a:lnTo>
                    <a:pt x="62" y="18"/>
                  </a:lnTo>
                  <a:lnTo>
                    <a:pt x="59" y="9"/>
                  </a:lnTo>
                  <a:lnTo>
                    <a:pt x="48" y="6"/>
                  </a:lnTo>
                  <a:lnTo>
                    <a:pt x="48" y="0"/>
                  </a:lnTo>
                  <a:lnTo>
                    <a:pt x="43" y="6"/>
                  </a:lnTo>
                  <a:lnTo>
                    <a:pt x="28" y="6"/>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16" name="Freeform 63">
              <a:extLst>
                <a:ext uri="{FF2B5EF4-FFF2-40B4-BE49-F238E27FC236}">
                  <a16:creationId xmlns:a16="http://schemas.microsoft.com/office/drawing/2014/main" id="{B9EB00EF-EB67-4ECF-B800-7B06ACEDAAF6}"/>
                </a:ext>
              </a:extLst>
            </p:cNvPr>
            <p:cNvSpPr>
              <a:spLocks/>
            </p:cNvSpPr>
            <p:nvPr/>
          </p:nvSpPr>
          <p:spPr bwMode="auto">
            <a:xfrm>
              <a:off x="2438759" y="4775099"/>
              <a:ext cx="105806" cy="118918"/>
            </a:xfrm>
            <a:custGeom>
              <a:avLst/>
              <a:gdLst>
                <a:gd name="T0" fmla="*/ 19 w 80"/>
                <a:gd name="T1" fmla="*/ 0 h 88"/>
                <a:gd name="T2" fmla="*/ 25 w 80"/>
                <a:gd name="T3" fmla="*/ 8 h 88"/>
                <a:gd name="T4" fmla="*/ 39 w 80"/>
                <a:gd name="T5" fmla="*/ 13 h 88"/>
                <a:gd name="T6" fmla="*/ 70 w 80"/>
                <a:gd name="T7" fmla="*/ 42 h 88"/>
                <a:gd name="T8" fmla="*/ 76 w 80"/>
                <a:gd name="T9" fmla="*/ 53 h 88"/>
                <a:gd name="T10" fmla="*/ 79 w 80"/>
                <a:gd name="T11" fmla="*/ 65 h 88"/>
                <a:gd name="T12" fmla="*/ 70 w 80"/>
                <a:gd name="T13" fmla="*/ 71 h 88"/>
                <a:gd name="T14" fmla="*/ 66 w 80"/>
                <a:gd name="T15" fmla="*/ 75 h 88"/>
                <a:gd name="T16" fmla="*/ 64 w 80"/>
                <a:gd name="T17" fmla="*/ 81 h 88"/>
                <a:gd name="T18" fmla="*/ 53 w 80"/>
                <a:gd name="T19" fmla="*/ 83 h 88"/>
                <a:gd name="T20" fmla="*/ 50 w 80"/>
                <a:gd name="T21" fmla="*/ 87 h 88"/>
                <a:gd name="T22" fmla="*/ 44 w 80"/>
                <a:gd name="T23" fmla="*/ 84 h 88"/>
                <a:gd name="T24" fmla="*/ 29 w 80"/>
                <a:gd name="T25" fmla="*/ 78 h 88"/>
                <a:gd name="T26" fmla="*/ 18 w 80"/>
                <a:gd name="T27" fmla="*/ 72 h 88"/>
                <a:gd name="T28" fmla="*/ 12 w 80"/>
                <a:gd name="T29" fmla="*/ 78 h 88"/>
                <a:gd name="T30" fmla="*/ 6 w 80"/>
                <a:gd name="T31" fmla="*/ 81 h 88"/>
                <a:gd name="T32" fmla="*/ 2 w 80"/>
                <a:gd name="T33" fmla="*/ 64 h 88"/>
                <a:gd name="T34" fmla="*/ 0 w 80"/>
                <a:gd name="T35" fmla="*/ 40 h 88"/>
                <a:gd name="T36" fmla="*/ 3 w 80"/>
                <a:gd name="T37" fmla="*/ 24 h 88"/>
                <a:gd name="T38" fmla="*/ 11 w 80"/>
                <a:gd name="T39" fmla="*/ 10 h 88"/>
                <a:gd name="T40" fmla="*/ 19 w 80"/>
                <a:gd name="T4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88">
                  <a:moveTo>
                    <a:pt x="19" y="0"/>
                  </a:moveTo>
                  <a:lnTo>
                    <a:pt x="25" y="8"/>
                  </a:lnTo>
                  <a:lnTo>
                    <a:pt x="39" y="13"/>
                  </a:lnTo>
                  <a:lnTo>
                    <a:pt x="70" y="42"/>
                  </a:lnTo>
                  <a:lnTo>
                    <a:pt x="76" y="53"/>
                  </a:lnTo>
                  <a:lnTo>
                    <a:pt x="79" y="65"/>
                  </a:lnTo>
                  <a:lnTo>
                    <a:pt x="70" y="71"/>
                  </a:lnTo>
                  <a:lnTo>
                    <a:pt x="66" y="75"/>
                  </a:lnTo>
                  <a:lnTo>
                    <a:pt x="64" y="81"/>
                  </a:lnTo>
                  <a:lnTo>
                    <a:pt x="53" y="83"/>
                  </a:lnTo>
                  <a:lnTo>
                    <a:pt x="50" y="87"/>
                  </a:lnTo>
                  <a:lnTo>
                    <a:pt x="44" y="84"/>
                  </a:lnTo>
                  <a:lnTo>
                    <a:pt x="29" y="78"/>
                  </a:lnTo>
                  <a:lnTo>
                    <a:pt x="18" y="72"/>
                  </a:lnTo>
                  <a:lnTo>
                    <a:pt x="12" y="78"/>
                  </a:lnTo>
                  <a:lnTo>
                    <a:pt x="6" y="81"/>
                  </a:lnTo>
                  <a:lnTo>
                    <a:pt x="2" y="64"/>
                  </a:lnTo>
                  <a:lnTo>
                    <a:pt x="0" y="40"/>
                  </a:lnTo>
                  <a:lnTo>
                    <a:pt x="3" y="24"/>
                  </a:lnTo>
                  <a:lnTo>
                    <a:pt x="11" y="10"/>
                  </a:lnTo>
                  <a:lnTo>
                    <a:pt x="19"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17" name="Freeform 64">
              <a:extLst>
                <a:ext uri="{FF2B5EF4-FFF2-40B4-BE49-F238E27FC236}">
                  <a16:creationId xmlns:a16="http://schemas.microsoft.com/office/drawing/2014/main" id="{452A541A-27F0-47E0-A330-5493BB418AE8}"/>
                </a:ext>
              </a:extLst>
            </p:cNvPr>
            <p:cNvSpPr>
              <a:spLocks/>
            </p:cNvSpPr>
            <p:nvPr/>
          </p:nvSpPr>
          <p:spPr bwMode="auto">
            <a:xfrm>
              <a:off x="2203371" y="4322020"/>
              <a:ext cx="236577" cy="296106"/>
            </a:xfrm>
            <a:custGeom>
              <a:avLst/>
              <a:gdLst>
                <a:gd name="T0" fmla="*/ 162 w 177"/>
                <a:gd name="T1" fmla="*/ 170 h 222"/>
                <a:gd name="T2" fmla="*/ 169 w 177"/>
                <a:gd name="T3" fmla="*/ 169 h 222"/>
                <a:gd name="T4" fmla="*/ 174 w 177"/>
                <a:gd name="T5" fmla="*/ 159 h 222"/>
                <a:gd name="T6" fmla="*/ 176 w 177"/>
                <a:gd name="T7" fmla="*/ 141 h 222"/>
                <a:gd name="T8" fmla="*/ 171 w 177"/>
                <a:gd name="T9" fmla="*/ 137 h 222"/>
                <a:gd name="T10" fmla="*/ 169 w 177"/>
                <a:gd name="T11" fmla="*/ 126 h 222"/>
                <a:gd name="T12" fmla="*/ 161 w 177"/>
                <a:gd name="T13" fmla="*/ 124 h 222"/>
                <a:gd name="T14" fmla="*/ 160 w 177"/>
                <a:gd name="T15" fmla="*/ 113 h 222"/>
                <a:gd name="T16" fmla="*/ 141 w 177"/>
                <a:gd name="T17" fmla="*/ 114 h 222"/>
                <a:gd name="T18" fmla="*/ 136 w 177"/>
                <a:gd name="T19" fmla="*/ 108 h 222"/>
                <a:gd name="T20" fmla="*/ 131 w 177"/>
                <a:gd name="T21" fmla="*/ 108 h 222"/>
                <a:gd name="T22" fmla="*/ 131 w 177"/>
                <a:gd name="T23" fmla="*/ 87 h 222"/>
                <a:gd name="T24" fmla="*/ 138 w 177"/>
                <a:gd name="T25" fmla="*/ 81 h 222"/>
                <a:gd name="T26" fmla="*/ 131 w 177"/>
                <a:gd name="T27" fmla="*/ 80 h 222"/>
                <a:gd name="T28" fmla="*/ 129 w 177"/>
                <a:gd name="T29" fmla="*/ 66 h 222"/>
                <a:gd name="T30" fmla="*/ 121 w 177"/>
                <a:gd name="T31" fmla="*/ 64 h 222"/>
                <a:gd name="T32" fmla="*/ 107 w 177"/>
                <a:gd name="T33" fmla="*/ 62 h 222"/>
                <a:gd name="T34" fmla="*/ 104 w 177"/>
                <a:gd name="T35" fmla="*/ 53 h 222"/>
                <a:gd name="T36" fmla="*/ 94 w 177"/>
                <a:gd name="T37" fmla="*/ 51 h 222"/>
                <a:gd name="T38" fmla="*/ 93 w 177"/>
                <a:gd name="T39" fmla="*/ 47 h 222"/>
                <a:gd name="T40" fmla="*/ 70 w 177"/>
                <a:gd name="T41" fmla="*/ 47 h 222"/>
                <a:gd name="T42" fmla="*/ 67 w 177"/>
                <a:gd name="T43" fmla="*/ 42 h 222"/>
                <a:gd name="T44" fmla="*/ 61 w 177"/>
                <a:gd name="T45" fmla="*/ 32 h 222"/>
                <a:gd name="T46" fmla="*/ 60 w 177"/>
                <a:gd name="T47" fmla="*/ 3 h 222"/>
                <a:gd name="T48" fmla="*/ 40 w 177"/>
                <a:gd name="T49" fmla="*/ 0 h 222"/>
                <a:gd name="T50" fmla="*/ 39 w 177"/>
                <a:gd name="T51" fmla="*/ 11 h 222"/>
                <a:gd name="T52" fmla="*/ 31 w 177"/>
                <a:gd name="T53" fmla="*/ 10 h 222"/>
                <a:gd name="T54" fmla="*/ 28 w 177"/>
                <a:gd name="T55" fmla="*/ 17 h 222"/>
                <a:gd name="T56" fmla="*/ 23 w 177"/>
                <a:gd name="T57" fmla="*/ 21 h 222"/>
                <a:gd name="T58" fmla="*/ 13 w 177"/>
                <a:gd name="T59" fmla="*/ 25 h 222"/>
                <a:gd name="T60" fmla="*/ 3 w 177"/>
                <a:gd name="T61" fmla="*/ 24 h 222"/>
                <a:gd name="T62" fmla="*/ 14 w 177"/>
                <a:gd name="T63" fmla="*/ 41 h 222"/>
                <a:gd name="T64" fmla="*/ 13 w 177"/>
                <a:gd name="T65" fmla="*/ 55 h 222"/>
                <a:gd name="T66" fmla="*/ 6 w 177"/>
                <a:gd name="T67" fmla="*/ 61 h 222"/>
                <a:gd name="T68" fmla="*/ 6 w 177"/>
                <a:gd name="T69" fmla="*/ 80 h 222"/>
                <a:gd name="T70" fmla="*/ 4 w 177"/>
                <a:gd name="T71" fmla="*/ 106 h 222"/>
                <a:gd name="T72" fmla="*/ 9 w 177"/>
                <a:gd name="T73" fmla="*/ 114 h 222"/>
                <a:gd name="T74" fmla="*/ 4 w 177"/>
                <a:gd name="T75" fmla="*/ 116 h 222"/>
                <a:gd name="T76" fmla="*/ 0 w 177"/>
                <a:gd name="T77" fmla="*/ 128 h 222"/>
                <a:gd name="T78" fmla="*/ 8 w 177"/>
                <a:gd name="T79" fmla="*/ 135 h 222"/>
                <a:gd name="T80" fmla="*/ 9 w 177"/>
                <a:gd name="T81" fmla="*/ 151 h 222"/>
                <a:gd name="T82" fmla="*/ 23 w 177"/>
                <a:gd name="T83" fmla="*/ 163 h 222"/>
                <a:gd name="T84" fmla="*/ 23 w 177"/>
                <a:gd name="T85" fmla="*/ 195 h 222"/>
                <a:gd name="T86" fmla="*/ 34 w 177"/>
                <a:gd name="T87" fmla="*/ 214 h 222"/>
                <a:gd name="T88" fmla="*/ 44 w 177"/>
                <a:gd name="T89" fmla="*/ 221 h 222"/>
                <a:gd name="T90" fmla="*/ 53 w 177"/>
                <a:gd name="T91" fmla="*/ 202 h 222"/>
                <a:gd name="T92" fmla="*/ 67 w 177"/>
                <a:gd name="T93" fmla="*/ 213 h 222"/>
                <a:gd name="T94" fmla="*/ 83 w 177"/>
                <a:gd name="T95" fmla="*/ 219 h 222"/>
                <a:gd name="T96" fmla="*/ 100 w 177"/>
                <a:gd name="T97" fmla="*/ 206 h 222"/>
                <a:gd name="T98" fmla="*/ 106 w 177"/>
                <a:gd name="T99" fmla="*/ 181 h 222"/>
                <a:gd name="T100" fmla="*/ 111 w 177"/>
                <a:gd name="T101" fmla="*/ 169 h 222"/>
                <a:gd name="T102" fmla="*/ 127 w 177"/>
                <a:gd name="T103" fmla="*/ 162 h 222"/>
                <a:gd name="T104" fmla="*/ 138 w 177"/>
                <a:gd name="T105" fmla="*/ 153 h 222"/>
                <a:gd name="T106" fmla="*/ 155 w 177"/>
                <a:gd name="T107" fmla="*/ 159 h 222"/>
                <a:gd name="T108" fmla="*/ 162 w 177"/>
                <a:gd name="T109" fmla="*/ 17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7" h="222">
                  <a:moveTo>
                    <a:pt x="162" y="170"/>
                  </a:moveTo>
                  <a:lnTo>
                    <a:pt x="169" y="169"/>
                  </a:lnTo>
                  <a:lnTo>
                    <a:pt x="174" y="159"/>
                  </a:lnTo>
                  <a:lnTo>
                    <a:pt x="176" y="141"/>
                  </a:lnTo>
                  <a:lnTo>
                    <a:pt x="171" y="137"/>
                  </a:lnTo>
                  <a:lnTo>
                    <a:pt x="169" y="126"/>
                  </a:lnTo>
                  <a:lnTo>
                    <a:pt x="161" y="124"/>
                  </a:lnTo>
                  <a:lnTo>
                    <a:pt x="160" y="113"/>
                  </a:lnTo>
                  <a:lnTo>
                    <a:pt x="141" y="114"/>
                  </a:lnTo>
                  <a:lnTo>
                    <a:pt x="136" y="108"/>
                  </a:lnTo>
                  <a:lnTo>
                    <a:pt x="131" y="108"/>
                  </a:lnTo>
                  <a:lnTo>
                    <a:pt x="131" y="87"/>
                  </a:lnTo>
                  <a:lnTo>
                    <a:pt x="138" y="81"/>
                  </a:lnTo>
                  <a:lnTo>
                    <a:pt x="131" y="80"/>
                  </a:lnTo>
                  <a:lnTo>
                    <a:pt x="129" y="66"/>
                  </a:lnTo>
                  <a:lnTo>
                    <a:pt x="121" y="64"/>
                  </a:lnTo>
                  <a:lnTo>
                    <a:pt x="107" y="62"/>
                  </a:lnTo>
                  <a:lnTo>
                    <a:pt x="104" y="53"/>
                  </a:lnTo>
                  <a:lnTo>
                    <a:pt x="94" y="51"/>
                  </a:lnTo>
                  <a:lnTo>
                    <a:pt x="93" y="47"/>
                  </a:lnTo>
                  <a:lnTo>
                    <a:pt x="70" y="47"/>
                  </a:lnTo>
                  <a:lnTo>
                    <a:pt x="67" y="42"/>
                  </a:lnTo>
                  <a:lnTo>
                    <a:pt x="61" y="32"/>
                  </a:lnTo>
                  <a:lnTo>
                    <a:pt x="60" y="3"/>
                  </a:lnTo>
                  <a:lnTo>
                    <a:pt x="40" y="0"/>
                  </a:lnTo>
                  <a:lnTo>
                    <a:pt x="39" y="11"/>
                  </a:lnTo>
                  <a:lnTo>
                    <a:pt x="31" y="10"/>
                  </a:lnTo>
                  <a:lnTo>
                    <a:pt x="28" y="17"/>
                  </a:lnTo>
                  <a:lnTo>
                    <a:pt x="23" y="21"/>
                  </a:lnTo>
                  <a:lnTo>
                    <a:pt x="13" y="25"/>
                  </a:lnTo>
                  <a:lnTo>
                    <a:pt x="3" y="24"/>
                  </a:lnTo>
                  <a:lnTo>
                    <a:pt x="14" y="41"/>
                  </a:lnTo>
                  <a:lnTo>
                    <a:pt x="13" y="55"/>
                  </a:lnTo>
                  <a:lnTo>
                    <a:pt x="6" y="61"/>
                  </a:lnTo>
                  <a:lnTo>
                    <a:pt x="6" y="80"/>
                  </a:lnTo>
                  <a:lnTo>
                    <a:pt x="4" y="106"/>
                  </a:lnTo>
                  <a:lnTo>
                    <a:pt x="9" y="114"/>
                  </a:lnTo>
                  <a:lnTo>
                    <a:pt x="4" y="116"/>
                  </a:lnTo>
                  <a:lnTo>
                    <a:pt x="0" y="128"/>
                  </a:lnTo>
                  <a:lnTo>
                    <a:pt x="8" y="135"/>
                  </a:lnTo>
                  <a:lnTo>
                    <a:pt x="9" y="151"/>
                  </a:lnTo>
                  <a:lnTo>
                    <a:pt x="23" y="163"/>
                  </a:lnTo>
                  <a:lnTo>
                    <a:pt x="23" y="195"/>
                  </a:lnTo>
                  <a:lnTo>
                    <a:pt x="34" y="214"/>
                  </a:lnTo>
                  <a:lnTo>
                    <a:pt x="44" y="221"/>
                  </a:lnTo>
                  <a:lnTo>
                    <a:pt x="53" y="202"/>
                  </a:lnTo>
                  <a:lnTo>
                    <a:pt x="67" y="213"/>
                  </a:lnTo>
                  <a:lnTo>
                    <a:pt x="83" y="219"/>
                  </a:lnTo>
                  <a:lnTo>
                    <a:pt x="100" y="206"/>
                  </a:lnTo>
                  <a:lnTo>
                    <a:pt x="106" y="181"/>
                  </a:lnTo>
                  <a:lnTo>
                    <a:pt x="111" y="169"/>
                  </a:lnTo>
                  <a:lnTo>
                    <a:pt x="127" y="162"/>
                  </a:lnTo>
                  <a:lnTo>
                    <a:pt x="138" y="153"/>
                  </a:lnTo>
                  <a:lnTo>
                    <a:pt x="155" y="159"/>
                  </a:lnTo>
                  <a:lnTo>
                    <a:pt x="162" y="17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18" name="Freeform 65">
              <a:extLst>
                <a:ext uri="{FF2B5EF4-FFF2-40B4-BE49-F238E27FC236}">
                  <a16:creationId xmlns:a16="http://schemas.microsoft.com/office/drawing/2014/main" id="{19447CAC-BBE7-4EA6-87A3-F1B5A49EC090}"/>
                </a:ext>
              </a:extLst>
            </p:cNvPr>
            <p:cNvSpPr>
              <a:spLocks/>
            </p:cNvSpPr>
            <p:nvPr/>
          </p:nvSpPr>
          <p:spPr bwMode="auto">
            <a:xfrm>
              <a:off x="2486312" y="3977157"/>
              <a:ext cx="67763" cy="85621"/>
            </a:xfrm>
            <a:custGeom>
              <a:avLst/>
              <a:gdLst>
                <a:gd name="T0" fmla="*/ 9 w 51"/>
                <a:gd name="T1" fmla="*/ 2 h 64"/>
                <a:gd name="T2" fmla="*/ 4 w 51"/>
                <a:gd name="T3" fmla="*/ 10 h 64"/>
                <a:gd name="T4" fmla="*/ 4 w 51"/>
                <a:gd name="T5" fmla="*/ 51 h 64"/>
                <a:gd name="T6" fmla="*/ 0 w 51"/>
                <a:gd name="T7" fmla="*/ 55 h 64"/>
                <a:gd name="T8" fmla="*/ 6 w 51"/>
                <a:gd name="T9" fmla="*/ 61 h 64"/>
                <a:gd name="T10" fmla="*/ 22 w 51"/>
                <a:gd name="T11" fmla="*/ 63 h 64"/>
                <a:gd name="T12" fmla="*/ 25 w 51"/>
                <a:gd name="T13" fmla="*/ 54 h 64"/>
                <a:gd name="T14" fmla="*/ 30 w 51"/>
                <a:gd name="T15" fmla="*/ 46 h 64"/>
                <a:gd name="T16" fmla="*/ 38 w 51"/>
                <a:gd name="T17" fmla="*/ 38 h 64"/>
                <a:gd name="T18" fmla="*/ 50 w 51"/>
                <a:gd name="T19" fmla="*/ 38 h 64"/>
                <a:gd name="T20" fmla="*/ 47 w 51"/>
                <a:gd name="T21" fmla="*/ 28 h 64"/>
                <a:gd name="T22" fmla="*/ 37 w 51"/>
                <a:gd name="T23" fmla="*/ 22 h 64"/>
                <a:gd name="T24" fmla="*/ 35 w 51"/>
                <a:gd name="T25" fmla="*/ 13 h 64"/>
                <a:gd name="T26" fmla="*/ 28 w 51"/>
                <a:gd name="T27" fmla="*/ 10 h 64"/>
                <a:gd name="T28" fmla="*/ 18 w 51"/>
                <a:gd name="T29" fmla="*/ 8 h 64"/>
                <a:gd name="T30" fmla="*/ 16 w 51"/>
                <a:gd name="T31" fmla="*/ 0 h 64"/>
                <a:gd name="T32" fmla="*/ 9 w 51"/>
                <a:gd name="T33" fmla="*/ 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 h="64">
                  <a:moveTo>
                    <a:pt x="9" y="2"/>
                  </a:moveTo>
                  <a:lnTo>
                    <a:pt x="4" y="10"/>
                  </a:lnTo>
                  <a:lnTo>
                    <a:pt x="4" y="51"/>
                  </a:lnTo>
                  <a:lnTo>
                    <a:pt x="0" y="55"/>
                  </a:lnTo>
                  <a:lnTo>
                    <a:pt x="6" y="61"/>
                  </a:lnTo>
                  <a:lnTo>
                    <a:pt x="22" y="63"/>
                  </a:lnTo>
                  <a:lnTo>
                    <a:pt x="25" y="54"/>
                  </a:lnTo>
                  <a:lnTo>
                    <a:pt x="30" y="46"/>
                  </a:lnTo>
                  <a:lnTo>
                    <a:pt x="38" y="38"/>
                  </a:lnTo>
                  <a:lnTo>
                    <a:pt x="50" y="38"/>
                  </a:lnTo>
                  <a:lnTo>
                    <a:pt x="47" y="28"/>
                  </a:lnTo>
                  <a:lnTo>
                    <a:pt x="37" y="22"/>
                  </a:lnTo>
                  <a:lnTo>
                    <a:pt x="35" y="13"/>
                  </a:lnTo>
                  <a:lnTo>
                    <a:pt x="28" y="10"/>
                  </a:lnTo>
                  <a:lnTo>
                    <a:pt x="18" y="8"/>
                  </a:lnTo>
                  <a:lnTo>
                    <a:pt x="16" y="0"/>
                  </a:lnTo>
                  <a:lnTo>
                    <a:pt x="9" y="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19" name="Freeform 66">
              <a:extLst>
                <a:ext uri="{FF2B5EF4-FFF2-40B4-BE49-F238E27FC236}">
                  <a16:creationId xmlns:a16="http://schemas.microsoft.com/office/drawing/2014/main" id="{A9AD4DFA-FC44-4A64-AEBA-B71AA3163168}"/>
                </a:ext>
              </a:extLst>
            </p:cNvPr>
            <p:cNvSpPr>
              <a:spLocks/>
            </p:cNvSpPr>
            <p:nvPr/>
          </p:nvSpPr>
          <p:spPr bwMode="auto">
            <a:xfrm>
              <a:off x="2437570" y="5290015"/>
              <a:ext cx="72518" cy="49946"/>
            </a:xfrm>
            <a:custGeom>
              <a:avLst/>
              <a:gdLst>
                <a:gd name="T0" fmla="*/ 17 w 55"/>
                <a:gd name="T1" fmla="*/ 9 h 37"/>
                <a:gd name="T2" fmla="*/ 2 w 55"/>
                <a:gd name="T3" fmla="*/ 12 h 37"/>
                <a:gd name="T4" fmla="*/ 0 w 55"/>
                <a:gd name="T5" fmla="*/ 25 h 37"/>
                <a:gd name="T6" fmla="*/ 3 w 55"/>
                <a:gd name="T7" fmla="*/ 36 h 37"/>
                <a:gd name="T8" fmla="*/ 14 w 55"/>
                <a:gd name="T9" fmla="*/ 25 h 37"/>
                <a:gd name="T10" fmla="*/ 21 w 55"/>
                <a:gd name="T11" fmla="*/ 30 h 37"/>
                <a:gd name="T12" fmla="*/ 42 w 55"/>
                <a:gd name="T13" fmla="*/ 24 h 37"/>
                <a:gd name="T14" fmla="*/ 54 w 55"/>
                <a:gd name="T15" fmla="*/ 18 h 37"/>
                <a:gd name="T16" fmla="*/ 39 w 55"/>
                <a:gd name="T17" fmla="*/ 9 h 37"/>
                <a:gd name="T18" fmla="*/ 31 w 55"/>
                <a:gd name="T19" fmla="*/ 0 h 37"/>
                <a:gd name="T20" fmla="*/ 29 w 55"/>
                <a:gd name="T21" fmla="*/ 11 h 37"/>
                <a:gd name="T22" fmla="*/ 17 w 55"/>
                <a:gd name="T23"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37">
                  <a:moveTo>
                    <a:pt x="17" y="9"/>
                  </a:moveTo>
                  <a:lnTo>
                    <a:pt x="2" y="12"/>
                  </a:lnTo>
                  <a:lnTo>
                    <a:pt x="0" y="25"/>
                  </a:lnTo>
                  <a:lnTo>
                    <a:pt x="3" y="36"/>
                  </a:lnTo>
                  <a:lnTo>
                    <a:pt x="14" y="25"/>
                  </a:lnTo>
                  <a:lnTo>
                    <a:pt x="21" y="30"/>
                  </a:lnTo>
                  <a:lnTo>
                    <a:pt x="42" y="24"/>
                  </a:lnTo>
                  <a:lnTo>
                    <a:pt x="54" y="18"/>
                  </a:lnTo>
                  <a:lnTo>
                    <a:pt x="39" y="9"/>
                  </a:lnTo>
                  <a:lnTo>
                    <a:pt x="31" y="0"/>
                  </a:lnTo>
                  <a:lnTo>
                    <a:pt x="29" y="11"/>
                  </a:lnTo>
                  <a:lnTo>
                    <a:pt x="17" y="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20" name="Freeform 67">
              <a:extLst>
                <a:ext uri="{FF2B5EF4-FFF2-40B4-BE49-F238E27FC236}">
                  <a16:creationId xmlns:a16="http://schemas.microsoft.com/office/drawing/2014/main" id="{DD36E372-4B56-4F9E-ABE1-EE2B2014F514}"/>
                </a:ext>
              </a:extLst>
            </p:cNvPr>
            <p:cNvSpPr>
              <a:spLocks/>
            </p:cNvSpPr>
            <p:nvPr/>
          </p:nvSpPr>
          <p:spPr bwMode="auto">
            <a:xfrm>
              <a:off x="2601628" y="2342032"/>
              <a:ext cx="48742" cy="23784"/>
            </a:xfrm>
            <a:custGeom>
              <a:avLst/>
              <a:gdLst>
                <a:gd name="T0" fmla="*/ 10 w 36"/>
                <a:gd name="T1" fmla="*/ 0 h 18"/>
                <a:gd name="T2" fmla="*/ 0 w 36"/>
                <a:gd name="T3" fmla="*/ 17 h 18"/>
                <a:gd name="T4" fmla="*/ 17 w 36"/>
                <a:gd name="T5" fmla="*/ 17 h 18"/>
                <a:gd name="T6" fmla="*/ 35 w 36"/>
                <a:gd name="T7" fmla="*/ 10 h 18"/>
                <a:gd name="T8" fmla="*/ 10 w 36"/>
                <a:gd name="T9" fmla="*/ 0 h 18"/>
              </a:gdLst>
              <a:ahLst/>
              <a:cxnLst>
                <a:cxn ang="0">
                  <a:pos x="T0" y="T1"/>
                </a:cxn>
                <a:cxn ang="0">
                  <a:pos x="T2" y="T3"/>
                </a:cxn>
                <a:cxn ang="0">
                  <a:pos x="T4" y="T5"/>
                </a:cxn>
                <a:cxn ang="0">
                  <a:pos x="T6" y="T7"/>
                </a:cxn>
                <a:cxn ang="0">
                  <a:pos x="T8" y="T9"/>
                </a:cxn>
              </a:cxnLst>
              <a:rect l="0" t="0" r="r" b="b"/>
              <a:pathLst>
                <a:path w="36" h="18">
                  <a:moveTo>
                    <a:pt x="10" y="0"/>
                  </a:moveTo>
                  <a:lnTo>
                    <a:pt x="0" y="17"/>
                  </a:lnTo>
                  <a:lnTo>
                    <a:pt x="17" y="17"/>
                  </a:lnTo>
                  <a:lnTo>
                    <a:pt x="35" y="10"/>
                  </a:lnTo>
                  <a:lnTo>
                    <a:pt x="10"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21" name="Freeform 68">
              <a:extLst>
                <a:ext uri="{FF2B5EF4-FFF2-40B4-BE49-F238E27FC236}">
                  <a16:creationId xmlns:a16="http://schemas.microsoft.com/office/drawing/2014/main" id="{0008B4FD-40B6-41C1-86AF-FF4C72386502}"/>
                </a:ext>
              </a:extLst>
            </p:cNvPr>
            <p:cNvSpPr>
              <a:spLocks/>
            </p:cNvSpPr>
            <p:nvPr/>
          </p:nvSpPr>
          <p:spPr bwMode="auto">
            <a:xfrm>
              <a:off x="594889" y="2305167"/>
              <a:ext cx="634833" cy="522051"/>
            </a:xfrm>
            <a:custGeom>
              <a:avLst/>
              <a:gdLst>
                <a:gd name="T0" fmla="*/ 229 w 476"/>
                <a:gd name="T1" fmla="*/ 10 h 391"/>
                <a:gd name="T2" fmla="*/ 191 w 476"/>
                <a:gd name="T3" fmla="*/ 25 h 391"/>
                <a:gd name="T4" fmla="*/ 143 w 476"/>
                <a:gd name="T5" fmla="*/ 55 h 391"/>
                <a:gd name="T6" fmla="*/ 88 w 476"/>
                <a:gd name="T7" fmla="*/ 75 h 391"/>
                <a:gd name="T8" fmla="*/ 158 w 476"/>
                <a:gd name="T9" fmla="*/ 112 h 391"/>
                <a:gd name="T10" fmla="*/ 108 w 476"/>
                <a:gd name="T11" fmla="*/ 122 h 391"/>
                <a:gd name="T12" fmla="*/ 83 w 476"/>
                <a:gd name="T13" fmla="*/ 115 h 391"/>
                <a:gd name="T14" fmla="*/ 58 w 476"/>
                <a:gd name="T15" fmla="*/ 125 h 391"/>
                <a:gd name="T16" fmla="*/ 66 w 476"/>
                <a:gd name="T17" fmla="*/ 143 h 391"/>
                <a:gd name="T18" fmla="*/ 74 w 476"/>
                <a:gd name="T19" fmla="*/ 165 h 391"/>
                <a:gd name="T20" fmla="*/ 123 w 476"/>
                <a:gd name="T21" fmla="*/ 153 h 391"/>
                <a:gd name="T22" fmla="*/ 121 w 476"/>
                <a:gd name="T23" fmla="*/ 167 h 391"/>
                <a:gd name="T24" fmla="*/ 96 w 476"/>
                <a:gd name="T25" fmla="*/ 185 h 391"/>
                <a:gd name="T26" fmla="*/ 79 w 476"/>
                <a:gd name="T27" fmla="*/ 190 h 391"/>
                <a:gd name="T28" fmla="*/ 56 w 476"/>
                <a:gd name="T29" fmla="*/ 215 h 391"/>
                <a:gd name="T30" fmla="*/ 43 w 476"/>
                <a:gd name="T31" fmla="*/ 238 h 391"/>
                <a:gd name="T32" fmla="*/ 38 w 476"/>
                <a:gd name="T33" fmla="*/ 253 h 391"/>
                <a:gd name="T34" fmla="*/ 66 w 476"/>
                <a:gd name="T35" fmla="*/ 265 h 391"/>
                <a:gd name="T36" fmla="*/ 74 w 476"/>
                <a:gd name="T37" fmla="*/ 273 h 391"/>
                <a:gd name="T38" fmla="*/ 68 w 476"/>
                <a:gd name="T39" fmla="*/ 301 h 391"/>
                <a:gd name="T40" fmla="*/ 98 w 476"/>
                <a:gd name="T41" fmla="*/ 299 h 391"/>
                <a:gd name="T42" fmla="*/ 119 w 476"/>
                <a:gd name="T43" fmla="*/ 316 h 391"/>
                <a:gd name="T44" fmla="*/ 20 w 476"/>
                <a:gd name="T45" fmla="*/ 373 h 391"/>
                <a:gd name="T46" fmla="*/ 1 w 476"/>
                <a:gd name="T47" fmla="*/ 390 h 391"/>
                <a:gd name="T48" fmla="*/ 138 w 476"/>
                <a:gd name="T49" fmla="*/ 330 h 391"/>
                <a:gd name="T50" fmla="*/ 157 w 476"/>
                <a:gd name="T51" fmla="*/ 315 h 391"/>
                <a:gd name="T52" fmla="*/ 174 w 476"/>
                <a:gd name="T53" fmla="*/ 289 h 391"/>
                <a:gd name="T54" fmla="*/ 223 w 476"/>
                <a:gd name="T55" fmla="*/ 235 h 391"/>
                <a:gd name="T56" fmla="*/ 209 w 476"/>
                <a:gd name="T57" fmla="*/ 268 h 391"/>
                <a:gd name="T58" fmla="*/ 206 w 476"/>
                <a:gd name="T59" fmla="*/ 285 h 391"/>
                <a:gd name="T60" fmla="*/ 221 w 476"/>
                <a:gd name="T61" fmla="*/ 293 h 391"/>
                <a:gd name="T62" fmla="*/ 229 w 476"/>
                <a:gd name="T63" fmla="*/ 291 h 391"/>
                <a:gd name="T64" fmla="*/ 236 w 476"/>
                <a:gd name="T65" fmla="*/ 285 h 391"/>
                <a:gd name="T66" fmla="*/ 244 w 476"/>
                <a:gd name="T67" fmla="*/ 278 h 391"/>
                <a:gd name="T68" fmla="*/ 249 w 476"/>
                <a:gd name="T69" fmla="*/ 271 h 391"/>
                <a:gd name="T70" fmla="*/ 251 w 476"/>
                <a:gd name="T71" fmla="*/ 268 h 391"/>
                <a:gd name="T72" fmla="*/ 264 w 476"/>
                <a:gd name="T73" fmla="*/ 260 h 391"/>
                <a:gd name="T74" fmla="*/ 285 w 476"/>
                <a:gd name="T75" fmla="*/ 238 h 391"/>
                <a:gd name="T76" fmla="*/ 303 w 476"/>
                <a:gd name="T77" fmla="*/ 249 h 391"/>
                <a:gd name="T78" fmla="*/ 347 w 476"/>
                <a:gd name="T79" fmla="*/ 264 h 391"/>
                <a:gd name="T80" fmla="*/ 353 w 476"/>
                <a:gd name="T81" fmla="*/ 276 h 391"/>
                <a:gd name="T82" fmla="*/ 370 w 476"/>
                <a:gd name="T83" fmla="*/ 291 h 391"/>
                <a:gd name="T84" fmla="*/ 385 w 476"/>
                <a:gd name="T85" fmla="*/ 301 h 391"/>
                <a:gd name="T86" fmla="*/ 403 w 476"/>
                <a:gd name="T87" fmla="*/ 297 h 391"/>
                <a:gd name="T88" fmla="*/ 417 w 476"/>
                <a:gd name="T89" fmla="*/ 312 h 391"/>
                <a:gd name="T90" fmla="*/ 429 w 476"/>
                <a:gd name="T91" fmla="*/ 308 h 391"/>
                <a:gd name="T92" fmla="*/ 428 w 476"/>
                <a:gd name="T93" fmla="*/ 328 h 391"/>
                <a:gd name="T94" fmla="*/ 443 w 476"/>
                <a:gd name="T95" fmla="*/ 336 h 391"/>
                <a:gd name="T96" fmla="*/ 454 w 476"/>
                <a:gd name="T97" fmla="*/ 354 h 391"/>
                <a:gd name="T98" fmla="*/ 475 w 476"/>
                <a:gd name="T99" fmla="*/ 344 h 391"/>
                <a:gd name="T100" fmla="*/ 450 w 476"/>
                <a:gd name="T101" fmla="*/ 315 h 391"/>
                <a:gd name="T102" fmla="*/ 439 w 476"/>
                <a:gd name="T103" fmla="*/ 294 h 391"/>
                <a:gd name="T104" fmla="*/ 409 w 476"/>
                <a:gd name="T105" fmla="*/ 268 h 391"/>
                <a:gd name="T106" fmla="*/ 398 w 476"/>
                <a:gd name="T107" fmla="*/ 279 h 391"/>
                <a:gd name="T108" fmla="*/ 382 w 476"/>
                <a:gd name="T109" fmla="*/ 279 h 391"/>
                <a:gd name="T110" fmla="*/ 372 w 476"/>
                <a:gd name="T111" fmla="*/ 255 h 391"/>
                <a:gd name="T112" fmla="*/ 423 w 476"/>
                <a:gd name="T113" fmla="*/ 40 h 391"/>
                <a:gd name="T114" fmla="*/ 373 w 476"/>
                <a:gd name="T115" fmla="*/ 30 h 391"/>
                <a:gd name="T116" fmla="*/ 348 w 476"/>
                <a:gd name="T117" fmla="*/ 21 h 391"/>
                <a:gd name="T118" fmla="*/ 288 w 476"/>
                <a:gd name="T119" fmla="*/ 4 h 391"/>
                <a:gd name="T120" fmla="*/ 251 w 476"/>
                <a:gd name="T121" fmla="*/ 15 h 391"/>
                <a:gd name="T122" fmla="*/ 240 w 476"/>
                <a:gd name="T12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6" h="391">
                  <a:moveTo>
                    <a:pt x="240" y="0"/>
                  </a:moveTo>
                  <a:lnTo>
                    <a:pt x="229" y="10"/>
                  </a:lnTo>
                  <a:lnTo>
                    <a:pt x="198" y="10"/>
                  </a:lnTo>
                  <a:lnTo>
                    <a:pt x="191" y="25"/>
                  </a:lnTo>
                  <a:lnTo>
                    <a:pt x="156" y="27"/>
                  </a:lnTo>
                  <a:lnTo>
                    <a:pt x="143" y="55"/>
                  </a:lnTo>
                  <a:lnTo>
                    <a:pt x="93" y="63"/>
                  </a:lnTo>
                  <a:lnTo>
                    <a:pt x="88" y="75"/>
                  </a:lnTo>
                  <a:lnTo>
                    <a:pt x="115" y="95"/>
                  </a:lnTo>
                  <a:lnTo>
                    <a:pt x="158" y="112"/>
                  </a:lnTo>
                  <a:lnTo>
                    <a:pt x="128" y="117"/>
                  </a:lnTo>
                  <a:lnTo>
                    <a:pt x="108" y="122"/>
                  </a:lnTo>
                  <a:lnTo>
                    <a:pt x="98" y="110"/>
                  </a:lnTo>
                  <a:lnTo>
                    <a:pt x="83" y="115"/>
                  </a:lnTo>
                  <a:lnTo>
                    <a:pt x="83" y="122"/>
                  </a:lnTo>
                  <a:lnTo>
                    <a:pt x="58" y="125"/>
                  </a:lnTo>
                  <a:lnTo>
                    <a:pt x="51" y="135"/>
                  </a:lnTo>
                  <a:lnTo>
                    <a:pt x="66" y="143"/>
                  </a:lnTo>
                  <a:lnTo>
                    <a:pt x="64" y="158"/>
                  </a:lnTo>
                  <a:lnTo>
                    <a:pt x="74" y="165"/>
                  </a:lnTo>
                  <a:lnTo>
                    <a:pt x="103" y="165"/>
                  </a:lnTo>
                  <a:lnTo>
                    <a:pt x="123" y="153"/>
                  </a:lnTo>
                  <a:lnTo>
                    <a:pt x="130" y="160"/>
                  </a:lnTo>
                  <a:lnTo>
                    <a:pt x="121" y="167"/>
                  </a:lnTo>
                  <a:lnTo>
                    <a:pt x="119" y="185"/>
                  </a:lnTo>
                  <a:lnTo>
                    <a:pt x="96" y="185"/>
                  </a:lnTo>
                  <a:lnTo>
                    <a:pt x="91" y="200"/>
                  </a:lnTo>
                  <a:lnTo>
                    <a:pt x="79" y="190"/>
                  </a:lnTo>
                  <a:lnTo>
                    <a:pt x="58" y="200"/>
                  </a:lnTo>
                  <a:lnTo>
                    <a:pt x="56" y="215"/>
                  </a:lnTo>
                  <a:lnTo>
                    <a:pt x="36" y="225"/>
                  </a:lnTo>
                  <a:lnTo>
                    <a:pt x="43" y="238"/>
                  </a:lnTo>
                  <a:lnTo>
                    <a:pt x="56" y="242"/>
                  </a:lnTo>
                  <a:lnTo>
                    <a:pt x="38" y="253"/>
                  </a:lnTo>
                  <a:lnTo>
                    <a:pt x="51" y="268"/>
                  </a:lnTo>
                  <a:lnTo>
                    <a:pt x="66" y="265"/>
                  </a:lnTo>
                  <a:lnTo>
                    <a:pt x="74" y="253"/>
                  </a:lnTo>
                  <a:lnTo>
                    <a:pt x="74" y="273"/>
                  </a:lnTo>
                  <a:lnTo>
                    <a:pt x="66" y="285"/>
                  </a:lnTo>
                  <a:lnTo>
                    <a:pt x="68" y="301"/>
                  </a:lnTo>
                  <a:lnTo>
                    <a:pt x="91" y="293"/>
                  </a:lnTo>
                  <a:lnTo>
                    <a:pt x="98" y="299"/>
                  </a:lnTo>
                  <a:lnTo>
                    <a:pt x="115" y="293"/>
                  </a:lnTo>
                  <a:lnTo>
                    <a:pt x="119" y="316"/>
                  </a:lnTo>
                  <a:lnTo>
                    <a:pt x="61" y="354"/>
                  </a:lnTo>
                  <a:lnTo>
                    <a:pt x="20" y="373"/>
                  </a:lnTo>
                  <a:lnTo>
                    <a:pt x="0" y="382"/>
                  </a:lnTo>
                  <a:lnTo>
                    <a:pt x="1" y="390"/>
                  </a:lnTo>
                  <a:lnTo>
                    <a:pt x="68" y="377"/>
                  </a:lnTo>
                  <a:lnTo>
                    <a:pt x="138" y="330"/>
                  </a:lnTo>
                  <a:lnTo>
                    <a:pt x="146" y="323"/>
                  </a:lnTo>
                  <a:lnTo>
                    <a:pt x="157" y="315"/>
                  </a:lnTo>
                  <a:lnTo>
                    <a:pt x="177" y="302"/>
                  </a:lnTo>
                  <a:lnTo>
                    <a:pt x="174" y="289"/>
                  </a:lnTo>
                  <a:lnTo>
                    <a:pt x="196" y="268"/>
                  </a:lnTo>
                  <a:lnTo>
                    <a:pt x="223" y="235"/>
                  </a:lnTo>
                  <a:lnTo>
                    <a:pt x="247" y="241"/>
                  </a:lnTo>
                  <a:lnTo>
                    <a:pt x="209" y="268"/>
                  </a:lnTo>
                  <a:lnTo>
                    <a:pt x="216" y="278"/>
                  </a:lnTo>
                  <a:lnTo>
                    <a:pt x="206" y="285"/>
                  </a:lnTo>
                  <a:lnTo>
                    <a:pt x="217" y="293"/>
                  </a:lnTo>
                  <a:lnTo>
                    <a:pt x="221" y="293"/>
                  </a:lnTo>
                  <a:lnTo>
                    <a:pt x="225" y="292"/>
                  </a:lnTo>
                  <a:lnTo>
                    <a:pt x="229" y="291"/>
                  </a:lnTo>
                  <a:lnTo>
                    <a:pt x="233" y="288"/>
                  </a:lnTo>
                  <a:lnTo>
                    <a:pt x="236" y="285"/>
                  </a:lnTo>
                  <a:lnTo>
                    <a:pt x="240" y="281"/>
                  </a:lnTo>
                  <a:lnTo>
                    <a:pt x="244" y="278"/>
                  </a:lnTo>
                  <a:lnTo>
                    <a:pt x="246" y="274"/>
                  </a:lnTo>
                  <a:lnTo>
                    <a:pt x="249" y="271"/>
                  </a:lnTo>
                  <a:lnTo>
                    <a:pt x="251" y="269"/>
                  </a:lnTo>
                  <a:lnTo>
                    <a:pt x="251" y="268"/>
                  </a:lnTo>
                  <a:lnTo>
                    <a:pt x="251" y="267"/>
                  </a:lnTo>
                  <a:lnTo>
                    <a:pt x="264" y="260"/>
                  </a:lnTo>
                  <a:lnTo>
                    <a:pt x="267" y="244"/>
                  </a:lnTo>
                  <a:lnTo>
                    <a:pt x="285" y="238"/>
                  </a:lnTo>
                  <a:lnTo>
                    <a:pt x="290" y="247"/>
                  </a:lnTo>
                  <a:lnTo>
                    <a:pt x="303" y="249"/>
                  </a:lnTo>
                  <a:lnTo>
                    <a:pt x="303" y="261"/>
                  </a:lnTo>
                  <a:lnTo>
                    <a:pt x="347" y="264"/>
                  </a:lnTo>
                  <a:lnTo>
                    <a:pt x="351" y="268"/>
                  </a:lnTo>
                  <a:lnTo>
                    <a:pt x="353" y="276"/>
                  </a:lnTo>
                  <a:lnTo>
                    <a:pt x="368" y="280"/>
                  </a:lnTo>
                  <a:lnTo>
                    <a:pt x="370" y="291"/>
                  </a:lnTo>
                  <a:lnTo>
                    <a:pt x="382" y="290"/>
                  </a:lnTo>
                  <a:lnTo>
                    <a:pt x="385" y="301"/>
                  </a:lnTo>
                  <a:lnTo>
                    <a:pt x="397" y="307"/>
                  </a:lnTo>
                  <a:lnTo>
                    <a:pt x="403" y="297"/>
                  </a:lnTo>
                  <a:lnTo>
                    <a:pt x="409" y="307"/>
                  </a:lnTo>
                  <a:lnTo>
                    <a:pt x="417" y="312"/>
                  </a:lnTo>
                  <a:lnTo>
                    <a:pt x="423" y="307"/>
                  </a:lnTo>
                  <a:lnTo>
                    <a:pt x="429" y="308"/>
                  </a:lnTo>
                  <a:lnTo>
                    <a:pt x="428" y="315"/>
                  </a:lnTo>
                  <a:lnTo>
                    <a:pt x="428" y="328"/>
                  </a:lnTo>
                  <a:lnTo>
                    <a:pt x="434" y="335"/>
                  </a:lnTo>
                  <a:lnTo>
                    <a:pt x="443" y="336"/>
                  </a:lnTo>
                  <a:lnTo>
                    <a:pt x="443" y="348"/>
                  </a:lnTo>
                  <a:lnTo>
                    <a:pt x="454" y="354"/>
                  </a:lnTo>
                  <a:lnTo>
                    <a:pt x="465" y="354"/>
                  </a:lnTo>
                  <a:lnTo>
                    <a:pt x="475" y="344"/>
                  </a:lnTo>
                  <a:lnTo>
                    <a:pt x="456" y="339"/>
                  </a:lnTo>
                  <a:lnTo>
                    <a:pt x="450" y="315"/>
                  </a:lnTo>
                  <a:lnTo>
                    <a:pt x="443" y="312"/>
                  </a:lnTo>
                  <a:lnTo>
                    <a:pt x="439" y="294"/>
                  </a:lnTo>
                  <a:lnTo>
                    <a:pt x="417" y="270"/>
                  </a:lnTo>
                  <a:lnTo>
                    <a:pt x="409" y="268"/>
                  </a:lnTo>
                  <a:lnTo>
                    <a:pt x="406" y="279"/>
                  </a:lnTo>
                  <a:lnTo>
                    <a:pt x="398" y="279"/>
                  </a:lnTo>
                  <a:lnTo>
                    <a:pt x="395" y="287"/>
                  </a:lnTo>
                  <a:lnTo>
                    <a:pt x="382" y="279"/>
                  </a:lnTo>
                  <a:lnTo>
                    <a:pt x="378" y="260"/>
                  </a:lnTo>
                  <a:lnTo>
                    <a:pt x="372" y="255"/>
                  </a:lnTo>
                  <a:lnTo>
                    <a:pt x="359" y="260"/>
                  </a:lnTo>
                  <a:lnTo>
                    <a:pt x="423" y="40"/>
                  </a:lnTo>
                  <a:lnTo>
                    <a:pt x="408" y="26"/>
                  </a:lnTo>
                  <a:lnTo>
                    <a:pt x="373" y="30"/>
                  </a:lnTo>
                  <a:lnTo>
                    <a:pt x="358" y="31"/>
                  </a:lnTo>
                  <a:lnTo>
                    <a:pt x="348" y="21"/>
                  </a:lnTo>
                  <a:lnTo>
                    <a:pt x="303" y="25"/>
                  </a:lnTo>
                  <a:lnTo>
                    <a:pt x="288" y="4"/>
                  </a:lnTo>
                  <a:lnTo>
                    <a:pt x="273" y="18"/>
                  </a:lnTo>
                  <a:lnTo>
                    <a:pt x="251" y="15"/>
                  </a:lnTo>
                  <a:lnTo>
                    <a:pt x="251" y="1"/>
                  </a:lnTo>
                  <a:lnTo>
                    <a:pt x="240"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22" name="Freeform 69">
              <a:extLst>
                <a:ext uri="{FF2B5EF4-FFF2-40B4-BE49-F238E27FC236}">
                  <a16:creationId xmlns:a16="http://schemas.microsoft.com/office/drawing/2014/main" id="{F873B27F-5BD4-4D3F-AEDB-B55D8AC64746}"/>
                </a:ext>
              </a:extLst>
            </p:cNvPr>
            <p:cNvSpPr>
              <a:spLocks/>
            </p:cNvSpPr>
            <p:nvPr/>
          </p:nvSpPr>
          <p:spPr bwMode="auto">
            <a:xfrm>
              <a:off x="1234478" y="2965163"/>
              <a:ext cx="1075888" cy="600537"/>
            </a:xfrm>
            <a:custGeom>
              <a:avLst/>
              <a:gdLst>
                <a:gd name="T0" fmla="*/ 488 w 905"/>
                <a:gd name="T1" fmla="*/ 10 h 505"/>
                <a:gd name="T2" fmla="*/ 531 w 905"/>
                <a:gd name="T3" fmla="*/ 37 h 505"/>
                <a:gd name="T4" fmla="*/ 583 w 905"/>
                <a:gd name="T5" fmla="*/ 26 h 505"/>
                <a:gd name="T6" fmla="*/ 622 w 905"/>
                <a:gd name="T7" fmla="*/ 53 h 505"/>
                <a:gd name="T8" fmla="*/ 576 w 905"/>
                <a:gd name="T9" fmla="*/ 89 h 505"/>
                <a:gd name="T10" fmla="*/ 579 w 905"/>
                <a:gd name="T11" fmla="*/ 143 h 505"/>
                <a:gd name="T12" fmla="*/ 603 w 905"/>
                <a:gd name="T13" fmla="*/ 106 h 505"/>
                <a:gd name="T14" fmla="*/ 622 w 905"/>
                <a:gd name="T15" fmla="*/ 56 h 505"/>
                <a:gd name="T16" fmla="*/ 657 w 905"/>
                <a:gd name="T17" fmla="*/ 107 h 505"/>
                <a:gd name="T18" fmla="*/ 643 w 905"/>
                <a:gd name="T19" fmla="*/ 150 h 505"/>
                <a:gd name="T20" fmla="*/ 716 w 905"/>
                <a:gd name="T21" fmla="*/ 117 h 505"/>
                <a:gd name="T22" fmla="*/ 772 w 905"/>
                <a:gd name="T23" fmla="*/ 83 h 505"/>
                <a:gd name="T24" fmla="*/ 858 w 905"/>
                <a:gd name="T25" fmla="*/ 55 h 505"/>
                <a:gd name="T26" fmla="*/ 894 w 905"/>
                <a:gd name="T27" fmla="*/ 77 h 505"/>
                <a:gd name="T28" fmla="*/ 881 w 905"/>
                <a:gd name="T29" fmla="*/ 95 h 505"/>
                <a:gd name="T30" fmla="*/ 860 w 905"/>
                <a:gd name="T31" fmla="*/ 113 h 505"/>
                <a:gd name="T32" fmla="*/ 839 w 905"/>
                <a:gd name="T33" fmla="*/ 139 h 505"/>
                <a:gd name="T34" fmla="*/ 807 w 905"/>
                <a:gd name="T35" fmla="*/ 162 h 505"/>
                <a:gd name="T36" fmla="*/ 778 w 905"/>
                <a:gd name="T37" fmla="*/ 185 h 505"/>
                <a:gd name="T38" fmla="*/ 754 w 905"/>
                <a:gd name="T39" fmla="*/ 229 h 505"/>
                <a:gd name="T40" fmla="*/ 749 w 905"/>
                <a:gd name="T41" fmla="*/ 252 h 505"/>
                <a:gd name="T42" fmla="*/ 733 w 905"/>
                <a:gd name="T43" fmla="*/ 304 h 505"/>
                <a:gd name="T44" fmla="*/ 689 w 905"/>
                <a:gd name="T45" fmla="*/ 320 h 505"/>
                <a:gd name="T46" fmla="*/ 658 w 905"/>
                <a:gd name="T47" fmla="*/ 350 h 505"/>
                <a:gd name="T48" fmla="*/ 652 w 905"/>
                <a:gd name="T49" fmla="*/ 412 h 505"/>
                <a:gd name="T50" fmla="*/ 665 w 905"/>
                <a:gd name="T51" fmla="*/ 450 h 505"/>
                <a:gd name="T52" fmla="*/ 656 w 905"/>
                <a:gd name="T53" fmla="*/ 495 h 505"/>
                <a:gd name="T54" fmla="*/ 624 w 905"/>
                <a:gd name="T55" fmla="*/ 439 h 505"/>
                <a:gd name="T56" fmla="*/ 598 w 905"/>
                <a:gd name="T57" fmla="*/ 388 h 505"/>
                <a:gd name="T58" fmla="*/ 528 w 905"/>
                <a:gd name="T59" fmla="*/ 386 h 505"/>
                <a:gd name="T60" fmla="*/ 506 w 905"/>
                <a:gd name="T61" fmla="*/ 414 h 505"/>
                <a:gd name="T62" fmla="*/ 473 w 905"/>
                <a:gd name="T63" fmla="*/ 390 h 505"/>
                <a:gd name="T64" fmla="*/ 449 w 905"/>
                <a:gd name="T65" fmla="*/ 390 h 505"/>
                <a:gd name="T66" fmla="*/ 418 w 905"/>
                <a:gd name="T67" fmla="*/ 423 h 505"/>
                <a:gd name="T68" fmla="*/ 384 w 905"/>
                <a:gd name="T69" fmla="*/ 469 h 505"/>
                <a:gd name="T70" fmla="*/ 342 w 905"/>
                <a:gd name="T71" fmla="*/ 440 h 505"/>
                <a:gd name="T72" fmla="*/ 311 w 905"/>
                <a:gd name="T73" fmla="*/ 390 h 505"/>
                <a:gd name="T74" fmla="*/ 281 w 905"/>
                <a:gd name="T75" fmla="*/ 386 h 505"/>
                <a:gd name="T76" fmla="*/ 256 w 905"/>
                <a:gd name="T77" fmla="*/ 366 h 505"/>
                <a:gd name="T78" fmla="*/ 226 w 905"/>
                <a:gd name="T79" fmla="*/ 359 h 505"/>
                <a:gd name="T80" fmla="*/ 181 w 905"/>
                <a:gd name="T81" fmla="*/ 376 h 505"/>
                <a:gd name="T82" fmla="*/ 125 w 905"/>
                <a:gd name="T83" fmla="*/ 348 h 505"/>
                <a:gd name="T84" fmla="*/ 86 w 905"/>
                <a:gd name="T85" fmla="*/ 323 h 505"/>
                <a:gd name="T86" fmla="*/ 37 w 905"/>
                <a:gd name="T87" fmla="*/ 297 h 505"/>
                <a:gd name="T88" fmla="*/ 21 w 905"/>
                <a:gd name="T89" fmla="*/ 258 h 505"/>
                <a:gd name="T90" fmla="*/ 3 w 905"/>
                <a:gd name="T91" fmla="*/ 217 h 505"/>
                <a:gd name="T92" fmla="*/ 3 w 905"/>
                <a:gd name="T93" fmla="*/ 153 h 505"/>
                <a:gd name="T94" fmla="*/ 8 w 905"/>
                <a:gd name="T95" fmla="*/ 119 h 505"/>
                <a:gd name="T96" fmla="*/ 25 w 905"/>
                <a:gd name="T97" fmla="*/ 77 h 505"/>
                <a:gd name="T98" fmla="*/ 28 w 905"/>
                <a:gd name="T99" fmla="*/ 28 h 505"/>
                <a:gd name="T100" fmla="*/ 53 w 905"/>
                <a:gd name="T101" fmla="*/ 2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5" h="505">
                  <a:moveTo>
                    <a:pt x="63" y="1"/>
                  </a:moveTo>
                  <a:lnTo>
                    <a:pt x="489" y="0"/>
                  </a:lnTo>
                  <a:lnTo>
                    <a:pt x="488" y="10"/>
                  </a:lnTo>
                  <a:lnTo>
                    <a:pt x="518" y="10"/>
                  </a:lnTo>
                  <a:lnTo>
                    <a:pt x="562" y="16"/>
                  </a:lnTo>
                  <a:lnTo>
                    <a:pt x="531" y="37"/>
                  </a:lnTo>
                  <a:lnTo>
                    <a:pt x="531" y="50"/>
                  </a:lnTo>
                  <a:lnTo>
                    <a:pt x="558" y="58"/>
                  </a:lnTo>
                  <a:lnTo>
                    <a:pt x="583" y="26"/>
                  </a:lnTo>
                  <a:lnTo>
                    <a:pt x="585" y="32"/>
                  </a:lnTo>
                  <a:lnTo>
                    <a:pt x="616" y="37"/>
                  </a:lnTo>
                  <a:lnTo>
                    <a:pt x="622" y="53"/>
                  </a:lnTo>
                  <a:lnTo>
                    <a:pt x="596" y="53"/>
                  </a:lnTo>
                  <a:lnTo>
                    <a:pt x="577" y="71"/>
                  </a:lnTo>
                  <a:lnTo>
                    <a:pt x="576" y="89"/>
                  </a:lnTo>
                  <a:lnTo>
                    <a:pt x="589" y="77"/>
                  </a:lnTo>
                  <a:lnTo>
                    <a:pt x="580" y="110"/>
                  </a:lnTo>
                  <a:lnTo>
                    <a:pt x="579" y="143"/>
                  </a:lnTo>
                  <a:lnTo>
                    <a:pt x="594" y="163"/>
                  </a:lnTo>
                  <a:lnTo>
                    <a:pt x="613" y="145"/>
                  </a:lnTo>
                  <a:lnTo>
                    <a:pt x="603" y="106"/>
                  </a:lnTo>
                  <a:lnTo>
                    <a:pt x="604" y="85"/>
                  </a:lnTo>
                  <a:lnTo>
                    <a:pt x="622" y="76"/>
                  </a:lnTo>
                  <a:lnTo>
                    <a:pt x="622" y="56"/>
                  </a:lnTo>
                  <a:lnTo>
                    <a:pt x="649" y="86"/>
                  </a:lnTo>
                  <a:lnTo>
                    <a:pt x="643" y="115"/>
                  </a:lnTo>
                  <a:lnTo>
                    <a:pt x="657" y="107"/>
                  </a:lnTo>
                  <a:lnTo>
                    <a:pt x="664" y="118"/>
                  </a:lnTo>
                  <a:lnTo>
                    <a:pt x="652" y="138"/>
                  </a:lnTo>
                  <a:lnTo>
                    <a:pt x="643" y="150"/>
                  </a:lnTo>
                  <a:lnTo>
                    <a:pt x="668" y="160"/>
                  </a:lnTo>
                  <a:lnTo>
                    <a:pt x="702" y="130"/>
                  </a:lnTo>
                  <a:lnTo>
                    <a:pt x="716" y="117"/>
                  </a:lnTo>
                  <a:lnTo>
                    <a:pt x="753" y="119"/>
                  </a:lnTo>
                  <a:lnTo>
                    <a:pt x="760" y="94"/>
                  </a:lnTo>
                  <a:lnTo>
                    <a:pt x="772" y="83"/>
                  </a:lnTo>
                  <a:lnTo>
                    <a:pt x="839" y="86"/>
                  </a:lnTo>
                  <a:lnTo>
                    <a:pt x="850" y="71"/>
                  </a:lnTo>
                  <a:lnTo>
                    <a:pt x="858" y="55"/>
                  </a:lnTo>
                  <a:lnTo>
                    <a:pt x="868" y="28"/>
                  </a:lnTo>
                  <a:lnTo>
                    <a:pt x="890" y="34"/>
                  </a:lnTo>
                  <a:lnTo>
                    <a:pt x="894" y="77"/>
                  </a:lnTo>
                  <a:lnTo>
                    <a:pt x="905" y="83"/>
                  </a:lnTo>
                  <a:lnTo>
                    <a:pt x="896" y="94"/>
                  </a:lnTo>
                  <a:lnTo>
                    <a:pt x="881" y="95"/>
                  </a:lnTo>
                  <a:lnTo>
                    <a:pt x="875" y="107"/>
                  </a:lnTo>
                  <a:lnTo>
                    <a:pt x="862" y="104"/>
                  </a:lnTo>
                  <a:lnTo>
                    <a:pt x="860" y="113"/>
                  </a:lnTo>
                  <a:lnTo>
                    <a:pt x="846" y="113"/>
                  </a:lnTo>
                  <a:lnTo>
                    <a:pt x="841" y="127"/>
                  </a:lnTo>
                  <a:lnTo>
                    <a:pt x="839" y="139"/>
                  </a:lnTo>
                  <a:lnTo>
                    <a:pt x="850" y="150"/>
                  </a:lnTo>
                  <a:lnTo>
                    <a:pt x="836" y="159"/>
                  </a:lnTo>
                  <a:lnTo>
                    <a:pt x="807" y="162"/>
                  </a:lnTo>
                  <a:lnTo>
                    <a:pt x="800" y="175"/>
                  </a:lnTo>
                  <a:lnTo>
                    <a:pt x="796" y="183"/>
                  </a:lnTo>
                  <a:lnTo>
                    <a:pt x="778" y="185"/>
                  </a:lnTo>
                  <a:lnTo>
                    <a:pt x="770" y="196"/>
                  </a:lnTo>
                  <a:lnTo>
                    <a:pt x="766" y="224"/>
                  </a:lnTo>
                  <a:lnTo>
                    <a:pt x="754" y="229"/>
                  </a:lnTo>
                  <a:lnTo>
                    <a:pt x="747" y="237"/>
                  </a:lnTo>
                  <a:lnTo>
                    <a:pt x="740" y="247"/>
                  </a:lnTo>
                  <a:lnTo>
                    <a:pt x="749" y="252"/>
                  </a:lnTo>
                  <a:lnTo>
                    <a:pt x="747" y="286"/>
                  </a:lnTo>
                  <a:lnTo>
                    <a:pt x="736" y="292"/>
                  </a:lnTo>
                  <a:lnTo>
                    <a:pt x="733" y="304"/>
                  </a:lnTo>
                  <a:lnTo>
                    <a:pt x="715" y="303"/>
                  </a:lnTo>
                  <a:lnTo>
                    <a:pt x="707" y="314"/>
                  </a:lnTo>
                  <a:lnTo>
                    <a:pt x="689" y="320"/>
                  </a:lnTo>
                  <a:lnTo>
                    <a:pt x="685" y="335"/>
                  </a:lnTo>
                  <a:lnTo>
                    <a:pt x="671" y="338"/>
                  </a:lnTo>
                  <a:lnTo>
                    <a:pt x="658" y="350"/>
                  </a:lnTo>
                  <a:lnTo>
                    <a:pt x="653" y="366"/>
                  </a:lnTo>
                  <a:lnTo>
                    <a:pt x="653" y="390"/>
                  </a:lnTo>
                  <a:lnTo>
                    <a:pt x="652" y="412"/>
                  </a:lnTo>
                  <a:lnTo>
                    <a:pt x="659" y="415"/>
                  </a:lnTo>
                  <a:lnTo>
                    <a:pt x="660" y="442"/>
                  </a:lnTo>
                  <a:lnTo>
                    <a:pt x="665" y="450"/>
                  </a:lnTo>
                  <a:lnTo>
                    <a:pt x="671" y="489"/>
                  </a:lnTo>
                  <a:lnTo>
                    <a:pt x="665" y="505"/>
                  </a:lnTo>
                  <a:lnTo>
                    <a:pt x="656" y="495"/>
                  </a:lnTo>
                  <a:lnTo>
                    <a:pt x="640" y="484"/>
                  </a:lnTo>
                  <a:lnTo>
                    <a:pt x="631" y="462"/>
                  </a:lnTo>
                  <a:lnTo>
                    <a:pt x="624" y="439"/>
                  </a:lnTo>
                  <a:lnTo>
                    <a:pt x="628" y="414"/>
                  </a:lnTo>
                  <a:lnTo>
                    <a:pt x="615" y="402"/>
                  </a:lnTo>
                  <a:lnTo>
                    <a:pt x="598" y="388"/>
                  </a:lnTo>
                  <a:lnTo>
                    <a:pt x="579" y="393"/>
                  </a:lnTo>
                  <a:lnTo>
                    <a:pt x="565" y="385"/>
                  </a:lnTo>
                  <a:lnTo>
                    <a:pt x="528" y="386"/>
                  </a:lnTo>
                  <a:lnTo>
                    <a:pt x="515" y="395"/>
                  </a:lnTo>
                  <a:lnTo>
                    <a:pt x="523" y="412"/>
                  </a:lnTo>
                  <a:lnTo>
                    <a:pt x="506" y="414"/>
                  </a:lnTo>
                  <a:lnTo>
                    <a:pt x="488" y="410"/>
                  </a:lnTo>
                  <a:lnTo>
                    <a:pt x="485" y="386"/>
                  </a:lnTo>
                  <a:lnTo>
                    <a:pt x="473" y="390"/>
                  </a:lnTo>
                  <a:lnTo>
                    <a:pt x="468" y="408"/>
                  </a:lnTo>
                  <a:lnTo>
                    <a:pt x="459" y="405"/>
                  </a:lnTo>
                  <a:lnTo>
                    <a:pt x="449" y="390"/>
                  </a:lnTo>
                  <a:lnTo>
                    <a:pt x="437" y="397"/>
                  </a:lnTo>
                  <a:lnTo>
                    <a:pt x="428" y="408"/>
                  </a:lnTo>
                  <a:lnTo>
                    <a:pt x="418" y="423"/>
                  </a:lnTo>
                  <a:lnTo>
                    <a:pt x="409" y="434"/>
                  </a:lnTo>
                  <a:lnTo>
                    <a:pt x="390" y="442"/>
                  </a:lnTo>
                  <a:lnTo>
                    <a:pt x="384" y="469"/>
                  </a:lnTo>
                  <a:lnTo>
                    <a:pt x="360" y="469"/>
                  </a:lnTo>
                  <a:lnTo>
                    <a:pt x="356" y="447"/>
                  </a:lnTo>
                  <a:lnTo>
                    <a:pt x="342" y="440"/>
                  </a:lnTo>
                  <a:lnTo>
                    <a:pt x="338" y="416"/>
                  </a:lnTo>
                  <a:lnTo>
                    <a:pt x="328" y="403"/>
                  </a:lnTo>
                  <a:lnTo>
                    <a:pt x="311" y="390"/>
                  </a:lnTo>
                  <a:lnTo>
                    <a:pt x="305" y="414"/>
                  </a:lnTo>
                  <a:lnTo>
                    <a:pt x="289" y="414"/>
                  </a:lnTo>
                  <a:lnTo>
                    <a:pt x="281" y="386"/>
                  </a:lnTo>
                  <a:lnTo>
                    <a:pt x="272" y="385"/>
                  </a:lnTo>
                  <a:lnTo>
                    <a:pt x="269" y="368"/>
                  </a:lnTo>
                  <a:lnTo>
                    <a:pt x="256" y="366"/>
                  </a:lnTo>
                  <a:lnTo>
                    <a:pt x="251" y="348"/>
                  </a:lnTo>
                  <a:lnTo>
                    <a:pt x="240" y="357"/>
                  </a:lnTo>
                  <a:lnTo>
                    <a:pt x="226" y="359"/>
                  </a:lnTo>
                  <a:lnTo>
                    <a:pt x="222" y="368"/>
                  </a:lnTo>
                  <a:lnTo>
                    <a:pt x="199" y="368"/>
                  </a:lnTo>
                  <a:lnTo>
                    <a:pt x="181" y="376"/>
                  </a:lnTo>
                  <a:lnTo>
                    <a:pt x="156" y="370"/>
                  </a:lnTo>
                  <a:lnTo>
                    <a:pt x="139" y="353"/>
                  </a:lnTo>
                  <a:lnTo>
                    <a:pt x="125" y="348"/>
                  </a:lnTo>
                  <a:lnTo>
                    <a:pt x="120" y="338"/>
                  </a:lnTo>
                  <a:lnTo>
                    <a:pt x="85" y="335"/>
                  </a:lnTo>
                  <a:lnTo>
                    <a:pt x="86" y="323"/>
                  </a:lnTo>
                  <a:lnTo>
                    <a:pt x="65" y="315"/>
                  </a:lnTo>
                  <a:lnTo>
                    <a:pt x="52" y="304"/>
                  </a:lnTo>
                  <a:lnTo>
                    <a:pt x="37" y="297"/>
                  </a:lnTo>
                  <a:lnTo>
                    <a:pt x="39" y="274"/>
                  </a:lnTo>
                  <a:lnTo>
                    <a:pt x="20" y="270"/>
                  </a:lnTo>
                  <a:lnTo>
                    <a:pt x="21" y="258"/>
                  </a:lnTo>
                  <a:lnTo>
                    <a:pt x="27" y="243"/>
                  </a:lnTo>
                  <a:lnTo>
                    <a:pt x="16" y="230"/>
                  </a:lnTo>
                  <a:lnTo>
                    <a:pt x="3" y="217"/>
                  </a:lnTo>
                  <a:lnTo>
                    <a:pt x="0" y="168"/>
                  </a:lnTo>
                  <a:lnTo>
                    <a:pt x="9" y="160"/>
                  </a:lnTo>
                  <a:lnTo>
                    <a:pt x="3" y="153"/>
                  </a:lnTo>
                  <a:lnTo>
                    <a:pt x="1" y="145"/>
                  </a:lnTo>
                  <a:lnTo>
                    <a:pt x="6" y="137"/>
                  </a:lnTo>
                  <a:lnTo>
                    <a:pt x="8" y="119"/>
                  </a:lnTo>
                  <a:lnTo>
                    <a:pt x="16" y="113"/>
                  </a:lnTo>
                  <a:lnTo>
                    <a:pt x="16" y="85"/>
                  </a:lnTo>
                  <a:lnTo>
                    <a:pt x="25" y="77"/>
                  </a:lnTo>
                  <a:lnTo>
                    <a:pt x="33" y="46"/>
                  </a:lnTo>
                  <a:lnTo>
                    <a:pt x="40" y="43"/>
                  </a:lnTo>
                  <a:lnTo>
                    <a:pt x="28" y="28"/>
                  </a:lnTo>
                  <a:lnTo>
                    <a:pt x="28" y="16"/>
                  </a:lnTo>
                  <a:lnTo>
                    <a:pt x="44" y="12"/>
                  </a:lnTo>
                  <a:lnTo>
                    <a:pt x="53" y="24"/>
                  </a:lnTo>
                  <a:lnTo>
                    <a:pt x="60" y="34"/>
                  </a:lnTo>
                  <a:lnTo>
                    <a:pt x="63" y="1"/>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23" name="Freeform 70">
              <a:extLst>
                <a:ext uri="{FF2B5EF4-FFF2-40B4-BE49-F238E27FC236}">
                  <a16:creationId xmlns:a16="http://schemas.microsoft.com/office/drawing/2014/main" id="{89332B12-DF4A-4979-BF4D-D061FF34B8D2}"/>
                </a:ext>
              </a:extLst>
            </p:cNvPr>
            <p:cNvSpPr>
              <a:spLocks/>
            </p:cNvSpPr>
            <p:nvPr/>
          </p:nvSpPr>
          <p:spPr bwMode="auto">
            <a:xfrm>
              <a:off x="1075175" y="2292086"/>
              <a:ext cx="1457501" cy="863346"/>
            </a:xfrm>
            <a:custGeom>
              <a:avLst/>
              <a:gdLst>
                <a:gd name="T0" fmla="*/ 1145 w 1226"/>
                <a:gd name="T1" fmla="*/ 335 h 726"/>
                <a:gd name="T2" fmla="*/ 1148 w 1226"/>
                <a:gd name="T3" fmla="*/ 380 h 726"/>
                <a:gd name="T4" fmla="*/ 1188 w 1226"/>
                <a:gd name="T5" fmla="*/ 418 h 726"/>
                <a:gd name="T6" fmla="*/ 1186 w 1226"/>
                <a:gd name="T7" fmla="*/ 453 h 726"/>
                <a:gd name="T8" fmla="*/ 1207 w 1226"/>
                <a:gd name="T9" fmla="*/ 450 h 726"/>
                <a:gd name="T10" fmla="*/ 1226 w 1226"/>
                <a:gd name="T11" fmla="*/ 496 h 726"/>
                <a:gd name="T12" fmla="*/ 1166 w 1226"/>
                <a:gd name="T13" fmla="*/ 528 h 726"/>
                <a:gd name="T14" fmla="*/ 1054 w 1226"/>
                <a:gd name="T15" fmla="*/ 543 h 726"/>
                <a:gd name="T16" fmla="*/ 1067 w 1226"/>
                <a:gd name="T17" fmla="*/ 553 h 726"/>
                <a:gd name="T18" fmla="*/ 1137 w 1226"/>
                <a:gd name="T19" fmla="*/ 627 h 726"/>
                <a:gd name="T20" fmla="*/ 1097 w 1226"/>
                <a:gd name="T21" fmla="*/ 620 h 726"/>
                <a:gd name="T22" fmla="*/ 1028 w 1226"/>
                <a:gd name="T23" fmla="*/ 643 h 726"/>
                <a:gd name="T24" fmla="*/ 985 w 1226"/>
                <a:gd name="T25" fmla="*/ 636 h 726"/>
                <a:gd name="T26" fmla="*/ 888 w 1226"/>
                <a:gd name="T27" fmla="*/ 684 h 726"/>
                <a:gd name="T28" fmla="*/ 778 w 1226"/>
                <a:gd name="T29" fmla="*/ 717 h 726"/>
                <a:gd name="T30" fmla="*/ 815 w 1226"/>
                <a:gd name="T31" fmla="*/ 654 h 726"/>
                <a:gd name="T32" fmla="*/ 752 w 1226"/>
                <a:gd name="T33" fmla="*/ 564 h 726"/>
                <a:gd name="T34" fmla="*/ 622 w 1226"/>
                <a:gd name="T35" fmla="*/ 576 h 726"/>
                <a:gd name="T36" fmla="*/ 156 w 1226"/>
                <a:gd name="T37" fmla="*/ 525 h 726"/>
                <a:gd name="T38" fmla="*/ 121 w 1226"/>
                <a:gd name="T39" fmla="*/ 463 h 726"/>
                <a:gd name="T40" fmla="*/ 119 w 1226"/>
                <a:gd name="T41" fmla="*/ 408 h 726"/>
                <a:gd name="T42" fmla="*/ 94 w 1226"/>
                <a:gd name="T43" fmla="*/ 361 h 726"/>
                <a:gd name="T44" fmla="*/ 53 w 1226"/>
                <a:gd name="T45" fmla="*/ 324 h 726"/>
                <a:gd name="T46" fmla="*/ 21 w 1226"/>
                <a:gd name="T47" fmla="*/ 303 h 726"/>
                <a:gd name="T48" fmla="*/ 118 w 1226"/>
                <a:gd name="T49" fmla="*/ 65 h 726"/>
                <a:gd name="T50" fmla="*/ 194 w 1226"/>
                <a:gd name="T51" fmla="*/ 58 h 726"/>
                <a:gd name="T52" fmla="*/ 247 w 1226"/>
                <a:gd name="T53" fmla="*/ 57 h 726"/>
                <a:gd name="T54" fmla="*/ 287 w 1226"/>
                <a:gd name="T55" fmla="*/ 53 h 726"/>
                <a:gd name="T56" fmla="*/ 340 w 1226"/>
                <a:gd name="T57" fmla="*/ 52 h 726"/>
                <a:gd name="T58" fmla="*/ 460 w 1226"/>
                <a:gd name="T59" fmla="*/ 107 h 726"/>
                <a:gd name="T60" fmla="*/ 542 w 1226"/>
                <a:gd name="T61" fmla="*/ 107 h 726"/>
                <a:gd name="T62" fmla="*/ 672 w 1226"/>
                <a:gd name="T63" fmla="*/ 90 h 726"/>
                <a:gd name="T64" fmla="*/ 737 w 1226"/>
                <a:gd name="T65" fmla="*/ 84 h 726"/>
                <a:gd name="T66" fmla="*/ 732 w 1226"/>
                <a:gd name="T67" fmla="*/ 13 h 726"/>
                <a:gd name="T68" fmla="*/ 773 w 1226"/>
                <a:gd name="T69" fmla="*/ 53 h 726"/>
                <a:gd name="T70" fmla="*/ 822 w 1226"/>
                <a:gd name="T71" fmla="*/ 85 h 726"/>
                <a:gd name="T72" fmla="*/ 860 w 1226"/>
                <a:gd name="T73" fmla="*/ 79 h 726"/>
                <a:gd name="T74" fmla="*/ 898 w 1226"/>
                <a:gd name="T75" fmla="*/ 90 h 726"/>
                <a:gd name="T76" fmla="*/ 830 w 1226"/>
                <a:gd name="T77" fmla="*/ 137 h 726"/>
                <a:gd name="T78" fmla="*/ 778 w 1226"/>
                <a:gd name="T79" fmla="*/ 149 h 726"/>
                <a:gd name="T80" fmla="*/ 785 w 1226"/>
                <a:gd name="T81" fmla="*/ 205 h 726"/>
                <a:gd name="T82" fmla="*/ 694 w 1226"/>
                <a:gd name="T83" fmla="*/ 274 h 726"/>
                <a:gd name="T84" fmla="*/ 701 w 1226"/>
                <a:gd name="T85" fmla="*/ 374 h 726"/>
                <a:gd name="T86" fmla="*/ 806 w 1226"/>
                <a:gd name="T87" fmla="*/ 426 h 726"/>
                <a:gd name="T88" fmla="*/ 841 w 1226"/>
                <a:gd name="T89" fmla="*/ 512 h 726"/>
                <a:gd name="T90" fmla="*/ 882 w 1226"/>
                <a:gd name="T91" fmla="*/ 499 h 726"/>
                <a:gd name="T92" fmla="*/ 914 w 1226"/>
                <a:gd name="T93" fmla="*/ 414 h 726"/>
                <a:gd name="T94" fmla="*/ 917 w 1226"/>
                <a:gd name="T95" fmla="*/ 395 h 726"/>
                <a:gd name="T96" fmla="*/ 917 w 1226"/>
                <a:gd name="T97" fmla="*/ 358 h 726"/>
                <a:gd name="T98" fmla="*/ 906 w 1226"/>
                <a:gd name="T99" fmla="*/ 332 h 726"/>
                <a:gd name="T100" fmla="*/ 926 w 1226"/>
                <a:gd name="T101" fmla="*/ 257 h 726"/>
                <a:gd name="T102" fmla="*/ 1017 w 1226"/>
                <a:gd name="T103" fmla="*/ 259 h 726"/>
                <a:gd name="T104" fmla="*/ 1046 w 1226"/>
                <a:gd name="T105" fmla="*/ 340 h 726"/>
                <a:gd name="T106" fmla="*/ 1119 w 1226"/>
                <a:gd name="T107" fmla="*/ 301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6" h="726">
                  <a:moveTo>
                    <a:pt x="1119" y="301"/>
                  </a:moveTo>
                  <a:lnTo>
                    <a:pt x="1127" y="313"/>
                  </a:lnTo>
                  <a:lnTo>
                    <a:pt x="1132" y="335"/>
                  </a:lnTo>
                  <a:lnTo>
                    <a:pt x="1145" y="335"/>
                  </a:lnTo>
                  <a:lnTo>
                    <a:pt x="1148" y="364"/>
                  </a:lnTo>
                  <a:lnTo>
                    <a:pt x="1157" y="362"/>
                  </a:lnTo>
                  <a:lnTo>
                    <a:pt x="1157" y="375"/>
                  </a:lnTo>
                  <a:lnTo>
                    <a:pt x="1148" y="380"/>
                  </a:lnTo>
                  <a:lnTo>
                    <a:pt x="1150" y="392"/>
                  </a:lnTo>
                  <a:lnTo>
                    <a:pt x="1161" y="394"/>
                  </a:lnTo>
                  <a:lnTo>
                    <a:pt x="1166" y="421"/>
                  </a:lnTo>
                  <a:lnTo>
                    <a:pt x="1188" y="418"/>
                  </a:lnTo>
                  <a:lnTo>
                    <a:pt x="1186" y="430"/>
                  </a:lnTo>
                  <a:lnTo>
                    <a:pt x="1202" y="426"/>
                  </a:lnTo>
                  <a:lnTo>
                    <a:pt x="1191" y="442"/>
                  </a:lnTo>
                  <a:lnTo>
                    <a:pt x="1186" y="453"/>
                  </a:lnTo>
                  <a:lnTo>
                    <a:pt x="1164" y="459"/>
                  </a:lnTo>
                  <a:lnTo>
                    <a:pt x="1173" y="463"/>
                  </a:lnTo>
                  <a:lnTo>
                    <a:pt x="1191" y="459"/>
                  </a:lnTo>
                  <a:lnTo>
                    <a:pt x="1207" y="450"/>
                  </a:lnTo>
                  <a:lnTo>
                    <a:pt x="1221" y="451"/>
                  </a:lnTo>
                  <a:lnTo>
                    <a:pt x="1224" y="466"/>
                  </a:lnTo>
                  <a:lnTo>
                    <a:pt x="1224" y="485"/>
                  </a:lnTo>
                  <a:lnTo>
                    <a:pt x="1226" y="496"/>
                  </a:lnTo>
                  <a:lnTo>
                    <a:pt x="1224" y="505"/>
                  </a:lnTo>
                  <a:lnTo>
                    <a:pt x="1205" y="510"/>
                  </a:lnTo>
                  <a:lnTo>
                    <a:pt x="1188" y="508"/>
                  </a:lnTo>
                  <a:lnTo>
                    <a:pt x="1166" y="528"/>
                  </a:lnTo>
                  <a:lnTo>
                    <a:pt x="1128" y="533"/>
                  </a:lnTo>
                  <a:lnTo>
                    <a:pt x="1088" y="533"/>
                  </a:lnTo>
                  <a:lnTo>
                    <a:pt x="1069" y="530"/>
                  </a:lnTo>
                  <a:lnTo>
                    <a:pt x="1054" y="543"/>
                  </a:lnTo>
                  <a:lnTo>
                    <a:pt x="1034" y="553"/>
                  </a:lnTo>
                  <a:lnTo>
                    <a:pt x="1014" y="578"/>
                  </a:lnTo>
                  <a:lnTo>
                    <a:pt x="1048" y="563"/>
                  </a:lnTo>
                  <a:lnTo>
                    <a:pt x="1067" y="553"/>
                  </a:lnTo>
                  <a:lnTo>
                    <a:pt x="1087" y="565"/>
                  </a:lnTo>
                  <a:lnTo>
                    <a:pt x="1074" y="585"/>
                  </a:lnTo>
                  <a:lnTo>
                    <a:pt x="1092" y="605"/>
                  </a:lnTo>
                  <a:lnTo>
                    <a:pt x="1137" y="627"/>
                  </a:lnTo>
                  <a:lnTo>
                    <a:pt x="1097" y="648"/>
                  </a:lnTo>
                  <a:lnTo>
                    <a:pt x="1058" y="675"/>
                  </a:lnTo>
                  <a:lnTo>
                    <a:pt x="1049" y="665"/>
                  </a:lnTo>
                  <a:lnTo>
                    <a:pt x="1097" y="620"/>
                  </a:lnTo>
                  <a:lnTo>
                    <a:pt x="1094" y="614"/>
                  </a:lnTo>
                  <a:lnTo>
                    <a:pt x="1079" y="614"/>
                  </a:lnTo>
                  <a:lnTo>
                    <a:pt x="1040" y="648"/>
                  </a:lnTo>
                  <a:lnTo>
                    <a:pt x="1028" y="643"/>
                  </a:lnTo>
                  <a:lnTo>
                    <a:pt x="1025" y="599"/>
                  </a:lnTo>
                  <a:lnTo>
                    <a:pt x="1003" y="593"/>
                  </a:lnTo>
                  <a:lnTo>
                    <a:pt x="993" y="620"/>
                  </a:lnTo>
                  <a:lnTo>
                    <a:pt x="985" y="636"/>
                  </a:lnTo>
                  <a:lnTo>
                    <a:pt x="972" y="652"/>
                  </a:lnTo>
                  <a:lnTo>
                    <a:pt x="907" y="648"/>
                  </a:lnTo>
                  <a:lnTo>
                    <a:pt x="895" y="660"/>
                  </a:lnTo>
                  <a:lnTo>
                    <a:pt x="888" y="684"/>
                  </a:lnTo>
                  <a:lnTo>
                    <a:pt x="851" y="682"/>
                  </a:lnTo>
                  <a:lnTo>
                    <a:pt x="837" y="696"/>
                  </a:lnTo>
                  <a:lnTo>
                    <a:pt x="803" y="726"/>
                  </a:lnTo>
                  <a:lnTo>
                    <a:pt x="778" y="717"/>
                  </a:lnTo>
                  <a:lnTo>
                    <a:pt x="786" y="703"/>
                  </a:lnTo>
                  <a:lnTo>
                    <a:pt x="801" y="682"/>
                  </a:lnTo>
                  <a:lnTo>
                    <a:pt x="812" y="691"/>
                  </a:lnTo>
                  <a:lnTo>
                    <a:pt x="815" y="654"/>
                  </a:lnTo>
                  <a:lnTo>
                    <a:pt x="834" y="657"/>
                  </a:lnTo>
                  <a:lnTo>
                    <a:pt x="818" y="628"/>
                  </a:lnTo>
                  <a:lnTo>
                    <a:pt x="767" y="619"/>
                  </a:lnTo>
                  <a:lnTo>
                    <a:pt x="752" y="564"/>
                  </a:lnTo>
                  <a:lnTo>
                    <a:pt x="696" y="571"/>
                  </a:lnTo>
                  <a:lnTo>
                    <a:pt x="698" y="580"/>
                  </a:lnTo>
                  <a:lnTo>
                    <a:pt x="653" y="576"/>
                  </a:lnTo>
                  <a:lnTo>
                    <a:pt x="622" y="576"/>
                  </a:lnTo>
                  <a:lnTo>
                    <a:pt x="625" y="565"/>
                  </a:lnTo>
                  <a:lnTo>
                    <a:pt x="197" y="567"/>
                  </a:lnTo>
                  <a:lnTo>
                    <a:pt x="177" y="540"/>
                  </a:lnTo>
                  <a:lnTo>
                    <a:pt x="156" y="525"/>
                  </a:lnTo>
                  <a:lnTo>
                    <a:pt x="139" y="506"/>
                  </a:lnTo>
                  <a:lnTo>
                    <a:pt x="138" y="482"/>
                  </a:lnTo>
                  <a:lnTo>
                    <a:pt x="136" y="462"/>
                  </a:lnTo>
                  <a:lnTo>
                    <a:pt x="121" y="463"/>
                  </a:lnTo>
                  <a:lnTo>
                    <a:pt x="119" y="449"/>
                  </a:lnTo>
                  <a:lnTo>
                    <a:pt x="110" y="444"/>
                  </a:lnTo>
                  <a:lnTo>
                    <a:pt x="112" y="421"/>
                  </a:lnTo>
                  <a:lnTo>
                    <a:pt x="119" y="408"/>
                  </a:lnTo>
                  <a:lnTo>
                    <a:pt x="130" y="397"/>
                  </a:lnTo>
                  <a:lnTo>
                    <a:pt x="109" y="392"/>
                  </a:lnTo>
                  <a:lnTo>
                    <a:pt x="103" y="365"/>
                  </a:lnTo>
                  <a:lnTo>
                    <a:pt x="94" y="361"/>
                  </a:lnTo>
                  <a:lnTo>
                    <a:pt x="90" y="341"/>
                  </a:lnTo>
                  <a:lnTo>
                    <a:pt x="66" y="314"/>
                  </a:lnTo>
                  <a:lnTo>
                    <a:pt x="56" y="313"/>
                  </a:lnTo>
                  <a:lnTo>
                    <a:pt x="53" y="324"/>
                  </a:lnTo>
                  <a:lnTo>
                    <a:pt x="44" y="324"/>
                  </a:lnTo>
                  <a:lnTo>
                    <a:pt x="40" y="333"/>
                  </a:lnTo>
                  <a:lnTo>
                    <a:pt x="26" y="324"/>
                  </a:lnTo>
                  <a:lnTo>
                    <a:pt x="21" y="303"/>
                  </a:lnTo>
                  <a:lnTo>
                    <a:pt x="15" y="297"/>
                  </a:lnTo>
                  <a:lnTo>
                    <a:pt x="0" y="303"/>
                  </a:lnTo>
                  <a:lnTo>
                    <a:pt x="72" y="57"/>
                  </a:lnTo>
                  <a:lnTo>
                    <a:pt x="118" y="65"/>
                  </a:lnTo>
                  <a:lnTo>
                    <a:pt x="159" y="85"/>
                  </a:lnTo>
                  <a:lnTo>
                    <a:pt x="177" y="86"/>
                  </a:lnTo>
                  <a:lnTo>
                    <a:pt x="178" y="71"/>
                  </a:lnTo>
                  <a:lnTo>
                    <a:pt x="194" y="58"/>
                  </a:lnTo>
                  <a:lnTo>
                    <a:pt x="233" y="34"/>
                  </a:lnTo>
                  <a:lnTo>
                    <a:pt x="245" y="40"/>
                  </a:lnTo>
                  <a:lnTo>
                    <a:pt x="216" y="58"/>
                  </a:lnTo>
                  <a:lnTo>
                    <a:pt x="247" y="57"/>
                  </a:lnTo>
                  <a:lnTo>
                    <a:pt x="257" y="46"/>
                  </a:lnTo>
                  <a:lnTo>
                    <a:pt x="264" y="34"/>
                  </a:lnTo>
                  <a:lnTo>
                    <a:pt x="274" y="29"/>
                  </a:lnTo>
                  <a:lnTo>
                    <a:pt x="287" y="53"/>
                  </a:lnTo>
                  <a:lnTo>
                    <a:pt x="306" y="55"/>
                  </a:lnTo>
                  <a:lnTo>
                    <a:pt x="315" y="46"/>
                  </a:lnTo>
                  <a:lnTo>
                    <a:pt x="325" y="62"/>
                  </a:lnTo>
                  <a:lnTo>
                    <a:pt x="340" y="52"/>
                  </a:lnTo>
                  <a:lnTo>
                    <a:pt x="399" y="71"/>
                  </a:lnTo>
                  <a:lnTo>
                    <a:pt x="437" y="72"/>
                  </a:lnTo>
                  <a:lnTo>
                    <a:pt x="465" y="86"/>
                  </a:lnTo>
                  <a:lnTo>
                    <a:pt x="460" y="107"/>
                  </a:lnTo>
                  <a:lnTo>
                    <a:pt x="497" y="95"/>
                  </a:lnTo>
                  <a:lnTo>
                    <a:pt x="525" y="121"/>
                  </a:lnTo>
                  <a:lnTo>
                    <a:pt x="544" y="120"/>
                  </a:lnTo>
                  <a:lnTo>
                    <a:pt x="542" y="107"/>
                  </a:lnTo>
                  <a:lnTo>
                    <a:pt x="564" y="84"/>
                  </a:lnTo>
                  <a:lnTo>
                    <a:pt x="588" y="102"/>
                  </a:lnTo>
                  <a:lnTo>
                    <a:pt x="659" y="107"/>
                  </a:lnTo>
                  <a:lnTo>
                    <a:pt x="672" y="90"/>
                  </a:lnTo>
                  <a:lnTo>
                    <a:pt x="692" y="88"/>
                  </a:lnTo>
                  <a:lnTo>
                    <a:pt x="703" y="104"/>
                  </a:lnTo>
                  <a:lnTo>
                    <a:pt x="721" y="95"/>
                  </a:lnTo>
                  <a:lnTo>
                    <a:pt x="737" y="84"/>
                  </a:lnTo>
                  <a:lnTo>
                    <a:pt x="729" y="52"/>
                  </a:lnTo>
                  <a:lnTo>
                    <a:pt x="708" y="37"/>
                  </a:lnTo>
                  <a:lnTo>
                    <a:pt x="723" y="28"/>
                  </a:lnTo>
                  <a:lnTo>
                    <a:pt x="732" y="13"/>
                  </a:lnTo>
                  <a:lnTo>
                    <a:pt x="754" y="0"/>
                  </a:lnTo>
                  <a:lnTo>
                    <a:pt x="776" y="19"/>
                  </a:lnTo>
                  <a:lnTo>
                    <a:pt x="769" y="37"/>
                  </a:lnTo>
                  <a:lnTo>
                    <a:pt x="773" y="53"/>
                  </a:lnTo>
                  <a:lnTo>
                    <a:pt x="786" y="65"/>
                  </a:lnTo>
                  <a:lnTo>
                    <a:pt x="794" y="88"/>
                  </a:lnTo>
                  <a:lnTo>
                    <a:pt x="812" y="65"/>
                  </a:lnTo>
                  <a:lnTo>
                    <a:pt x="822" y="85"/>
                  </a:lnTo>
                  <a:lnTo>
                    <a:pt x="821" y="117"/>
                  </a:lnTo>
                  <a:lnTo>
                    <a:pt x="834" y="117"/>
                  </a:lnTo>
                  <a:lnTo>
                    <a:pt x="840" y="99"/>
                  </a:lnTo>
                  <a:lnTo>
                    <a:pt x="860" y="79"/>
                  </a:lnTo>
                  <a:lnTo>
                    <a:pt x="868" y="53"/>
                  </a:lnTo>
                  <a:lnTo>
                    <a:pt x="904" y="57"/>
                  </a:lnTo>
                  <a:lnTo>
                    <a:pt x="913" y="83"/>
                  </a:lnTo>
                  <a:lnTo>
                    <a:pt x="898" y="90"/>
                  </a:lnTo>
                  <a:lnTo>
                    <a:pt x="906" y="123"/>
                  </a:lnTo>
                  <a:lnTo>
                    <a:pt x="860" y="146"/>
                  </a:lnTo>
                  <a:lnTo>
                    <a:pt x="854" y="136"/>
                  </a:lnTo>
                  <a:lnTo>
                    <a:pt x="830" y="137"/>
                  </a:lnTo>
                  <a:lnTo>
                    <a:pt x="827" y="156"/>
                  </a:lnTo>
                  <a:lnTo>
                    <a:pt x="799" y="156"/>
                  </a:lnTo>
                  <a:lnTo>
                    <a:pt x="791" y="148"/>
                  </a:lnTo>
                  <a:lnTo>
                    <a:pt x="778" y="149"/>
                  </a:lnTo>
                  <a:lnTo>
                    <a:pt x="779" y="160"/>
                  </a:lnTo>
                  <a:lnTo>
                    <a:pt x="806" y="171"/>
                  </a:lnTo>
                  <a:lnTo>
                    <a:pt x="799" y="195"/>
                  </a:lnTo>
                  <a:lnTo>
                    <a:pt x="785" y="205"/>
                  </a:lnTo>
                  <a:lnTo>
                    <a:pt x="763" y="208"/>
                  </a:lnTo>
                  <a:lnTo>
                    <a:pt x="750" y="228"/>
                  </a:lnTo>
                  <a:lnTo>
                    <a:pt x="720" y="251"/>
                  </a:lnTo>
                  <a:lnTo>
                    <a:pt x="694" y="274"/>
                  </a:lnTo>
                  <a:lnTo>
                    <a:pt x="673" y="306"/>
                  </a:lnTo>
                  <a:lnTo>
                    <a:pt x="672" y="330"/>
                  </a:lnTo>
                  <a:lnTo>
                    <a:pt x="691" y="333"/>
                  </a:lnTo>
                  <a:lnTo>
                    <a:pt x="701" y="374"/>
                  </a:lnTo>
                  <a:lnTo>
                    <a:pt x="745" y="379"/>
                  </a:lnTo>
                  <a:lnTo>
                    <a:pt x="773" y="406"/>
                  </a:lnTo>
                  <a:lnTo>
                    <a:pt x="791" y="408"/>
                  </a:lnTo>
                  <a:lnTo>
                    <a:pt x="806" y="426"/>
                  </a:lnTo>
                  <a:lnTo>
                    <a:pt x="836" y="424"/>
                  </a:lnTo>
                  <a:lnTo>
                    <a:pt x="833" y="459"/>
                  </a:lnTo>
                  <a:lnTo>
                    <a:pt x="830" y="489"/>
                  </a:lnTo>
                  <a:lnTo>
                    <a:pt x="841" y="512"/>
                  </a:lnTo>
                  <a:lnTo>
                    <a:pt x="854" y="513"/>
                  </a:lnTo>
                  <a:lnTo>
                    <a:pt x="865" y="501"/>
                  </a:lnTo>
                  <a:lnTo>
                    <a:pt x="877" y="512"/>
                  </a:lnTo>
                  <a:lnTo>
                    <a:pt x="882" y="499"/>
                  </a:lnTo>
                  <a:lnTo>
                    <a:pt x="889" y="463"/>
                  </a:lnTo>
                  <a:lnTo>
                    <a:pt x="888" y="450"/>
                  </a:lnTo>
                  <a:lnTo>
                    <a:pt x="891" y="426"/>
                  </a:lnTo>
                  <a:lnTo>
                    <a:pt x="914" y="414"/>
                  </a:lnTo>
                  <a:lnTo>
                    <a:pt x="915" y="413"/>
                  </a:lnTo>
                  <a:lnTo>
                    <a:pt x="916" y="409"/>
                  </a:lnTo>
                  <a:lnTo>
                    <a:pt x="916" y="403"/>
                  </a:lnTo>
                  <a:lnTo>
                    <a:pt x="917" y="395"/>
                  </a:lnTo>
                  <a:lnTo>
                    <a:pt x="919" y="387"/>
                  </a:lnTo>
                  <a:lnTo>
                    <a:pt x="919" y="377"/>
                  </a:lnTo>
                  <a:lnTo>
                    <a:pt x="919" y="368"/>
                  </a:lnTo>
                  <a:lnTo>
                    <a:pt x="917" y="358"/>
                  </a:lnTo>
                  <a:lnTo>
                    <a:pt x="916" y="350"/>
                  </a:lnTo>
                  <a:lnTo>
                    <a:pt x="914" y="342"/>
                  </a:lnTo>
                  <a:lnTo>
                    <a:pt x="910" y="337"/>
                  </a:lnTo>
                  <a:lnTo>
                    <a:pt x="906" y="332"/>
                  </a:lnTo>
                  <a:lnTo>
                    <a:pt x="922" y="325"/>
                  </a:lnTo>
                  <a:lnTo>
                    <a:pt x="926" y="294"/>
                  </a:lnTo>
                  <a:lnTo>
                    <a:pt x="923" y="283"/>
                  </a:lnTo>
                  <a:lnTo>
                    <a:pt x="926" y="257"/>
                  </a:lnTo>
                  <a:lnTo>
                    <a:pt x="943" y="232"/>
                  </a:lnTo>
                  <a:lnTo>
                    <a:pt x="969" y="246"/>
                  </a:lnTo>
                  <a:lnTo>
                    <a:pt x="1004" y="246"/>
                  </a:lnTo>
                  <a:lnTo>
                    <a:pt x="1017" y="259"/>
                  </a:lnTo>
                  <a:lnTo>
                    <a:pt x="1033" y="275"/>
                  </a:lnTo>
                  <a:lnTo>
                    <a:pt x="1054" y="283"/>
                  </a:lnTo>
                  <a:lnTo>
                    <a:pt x="1045" y="295"/>
                  </a:lnTo>
                  <a:lnTo>
                    <a:pt x="1046" y="340"/>
                  </a:lnTo>
                  <a:lnTo>
                    <a:pt x="1071" y="347"/>
                  </a:lnTo>
                  <a:lnTo>
                    <a:pt x="1096" y="338"/>
                  </a:lnTo>
                  <a:lnTo>
                    <a:pt x="1105" y="324"/>
                  </a:lnTo>
                  <a:lnTo>
                    <a:pt x="1119" y="301"/>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24" name="Freeform 71">
              <a:extLst>
                <a:ext uri="{FF2B5EF4-FFF2-40B4-BE49-F238E27FC236}">
                  <a16:creationId xmlns:a16="http://schemas.microsoft.com/office/drawing/2014/main" id="{CE634DCD-D1C0-4BCE-9731-062E464AE646}"/>
                </a:ext>
              </a:extLst>
            </p:cNvPr>
            <p:cNvSpPr>
              <a:spLocks/>
            </p:cNvSpPr>
            <p:nvPr/>
          </p:nvSpPr>
          <p:spPr bwMode="auto">
            <a:xfrm>
              <a:off x="2456592" y="2910461"/>
              <a:ext cx="108183" cy="112972"/>
            </a:xfrm>
            <a:custGeom>
              <a:avLst/>
              <a:gdLst>
                <a:gd name="T0" fmla="*/ 44 w 81"/>
                <a:gd name="T1" fmla="*/ 0 h 84"/>
                <a:gd name="T2" fmla="*/ 34 w 81"/>
                <a:gd name="T3" fmla="*/ 3 h 84"/>
                <a:gd name="T4" fmla="*/ 27 w 81"/>
                <a:gd name="T5" fmla="*/ 13 h 84"/>
                <a:gd name="T6" fmla="*/ 19 w 81"/>
                <a:gd name="T7" fmla="*/ 24 h 84"/>
                <a:gd name="T8" fmla="*/ 6 w 81"/>
                <a:gd name="T9" fmla="*/ 30 h 84"/>
                <a:gd name="T10" fmla="*/ 0 w 81"/>
                <a:gd name="T11" fmla="*/ 44 h 84"/>
                <a:gd name="T12" fmla="*/ 0 w 81"/>
                <a:gd name="T13" fmla="*/ 64 h 84"/>
                <a:gd name="T14" fmla="*/ 16 w 81"/>
                <a:gd name="T15" fmla="*/ 66 h 84"/>
                <a:gd name="T16" fmla="*/ 31 w 81"/>
                <a:gd name="T17" fmla="*/ 60 h 84"/>
                <a:gd name="T18" fmla="*/ 42 w 81"/>
                <a:gd name="T19" fmla="*/ 60 h 84"/>
                <a:gd name="T20" fmla="*/ 44 w 81"/>
                <a:gd name="T21" fmla="*/ 79 h 84"/>
                <a:gd name="T22" fmla="*/ 54 w 81"/>
                <a:gd name="T23" fmla="*/ 83 h 84"/>
                <a:gd name="T24" fmla="*/ 54 w 81"/>
                <a:gd name="T25" fmla="*/ 70 h 84"/>
                <a:gd name="T26" fmla="*/ 63 w 81"/>
                <a:gd name="T27" fmla="*/ 71 h 84"/>
                <a:gd name="T28" fmla="*/ 66 w 81"/>
                <a:gd name="T29" fmla="*/ 83 h 84"/>
                <a:gd name="T30" fmla="*/ 74 w 81"/>
                <a:gd name="T31" fmla="*/ 65 h 84"/>
                <a:gd name="T32" fmla="*/ 80 w 81"/>
                <a:gd name="T33" fmla="*/ 50 h 84"/>
                <a:gd name="T34" fmla="*/ 77 w 81"/>
                <a:gd name="T35" fmla="*/ 30 h 84"/>
                <a:gd name="T36" fmla="*/ 66 w 81"/>
                <a:gd name="T37" fmla="*/ 26 h 84"/>
                <a:gd name="T38" fmla="*/ 54 w 81"/>
                <a:gd name="T39" fmla="*/ 26 h 84"/>
                <a:gd name="T40" fmla="*/ 49 w 81"/>
                <a:gd name="T41" fmla="*/ 13 h 84"/>
                <a:gd name="T42" fmla="*/ 50 w 81"/>
                <a:gd name="T43" fmla="*/ 5 h 84"/>
                <a:gd name="T44" fmla="*/ 40 w 81"/>
                <a:gd name="T4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 h="84">
                  <a:moveTo>
                    <a:pt x="44" y="0"/>
                  </a:moveTo>
                  <a:lnTo>
                    <a:pt x="34" y="3"/>
                  </a:lnTo>
                  <a:lnTo>
                    <a:pt x="27" y="13"/>
                  </a:lnTo>
                  <a:lnTo>
                    <a:pt x="19" y="24"/>
                  </a:lnTo>
                  <a:lnTo>
                    <a:pt x="6" y="30"/>
                  </a:lnTo>
                  <a:lnTo>
                    <a:pt x="0" y="44"/>
                  </a:lnTo>
                  <a:lnTo>
                    <a:pt x="0" y="64"/>
                  </a:lnTo>
                  <a:lnTo>
                    <a:pt x="16" y="66"/>
                  </a:lnTo>
                  <a:lnTo>
                    <a:pt x="31" y="60"/>
                  </a:lnTo>
                  <a:lnTo>
                    <a:pt x="42" y="60"/>
                  </a:lnTo>
                  <a:lnTo>
                    <a:pt x="44" y="79"/>
                  </a:lnTo>
                  <a:lnTo>
                    <a:pt x="54" y="83"/>
                  </a:lnTo>
                  <a:lnTo>
                    <a:pt x="54" y="70"/>
                  </a:lnTo>
                  <a:lnTo>
                    <a:pt x="63" y="71"/>
                  </a:lnTo>
                  <a:lnTo>
                    <a:pt x="66" y="83"/>
                  </a:lnTo>
                  <a:lnTo>
                    <a:pt x="74" y="65"/>
                  </a:lnTo>
                  <a:lnTo>
                    <a:pt x="80" y="50"/>
                  </a:lnTo>
                  <a:lnTo>
                    <a:pt x="77" y="30"/>
                  </a:lnTo>
                  <a:lnTo>
                    <a:pt x="66" y="26"/>
                  </a:lnTo>
                  <a:lnTo>
                    <a:pt x="54" y="26"/>
                  </a:lnTo>
                  <a:lnTo>
                    <a:pt x="49" y="13"/>
                  </a:lnTo>
                  <a:lnTo>
                    <a:pt x="50" y="5"/>
                  </a:lnTo>
                  <a:lnTo>
                    <a:pt x="40"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25" name="Freeform 72">
              <a:extLst>
                <a:ext uri="{FF2B5EF4-FFF2-40B4-BE49-F238E27FC236}">
                  <a16:creationId xmlns:a16="http://schemas.microsoft.com/office/drawing/2014/main" id="{117D3635-A4A0-45F9-AA6B-02F8C7141381}"/>
                </a:ext>
              </a:extLst>
            </p:cNvPr>
            <p:cNvSpPr>
              <a:spLocks/>
            </p:cNvSpPr>
            <p:nvPr/>
          </p:nvSpPr>
          <p:spPr bwMode="auto">
            <a:xfrm>
              <a:off x="1444900" y="2175546"/>
              <a:ext cx="189023" cy="129621"/>
            </a:xfrm>
            <a:custGeom>
              <a:avLst/>
              <a:gdLst>
                <a:gd name="T0" fmla="*/ 45 w 142"/>
                <a:gd name="T1" fmla="*/ 4 h 98"/>
                <a:gd name="T2" fmla="*/ 28 w 142"/>
                <a:gd name="T3" fmla="*/ 32 h 98"/>
                <a:gd name="T4" fmla="*/ 18 w 142"/>
                <a:gd name="T5" fmla="*/ 50 h 98"/>
                <a:gd name="T6" fmla="*/ 0 w 142"/>
                <a:gd name="T7" fmla="*/ 70 h 98"/>
                <a:gd name="T8" fmla="*/ 13 w 142"/>
                <a:gd name="T9" fmla="*/ 84 h 98"/>
                <a:gd name="T10" fmla="*/ 32 w 142"/>
                <a:gd name="T11" fmla="*/ 97 h 98"/>
                <a:gd name="T12" fmla="*/ 71 w 142"/>
                <a:gd name="T13" fmla="*/ 77 h 98"/>
                <a:gd name="T14" fmla="*/ 91 w 142"/>
                <a:gd name="T15" fmla="*/ 64 h 98"/>
                <a:gd name="T16" fmla="*/ 121 w 142"/>
                <a:gd name="T17" fmla="*/ 57 h 98"/>
                <a:gd name="T18" fmla="*/ 141 w 142"/>
                <a:gd name="T19" fmla="*/ 42 h 98"/>
                <a:gd name="T20" fmla="*/ 116 w 142"/>
                <a:gd name="T21" fmla="*/ 19 h 98"/>
                <a:gd name="T22" fmla="*/ 84 w 142"/>
                <a:gd name="T23" fmla="*/ 12 h 98"/>
                <a:gd name="T24" fmla="*/ 71 w 142"/>
                <a:gd name="T25" fmla="*/ 0 h 98"/>
                <a:gd name="T26" fmla="*/ 56 w 142"/>
                <a:gd name="T27" fmla="*/ 15 h 98"/>
                <a:gd name="T28" fmla="*/ 45 w 142"/>
                <a:gd name="T29" fmla="*/ 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 h="98">
                  <a:moveTo>
                    <a:pt x="45" y="4"/>
                  </a:moveTo>
                  <a:lnTo>
                    <a:pt x="28" y="32"/>
                  </a:lnTo>
                  <a:lnTo>
                    <a:pt x="18" y="50"/>
                  </a:lnTo>
                  <a:lnTo>
                    <a:pt x="0" y="70"/>
                  </a:lnTo>
                  <a:lnTo>
                    <a:pt x="13" y="84"/>
                  </a:lnTo>
                  <a:lnTo>
                    <a:pt x="32" y="97"/>
                  </a:lnTo>
                  <a:lnTo>
                    <a:pt x="71" y="77"/>
                  </a:lnTo>
                  <a:lnTo>
                    <a:pt x="91" y="64"/>
                  </a:lnTo>
                  <a:lnTo>
                    <a:pt x="121" y="57"/>
                  </a:lnTo>
                  <a:lnTo>
                    <a:pt x="141" y="42"/>
                  </a:lnTo>
                  <a:lnTo>
                    <a:pt x="116" y="19"/>
                  </a:lnTo>
                  <a:lnTo>
                    <a:pt x="84" y="12"/>
                  </a:lnTo>
                  <a:lnTo>
                    <a:pt x="71" y="0"/>
                  </a:lnTo>
                  <a:lnTo>
                    <a:pt x="56" y="15"/>
                  </a:lnTo>
                  <a:lnTo>
                    <a:pt x="45" y="4"/>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26" name="Freeform 73">
              <a:extLst>
                <a:ext uri="{FF2B5EF4-FFF2-40B4-BE49-F238E27FC236}">
                  <a16:creationId xmlns:a16="http://schemas.microsoft.com/office/drawing/2014/main" id="{4C64B840-A521-470B-BA95-4CE63CBEF103}"/>
                </a:ext>
              </a:extLst>
            </p:cNvPr>
            <p:cNvSpPr>
              <a:spLocks/>
            </p:cNvSpPr>
            <p:nvPr/>
          </p:nvSpPr>
          <p:spPr bwMode="auto">
            <a:xfrm>
              <a:off x="1567349" y="2232627"/>
              <a:ext cx="271052" cy="145080"/>
            </a:xfrm>
            <a:custGeom>
              <a:avLst/>
              <a:gdLst>
                <a:gd name="T0" fmla="*/ 62 w 203"/>
                <a:gd name="T1" fmla="*/ 9 h 109"/>
                <a:gd name="T2" fmla="*/ 34 w 203"/>
                <a:gd name="T3" fmla="*/ 25 h 109"/>
                <a:gd name="T4" fmla="*/ 34 w 203"/>
                <a:gd name="T5" fmla="*/ 37 h 109"/>
                <a:gd name="T6" fmla="*/ 2 w 203"/>
                <a:gd name="T7" fmla="*/ 40 h 109"/>
                <a:gd name="T8" fmla="*/ 0 w 203"/>
                <a:gd name="T9" fmla="*/ 53 h 109"/>
                <a:gd name="T10" fmla="*/ 52 w 203"/>
                <a:gd name="T11" fmla="*/ 62 h 109"/>
                <a:gd name="T12" fmla="*/ 12 w 203"/>
                <a:gd name="T13" fmla="*/ 72 h 109"/>
                <a:gd name="T14" fmla="*/ 4 w 203"/>
                <a:gd name="T15" fmla="*/ 80 h 109"/>
                <a:gd name="T16" fmla="*/ 32 w 203"/>
                <a:gd name="T17" fmla="*/ 95 h 109"/>
                <a:gd name="T18" fmla="*/ 57 w 203"/>
                <a:gd name="T19" fmla="*/ 108 h 109"/>
                <a:gd name="T20" fmla="*/ 92 w 203"/>
                <a:gd name="T21" fmla="*/ 108 h 109"/>
                <a:gd name="T22" fmla="*/ 151 w 203"/>
                <a:gd name="T23" fmla="*/ 105 h 109"/>
                <a:gd name="T24" fmla="*/ 188 w 203"/>
                <a:gd name="T25" fmla="*/ 98 h 109"/>
                <a:gd name="T26" fmla="*/ 179 w 203"/>
                <a:gd name="T27" fmla="*/ 72 h 109"/>
                <a:gd name="T28" fmla="*/ 202 w 203"/>
                <a:gd name="T29" fmla="*/ 68 h 109"/>
                <a:gd name="T30" fmla="*/ 177 w 203"/>
                <a:gd name="T31" fmla="*/ 53 h 109"/>
                <a:gd name="T32" fmla="*/ 161 w 203"/>
                <a:gd name="T33" fmla="*/ 22 h 109"/>
                <a:gd name="T34" fmla="*/ 169 w 203"/>
                <a:gd name="T35" fmla="*/ 5 h 109"/>
                <a:gd name="T36" fmla="*/ 139 w 203"/>
                <a:gd name="T37" fmla="*/ 0 h 109"/>
                <a:gd name="T38" fmla="*/ 132 w 203"/>
                <a:gd name="T39" fmla="*/ 32 h 109"/>
                <a:gd name="T40" fmla="*/ 117 w 203"/>
                <a:gd name="T41" fmla="*/ 14 h 109"/>
                <a:gd name="T42" fmla="*/ 104 w 203"/>
                <a:gd name="T43" fmla="*/ 5 h 109"/>
                <a:gd name="T44" fmla="*/ 94 w 203"/>
                <a:gd name="T45" fmla="*/ 22 h 109"/>
                <a:gd name="T46" fmla="*/ 85 w 203"/>
                <a:gd name="T47" fmla="*/ 3 h 109"/>
                <a:gd name="T48" fmla="*/ 62 w 203"/>
                <a:gd name="T49" fmla="*/ 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109">
                  <a:moveTo>
                    <a:pt x="62" y="9"/>
                  </a:moveTo>
                  <a:lnTo>
                    <a:pt x="34" y="25"/>
                  </a:lnTo>
                  <a:lnTo>
                    <a:pt x="34" y="37"/>
                  </a:lnTo>
                  <a:lnTo>
                    <a:pt x="2" y="40"/>
                  </a:lnTo>
                  <a:lnTo>
                    <a:pt x="0" y="53"/>
                  </a:lnTo>
                  <a:lnTo>
                    <a:pt x="52" y="62"/>
                  </a:lnTo>
                  <a:lnTo>
                    <a:pt x="12" y="72"/>
                  </a:lnTo>
                  <a:lnTo>
                    <a:pt x="4" y="80"/>
                  </a:lnTo>
                  <a:lnTo>
                    <a:pt x="32" y="95"/>
                  </a:lnTo>
                  <a:lnTo>
                    <a:pt x="57" y="108"/>
                  </a:lnTo>
                  <a:lnTo>
                    <a:pt x="92" y="108"/>
                  </a:lnTo>
                  <a:lnTo>
                    <a:pt x="151" y="105"/>
                  </a:lnTo>
                  <a:lnTo>
                    <a:pt x="188" y="98"/>
                  </a:lnTo>
                  <a:lnTo>
                    <a:pt x="179" y="72"/>
                  </a:lnTo>
                  <a:lnTo>
                    <a:pt x="202" y="68"/>
                  </a:lnTo>
                  <a:lnTo>
                    <a:pt x="177" y="53"/>
                  </a:lnTo>
                  <a:lnTo>
                    <a:pt x="161" y="22"/>
                  </a:lnTo>
                  <a:lnTo>
                    <a:pt x="169" y="5"/>
                  </a:lnTo>
                  <a:lnTo>
                    <a:pt x="139" y="0"/>
                  </a:lnTo>
                  <a:lnTo>
                    <a:pt x="132" y="32"/>
                  </a:lnTo>
                  <a:lnTo>
                    <a:pt x="117" y="14"/>
                  </a:lnTo>
                  <a:lnTo>
                    <a:pt x="104" y="5"/>
                  </a:lnTo>
                  <a:lnTo>
                    <a:pt x="94" y="22"/>
                  </a:lnTo>
                  <a:lnTo>
                    <a:pt x="85" y="3"/>
                  </a:lnTo>
                  <a:lnTo>
                    <a:pt x="62" y="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27" name="Freeform 74">
              <a:extLst>
                <a:ext uri="{FF2B5EF4-FFF2-40B4-BE49-F238E27FC236}">
                  <a16:creationId xmlns:a16="http://schemas.microsoft.com/office/drawing/2014/main" id="{436B7966-81A4-4C9D-88F3-2974CF4775E4}"/>
                </a:ext>
              </a:extLst>
            </p:cNvPr>
            <p:cNvSpPr>
              <a:spLocks/>
            </p:cNvSpPr>
            <p:nvPr/>
          </p:nvSpPr>
          <p:spPr bwMode="auto">
            <a:xfrm>
              <a:off x="1778960" y="2204087"/>
              <a:ext cx="41609" cy="21405"/>
            </a:xfrm>
            <a:custGeom>
              <a:avLst/>
              <a:gdLst>
                <a:gd name="T0" fmla="*/ 15 w 30"/>
                <a:gd name="T1" fmla="*/ 14 h 15"/>
                <a:gd name="T2" fmla="*/ 18 w 30"/>
                <a:gd name="T3" fmla="*/ 14 h 15"/>
                <a:gd name="T4" fmla="*/ 19 w 30"/>
                <a:gd name="T5" fmla="*/ 14 h 15"/>
                <a:gd name="T6" fmla="*/ 21 w 30"/>
                <a:gd name="T7" fmla="*/ 14 h 15"/>
                <a:gd name="T8" fmla="*/ 23 w 30"/>
                <a:gd name="T9" fmla="*/ 13 h 15"/>
                <a:gd name="T10" fmla="*/ 25 w 30"/>
                <a:gd name="T11" fmla="*/ 12 h 15"/>
                <a:gd name="T12" fmla="*/ 26 w 30"/>
                <a:gd name="T13" fmla="*/ 11 h 15"/>
                <a:gd name="T14" fmla="*/ 28 w 30"/>
                <a:gd name="T15" fmla="*/ 11 h 15"/>
                <a:gd name="T16" fmla="*/ 29 w 30"/>
                <a:gd name="T17" fmla="*/ 10 h 15"/>
                <a:gd name="T18" fmla="*/ 29 w 30"/>
                <a:gd name="T19" fmla="*/ 9 h 15"/>
                <a:gd name="T20" fmla="*/ 29 w 30"/>
                <a:gd name="T21" fmla="*/ 8 h 15"/>
                <a:gd name="T22" fmla="*/ 29 w 30"/>
                <a:gd name="T23" fmla="*/ 7 h 15"/>
                <a:gd name="T24" fmla="*/ 29 w 30"/>
                <a:gd name="T25" fmla="*/ 6 h 15"/>
                <a:gd name="T26" fmla="*/ 29 w 30"/>
                <a:gd name="T27" fmla="*/ 4 h 15"/>
                <a:gd name="T28" fmla="*/ 28 w 30"/>
                <a:gd name="T29" fmla="*/ 3 h 15"/>
                <a:gd name="T30" fmla="*/ 26 w 30"/>
                <a:gd name="T31" fmla="*/ 3 h 15"/>
                <a:gd name="T32" fmla="*/ 25 w 30"/>
                <a:gd name="T33" fmla="*/ 2 h 15"/>
                <a:gd name="T34" fmla="*/ 23 w 30"/>
                <a:gd name="T35" fmla="*/ 1 h 15"/>
                <a:gd name="T36" fmla="*/ 21 w 30"/>
                <a:gd name="T37" fmla="*/ 0 h 15"/>
                <a:gd name="T38" fmla="*/ 19 w 30"/>
                <a:gd name="T39" fmla="*/ 0 h 15"/>
                <a:gd name="T40" fmla="*/ 18 w 30"/>
                <a:gd name="T41" fmla="*/ 0 h 15"/>
                <a:gd name="T42" fmla="*/ 15 w 30"/>
                <a:gd name="T43" fmla="*/ 0 h 15"/>
                <a:gd name="T44" fmla="*/ 13 w 30"/>
                <a:gd name="T45" fmla="*/ 0 h 15"/>
                <a:gd name="T46" fmla="*/ 11 w 30"/>
                <a:gd name="T47" fmla="*/ 0 h 15"/>
                <a:gd name="T48" fmla="*/ 10 w 30"/>
                <a:gd name="T49" fmla="*/ 0 h 15"/>
                <a:gd name="T50" fmla="*/ 8 w 30"/>
                <a:gd name="T51" fmla="*/ 1 h 15"/>
                <a:gd name="T52" fmla="*/ 6 w 30"/>
                <a:gd name="T53" fmla="*/ 2 h 15"/>
                <a:gd name="T54" fmla="*/ 5 w 30"/>
                <a:gd name="T55" fmla="*/ 2 h 15"/>
                <a:gd name="T56" fmla="*/ 4 w 30"/>
                <a:gd name="T57" fmla="*/ 3 h 15"/>
                <a:gd name="T58" fmla="*/ 2 w 30"/>
                <a:gd name="T59" fmla="*/ 3 h 15"/>
                <a:gd name="T60" fmla="*/ 2 w 30"/>
                <a:gd name="T61" fmla="*/ 4 h 15"/>
                <a:gd name="T62" fmla="*/ 1 w 30"/>
                <a:gd name="T63" fmla="*/ 6 h 15"/>
                <a:gd name="T64" fmla="*/ 1 w 30"/>
                <a:gd name="T65" fmla="*/ 7 h 15"/>
                <a:gd name="T66" fmla="*/ 0 w 30"/>
                <a:gd name="T67" fmla="*/ 7 h 15"/>
                <a:gd name="T68" fmla="*/ 1 w 30"/>
                <a:gd name="T69" fmla="*/ 8 h 15"/>
                <a:gd name="T70" fmla="*/ 1 w 30"/>
                <a:gd name="T71" fmla="*/ 9 h 15"/>
                <a:gd name="T72" fmla="*/ 2 w 30"/>
                <a:gd name="T73" fmla="*/ 10 h 15"/>
                <a:gd name="T74" fmla="*/ 2 w 30"/>
                <a:gd name="T75" fmla="*/ 11 h 15"/>
                <a:gd name="T76" fmla="*/ 4 w 30"/>
                <a:gd name="T77" fmla="*/ 11 h 15"/>
                <a:gd name="T78" fmla="*/ 5 w 30"/>
                <a:gd name="T79" fmla="*/ 12 h 15"/>
                <a:gd name="T80" fmla="*/ 6 w 30"/>
                <a:gd name="T81" fmla="*/ 12 h 15"/>
                <a:gd name="T82" fmla="*/ 8 w 30"/>
                <a:gd name="T83" fmla="*/ 13 h 15"/>
                <a:gd name="T84" fmla="*/ 10 w 30"/>
                <a:gd name="T85" fmla="*/ 14 h 15"/>
                <a:gd name="T86" fmla="*/ 11 w 30"/>
                <a:gd name="T87" fmla="*/ 14 h 15"/>
                <a:gd name="T88" fmla="*/ 13 w 30"/>
                <a:gd name="T89" fmla="*/ 14 h 15"/>
                <a:gd name="T90" fmla="*/ 15 w 30"/>
                <a:gd name="T91"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 h="15">
                  <a:moveTo>
                    <a:pt x="15" y="14"/>
                  </a:moveTo>
                  <a:lnTo>
                    <a:pt x="18" y="14"/>
                  </a:lnTo>
                  <a:lnTo>
                    <a:pt x="19" y="14"/>
                  </a:lnTo>
                  <a:lnTo>
                    <a:pt x="21" y="14"/>
                  </a:lnTo>
                  <a:lnTo>
                    <a:pt x="23" y="13"/>
                  </a:lnTo>
                  <a:lnTo>
                    <a:pt x="25" y="12"/>
                  </a:lnTo>
                  <a:lnTo>
                    <a:pt x="26" y="11"/>
                  </a:lnTo>
                  <a:lnTo>
                    <a:pt x="28" y="11"/>
                  </a:lnTo>
                  <a:lnTo>
                    <a:pt x="29" y="10"/>
                  </a:lnTo>
                  <a:lnTo>
                    <a:pt x="29" y="9"/>
                  </a:lnTo>
                  <a:lnTo>
                    <a:pt x="29" y="8"/>
                  </a:lnTo>
                  <a:lnTo>
                    <a:pt x="29" y="7"/>
                  </a:lnTo>
                  <a:lnTo>
                    <a:pt x="29" y="6"/>
                  </a:lnTo>
                  <a:lnTo>
                    <a:pt x="29" y="4"/>
                  </a:lnTo>
                  <a:lnTo>
                    <a:pt x="28" y="3"/>
                  </a:lnTo>
                  <a:lnTo>
                    <a:pt x="26" y="3"/>
                  </a:lnTo>
                  <a:lnTo>
                    <a:pt x="25" y="2"/>
                  </a:lnTo>
                  <a:lnTo>
                    <a:pt x="23" y="1"/>
                  </a:lnTo>
                  <a:lnTo>
                    <a:pt x="21" y="0"/>
                  </a:lnTo>
                  <a:lnTo>
                    <a:pt x="19" y="0"/>
                  </a:lnTo>
                  <a:lnTo>
                    <a:pt x="18" y="0"/>
                  </a:lnTo>
                  <a:lnTo>
                    <a:pt x="15" y="0"/>
                  </a:lnTo>
                  <a:lnTo>
                    <a:pt x="13" y="0"/>
                  </a:lnTo>
                  <a:lnTo>
                    <a:pt x="11" y="0"/>
                  </a:lnTo>
                  <a:lnTo>
                    <a:pt x="10" y="0"/>
                  </a:lnTo>
                  <a:lnTo>
                    <a:pt x="8" y="1"/>
                  </a:lnTo>
                  <a:lnTo>
                    <a:pt x="6" y="2"/>
                  </a:lnTo>
                  <a:lnTo>
                    <a:pt x="5" y="2"/>
                  </a:lnTo>
                  <a:lnTo>
                    <a:pt x="4" y="3"/>
                  </a:lnTo>
                  <a:lnTo>
                    <a:pt x="2" y="3"/>
                  </a:lnTo>
                  <a:lnTo>
                    <a:pt x="2" y="4"/>
                  </a:lnTo>
                  <a:lnTo>
                    <a:pt x="1" y="6"/>
                  </a:lnTo>
                  <a:lnTo>
                    <a:pt x="1" y="7"/>
                  </a:lnTo>
                  <a:lnTo>
                    <a:pt x="0" y="7"/>
                  </a:lnTo>
                  <a:lnTo>
                    <a:pt x="1" y="8"/>
                  </a:lnTo>
                  <a:lnTo>
                    <a:pt x="1" y="9"/>
                  </a:lnTo>
                  <a:lnTo>
                    <a:pt x="2" y="10"/>
                  </a:lnTo>
                  <a:lnTo>
                    <a:pt x="2" y="11"/>
                  </a:lnTo>
                  <a:lnTo>
                    <a:pt x="4" y="11"/>
                  </a:lnTo>
                  <a:lnTo>
                    <a:pt x="5" y="12"/>
                  </a:lnTo>
                  <a:lnTo>
                    <a:pt x="6" y="12"/>
                  </a:lnTo>
                  <a:lnTo>
                    <a:pt x="8" y="13"/>
                  </a:lnTo>
                  <a:lnTo>
                    <a:pt x="10" y="14"/>
                  </a:lnTo>
                  <a:lnTo>
                    <a:pt x="11" y="14"/>
                  </a:lnTo>
                  <a:lnTo>
                    <a:pt x="13" y="14"/>
                  </a:lnTo>
                  <a:lnTo>
                    <a:pt x="15" y="14"/>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28" name="Freeform 75">
              <a:extLst>
                <a:ext uri="{FF2B5EF4-FFF2-40B4-BE49-F238E27FC236}">
                  <a16:creationId xmlns:a16="http://schemas.microsoft.com/office/drawing/2014/main" id="{79C567D4-30A3-4767-9D52-004324E02724}"/>
                </a:ext>
              </a:extLst>
            </p:cNvPr>
            <p:cNvSpPr>
              <a:spLocks/>
            </p:cNvSpPr>
            <p:nvPr/>
          </p:nvSpPr>
          <p:spPr bwMode="auto">
            <a:xfrm>
              <a:off x="1545950" y="2072087"/>
              <a:ext cx="116505" cy="73729"/>
            </a:xfrm>
            <a:custGeom>
              <a:avLst/>
              <a:gdLst>
                <a:gd name="T0" fmla="*/ 85 w 86"/>
                <a:gd name="T1" fmla="*/ 0 h 55"/>
                <a:gd name="T2" fmla="*/ 63 w 86"/>
                <a:gd name="T3" fmla="*/ 8 h 55"/>
                <a:gd name="T4" fmla="*/ 30 w 86"/>
                <a:gd name="T5" fmla="*/ 24 h 55"/>
                <a:gd name="T6" fmla="*/ 2 w 86"/>
                <a:gd name="T7" fmla="*/ 31 h 55"/>
                <a:gd name="T8" fmla="*/ 0 w 86"/>
                <a:gd name="T9" fmla="*/ 49 h 55"/>
                <a:gd name="T10" fmla="*/ 37 w 86"/>
                <a:gd name="T11" fmla="*/ 54 h 55"/>
                <a:gd name="T12" fmla="*/ 63 w 86"/>
                <a:gd name="T13" fmla="*/ 29 h 55"/>
                <a:gd name="T14" fmla="*/ 85 w 86"/>
                <a:gd name="T15" fmla="*/ 29 h 55"/>
                <a:gd name="T16" fmla="*/ 85 w 86"/>
                <a:gd name="T1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55">
                  <a:moveTo>
                    <a:pt x="85" y="0"/>
                  </a:moveTo>
                  <a:lnTo>
                    <a:pt x="63" y="8"/>
                  </a:lnTo>
                  <a:lnTo>
                    <a:pt x="30" y="24"/>
                  </a:lnTo>
                  <a:lnTo>
                    <a:pt x="2" y="31"/>
                  </a:lnTo>
                  <a:lnTo>
                    <a:pt x="0" y="49"/>
                  </a:lnTo>
                  <a:lnTo>
                    <a:pt x="37" y="54"/>
                  </a:lnTo>
                  <a:lnTo>
                    <a:pt x="63" y="29"/>
                  </a:lnTo>
                  <a:lnTo>
                    <a:pt x="85" y="29"/>
                  </a:lnTo>
                  <a:lnTo>
                    <a:pt x="85"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29" name="Freeform 76">
              <a:extLst>
                <a:ext uri="{FF2B5EF4-FFF2-40B4-BE49-F238E27FC236}">
                  <a16:creationId xmlns:a16="http://schemas.microsoft.com/office/drawing/2014/main" id="{E22ED8A6-406B-450E-8DB1-B87002794E40}"/>
                </a:ext>
              </a:extLst>
            </p:cNvPr>
            <p:cNvSpPr>
              <a:spLocks/>
            </p:cNvSpPr>
            <p:nvPr/>
          </p:nvSpPr>
          <p:spPr bwMode="auto">
            <a:xfrm>
              <a:off x="1616091" y="2138682"/>
              <a:ext cx="21399" cy="36865"/>
            </a:xfrm>
            <a:custGeom>
              <a:avLst/>
              <a:gdLst>
                <a:gd name="T0" fmla="*/ 7 w 15"/>
                <a:gd name="T1" fmla="*/ 25 h 26"/>
                <a:gd name="T2" fmla="*/ 6 w 15"/>
                <a:gd name="T3" fmla="*/ 25 h 26"/>
                <a:gd name="T4" fmla="*/ 4 w 15"/>
                <a:gd name="T5" fmla="*/ 24 h 26"/>
                <a:gd name="T6" fmla="*/ 3 w 15"/>
                <a:gd name="T7" fmla="*/ 24 h 26"/>
                <a:gd name="T8" fmla="*/ 3 w 15"/>
                <a:gd name="T9" fmla="*/ 23 h 26"/>
                <a:gd name="T10" fmla="*/ 2 w 15"/>
                <a:gd name="T11" fmla="*/ 22 h 26"/>
                <a:gd name="T12" fmla="*/ 2 w 15"/>
                <a:gd name="T13" fmla="*/ 21 h 26"/>
                <a:gd name="T14" fmla="*/ 2 w 15"/>
                <a:gd name="T15" fmla="*/ 20 h 26"/>
                <a:gd name="T16" fmla="*/ 1 w 15"/>
                <a:gd name="T17" fmla="*/ 18 h 26"/>
                <a:gd name="T18" fmla="*/ 1 w 15"/>
                <a:gd name="T19" fmla="*/ 16 h 26"/>
                <a:gd name="T20" fmla="*/ 1 w 15"/>
                <a:gd name="T21" fmla="*/ 15 h 26"/>
                <a:gd name="T22" fmla="*/ 0 w 15"/>
                <a:gd name="T23" fmla="*/ 13 h 26"/>
                <a:gd name="T24" fmla="*/ 1 w 15"/>
                <a:gd name="T25" fmla="*/ 11 h 26"/>
                <a:gd name="T26" fmla="*/ 1 w 15"/>
                <a:gd name="T27" fmla="*/ 9 h 26"/>
                <a:gd name="T28" fmla="*/ 1 w 15"/>
                <a:gd name="T29" fmla="*/ 8 h 26"/>
                <a:gd name="T30" fmla="*/ 2 w 15"/>
                <a:gd name="T31" fmla="*/ 6 h 26"/>
                <a:gd name="T32" fmla="*/ 2 w 15"/>
                <a:gd name="T33" fmla="*/ 5 h 26"/>
                <a:gd name="T34" fmla="*/ 2 w 15"/>
                <a:gd name="T35" fmla="*/ 4 h 26"/>
                <a:gd name="T36" fmla="*/ 3 w 15"/>
                <a:gd name="T37" fmla="*/ 3 h 26"/>
                <a:gd name="T38" fmla="*/ 3 w 15"/>
                <a:gd name="T39" fmla="*/ 2 h 26"/>
                <a:gd name="T40" fmla="*/ 4 w 15"/>
                <a:gd name="T41" fmla="*/ 2 h 26"/>
                <a:gd name="T42" fmla="*/ 6 w 15"/>
                <a:gd name="T43" fmla="*/ 1 h 26"/>
                <a:gd name="T44" fmla="*/ 7 w 15"/>
                <a:gd name="T45" fmla="*/ 1 h 26"/>
                <a:gd name="T46" fmla="*/ 7 w 15"/>
                <a:gd name="T47" fmla="*/ 0 h 26"/>
                <a:gd name="T48" fmla="*/ 8 w 15"/>
                <a:gd name="T49" fmla="*/ 1 h 26"/>
                <a:gd name="T50" fmla="*/ 9 w 15"/>
                <a:gd name="T51" fmla="*/ 1 h 26"/>
                <a:gd name="T52" fmla="*/ 11 w 15"/>
                <a:gd name="T53" fmla="*/ 2 h 26"/>
                <a:gd name="T54" fmla="*/ 12 w 15"/>
                <a:gd name="T55" fmla="*/ 3 h 26"/>
                <a:gd name="T56" fmla="*/ 12 w 15"/>
                <a:gd name="T57" fmla="*/ 4 h 26"/>
                <a:gd name="T58" fmla="*/ 13 w 15"/>
                <a:gd name="T59" fmla="*/ 5 h 26"/>
                <a:gd name="T60" fmla="*/ 13 w 15"/>
                <a:gd name="T61" fmla="*/ 6 h 26"/>
                <a:gd name="T62" fmla="*/ 14 w 15"/>
                <a:gd name="T63" fmla="*/ 8 h 26"/>
                <a:gd name="T64" fmla="*/ 14 w 15"/>
                <a:gd name="T65" fmla="*/ 9 h 26"/>
                <a:gd name="T66" fmla="*/ 14 w 15"/>
                <a:gd name="T67" fmla="*/ 11 h 26"/>
                <a:gd name="T68" fmla="*/ 14 w 15"/>
                <a:gd name="T69" fmla="*/ 13 h 26"/>
                <a:gd name="T70" fmla="*/ 14 w 15"/>
                <a:gd name="T71" fmla="*/ 15 h 26"/>
                <a:gd name="T72" fmla="*/ 14 w 15"/>
                <a:gd name="T73" fmla="*/ 16 h 26"/>
                <a:gd name="T74" fmla="*/ 14 w 15"/>
                <a:gd name="T75" fmla="*/ 18 h 26"/>
                <a:gd name="T76" fmla="*/ 13 w 15"/>
                <a:gd name="T77" fmla="*/ 20 h 26"/>
                <a:gd name="T78" fmla="*/ 13 w 15"/>
                <a:gd name="T79" fmla="*/ 21 h 26"/>
                <a:gd name="T80" fmla="*/ 12 w 15"/>
                <a:gd name="T81" fmla="*/ 22 h 26"/>
                <a:gd name="T82" fmla="*/ 12 w 15"/>
                <a:gd name="T83" fmla="*/ 23 h 26"/>
                <a:gd name="T84" fmla="*/ 11 w 15"/>
                <a:gd name="T85" fmla="*/ 24 h 26"/>
                <a:gd name="T86" fmla="*/ 9 w 15"/>
                <a:gd name="T87" fmla="*/ 25 h 26"/>
                <a:gd name="T88" fmla="*/ 8 w 15"/>
                <a:gd name="T89" fmla="*/ 25 h 26"/>
                <a:gd name="T90" fmla="*/ 7 w 15"/>
                <a:gd name="T91"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 h="26">
                  <a:moveTo>
                    <a:pt x="7" y="25"/>
                  </a:moveTo>
                  <a:lnTo>
                    <a:pt x="6" y="25"/>
                  </a:lnTo>
                  <a:lnTo>
                    <a:pt x="4" y="24"/>
                  </a:lnTo>
                  <a:lnTo>
                    <a:pt x="3" y="24"/>
                  </a:lnTo>
                  <a:lnTo>
                    <a:pt x="3" y="23"/>
                  </a:lnTo>
                  <a:lnTo>
                    <a:pt x="2" y="22"/>
                  </a:lnTo>
                  <a:lnTo>
                    <a:pt x="2" y="21"/>
                  </a:lnTo>
                  <a:lnTo>
                    <a:pt x="2" y="20"/>
                  </a:lnTo>
                  <a:lnTo>
                    <a:pt x="1" y="18"/>
                  </a:lnTo>
                  <a:lnTo>
                    <a:pt x="1" y="16"/>
                  </a:lnTo>
                  <a:lnTo>
                    <a:pt x="1" y="15"/>
                  </a:lnTo>
                  <a:lnTo>
                    <a:pt x="0" y="13"/>
                  </a:lnTo>
                  <a:lnTo>
                    <a:pt x="1" y="11"/>
                  </a:lnTo>
                  <a:lnTo>
                    <a:pt x="1" y="9"/>
                  </a:lnTo>
                  <a:lnTo>
                    <a:pt x="1" y="8"/>
                  </a:lnTo>
                  <a:lnTo>
                    <a:pt x="2" y="6"/>
                  </a:lnTo>
                  <a:lnTo>
                    <a:pt x="2" y="5"/>
                  </a:lnTo>
                  <a:lnTo>
                    <a:pt x="2" y="4"/>
                  </a:lnTo>
                  <a:lnTo>
                    <a:pt x="3" y="3"/>
                  </a:lnTo>
                  <a:lnTo>
                    <a:pt x="3" y="2"/>
                  </a:lnTo>
                  <a:lnTo>
                    <a:pt x="4" y="2"/>
                  </a:lnTo>
                  <a:lnTo>
                    <a:pt x="6" y="1"/>
                  </a:lnTo>
                  <a:lnTo>
                    <a:pt x="7" y="1"/>
                  </a:lnTo>
                  <a:lnTo>
                    <a:pt x="7" y="0"/>
                  </a:lnTo>
                  <a:lnTo>
                    <a:pt x="8" y="1"/>
                  </a:lnTo>
                  <a:lnTo>
                    <a:pt x="9" y="1"/>
                  </a:lnTo>
                  <a:lnTo>
                    <a:pt x="11" y="2"/>
                  </a:lnTo>
                  <a:lnTo>
                    <a:pt x="12" y="3"/>
                  </a:lnTo>
                  <a:lnTo>
                    <a:pt x="12" y="4"/>
                  </a:lnTo>
                  <a:lnTo>
                    <a:pt x="13" y="5"/>
                  </a:lnTo>
                  <a:lnTo>
                    <a:pt x="13" y="6"/>
                  </a:lnTo>
                  <a:lnTo>
                    <a:pt x="14" y="8"/>
                  </a:lnTo>
                  <a:lnTo>
                    <a:pt x="14" y="9"/>
                  </a:lnTo>
                  <a:lnTo>
                    <a:pt x="14" y="11"/>
                  </a:lnTo>
                  <a:lnTo>
                    <a:pt x="14" y="13"/>
                  </a:lnTo>
                  <a:lnTo>
                    <a:pt x="14" y="15"/>
                  </a:lnTo>
                  <a:lnTo>
                    <a:pt x="14" y="16"/>
                  </a:lnTo>
                  <a:lnTo>
                    <a:pt x="14" y="18"/>
                  </a:lnTo>
                  <a:lnTo>
                    <a:pt x="13" y="20"/>
                  </a:lnTo>
                  <a:lnTo>
                    <a:pt x="13" y="21"/>
                  </a:lnTo>
                  <a:lnTo>
                    <a:pt x="12" y="22"/>
                  </a:lnTo>
                  <a:lnTo>
                    <a:pt x="12" y="23"/>
                  </a:lnTo>
                  <a:lnTo>
                    <a:pt x="11" y="24"/>
                  </a:lnTo>
                  <a:lnTo>
                    <a:pt x="9" y="25"/>
                  </a:lnTo>
                  <a:lnTo>
                    <a:pt x="8" y="25"/>
                  </a:lnTo>
                  <a:lnTo>
                    <a:pt x="7" y="25"/>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30" name="Freeform 77">
              <a:extLst>
                <a:ext uri="{FF2B5EF4-FFF2-40B4-BE49-F238E27FC236}">
                  <a16:creationId xmlns:a16="http://schemas.microsoft.com/office/drawing/2014/main" id="{D1290D76-FDCB-4E84-8F04-77FD408CDD52}"/>
                </a:ext>
              </a:extLst>
            </p:cNvPr>
            <p:cNvSpPr>
              <a:spLocks/>
            </p:cNvSpPr>
            <p:nvPr/>
          </p:nvSpPr>
          <p:spPr bwMode="auto">
            <a:xfrm>
              <a:off x="1655322" y="2106574"/>
              <a:ext cx="174758" cy="86810"/>
            </a:xfrm>
            <a:custGeom>
              <a:avLst/>
              <a:gdLst>
                <a:gd name="T0" fmla="*/ 45 w 131"/>
                <a:gd name="T1" fmla="*/ 20 h 64"/>
                <a:gd name="T2" fmla="*/ 33 w 131"/>
                <a:gd name="T3" fmla="*/ 33 h 64"/>
                <a:gd name="T4" fmla="*/ 5 w 131"/>
                <a:gd name="T5" fmla="*/ 33 h 64"/>
                <a:gd name="T6" fmla="*/ 0 w 131"/>
                <a:gd name="T7" fmla="*/ 55 h 64"/>
                <a:gd name="T8" fmla="*/ 30 w 131"/>
                <a:gd name="T9" fmla="*/ 63 h 64"/>
                <a:gd name="T10" fmla="*/ 55 w 131"/>
                <a:gd name="T11" fmla="*/ 59 h 64"/>
                <a:gd name="T12" fmla="*/ 77 w 131"/>
                <a:gd name="T13" fmla="*/ 51 h 64"/>
                <a:gd name="T14" fmla="*/ 105 w 131"/>
                <a:gd name="T15" fmla="*/ 46 h 64"/>
                <a:gd name="T16" fmla="*/ 130 w 131"/>
                <a:gd name="T17" fmla="*/ 54 h 64"/>
                <a:gd name="T18" fmla="*/ 117 w 131"/>
                <a:gd name="T19" fmla="*/ 26 h 64"/>
                <a:gd name="T20" fmla="*/ 90 w 131"/>
                <a:gd name="T21" fmla="*/ 18 h 64"/>
                <a:gd name="T22" fmla="*/ 85 w 131"/>
                <a:gd name="T23" fmla="*/ 0 h 64"/>
                <a:gd name="T24" fmla="*/ 62 w 131"/>
                <a:gd name="T25" fmla="*/ 3 h 64"/>
                <a:gd name="T26" fmla="*/ 60 w 131"/>
                <a:gd name="T27" fmla="*/ 18 h 64"/>
                <a:gd name="T28" fmla="*/ 45 w 131"/>
                <a:gd name="T29"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1" h="64">
                  <a:moveTo>
                    <a:pt x="45" y="20"/>
                  </a:moveTo>
                  <a:lnTo>
                    <a:pt x="33" y="33"/>
                  </a:lnTo>
                  <a:lnTo>
                    <a:pt x="5" y="33"/>
                  </a:lnTo>
                  <a:lnTo>
                    <a:pt x="0" y="55"/>
                  </a:lnTo>
                  <a:lnTo>
                    <a:pt x="30" y="63"/>
                  </a:lnTo>
                  <a:lnTo>
                    <a:pt x="55" y="59"/>
                  </a:lnTo>
                  <a:lnTo>
                    <a:pt x="77" y="51"/>
                  </a:lnTo>
                  <a:lnTo>
                    <a:pt x="105" y="46"/>
                  </a:lnTo>
                  <a:lnTo>
                    <a:pt x="130" y="54"/>
                  </a:lnTo>
                  <a:lnTo>
                    <a:pt x="117" y="26"/>
                  </a:lnTo>
                  <a:lnTo>
                    <a:pt x="90" y="18"/>
                  </a:lnTo>
                  <a:lnTo>
                    <a:pt x="85" y="0"/>
                  </a:lnTo>
                  <a:lnTo>
                    <a:pt x="62" y="3"/>
                  </a:lnTo>
                  <a:lnTo>
                    <a:pt x="60" y="18"/>
                  </a:lnTo>
                  <a:lnTo>
                    <a:pt x="45" y="2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31" name="Freeform 78">
              <a:extLst>
                <a:ext uri="{FF2B5EF4-FFF2-40B4-BE49-F238E27FC236}">
                  <a16:creationId xmlns:a16="http://schemas.microsoft.com/office/drawing/2014/main" id="{68989D29-AB7A-42A5-B224-43001A726F21}"/>
                </a:ext>
              </a:extLst>
            </p:cNvPr>
            <p:cNvSpPr>
              <a:spLocks/>
            </p:cNvSpPr>
            <p:nvPr/>
          </p:nvSpPr>
          <p:spPr bwMode="auto">
            <a:xfrm>
              <a:off x="1712386" y="2061385"/>
              <a:ext cx="55875" cy="40432"/>
            </a:xfrm>
            <a:custGeom>
              <a:avLst/>
              <a:gdLst>
                <a:gd name="T0" fmla="*/ 26 w 41"/>
                <a:gd name="T1" fmla="*/ 2 h 31"/>
                <a:gd name="T2" fmla="*/ 8 w 41"/>
                <a:gd name="T3" fmla="*/ 2 h 31"/>
                <a:gd name="T4" fmla="*/ 0 w 41"/>
                <a:gd name="T5" fmla="*/ 17 h 31"/>
                <a:gd name="T6" fmla="*/ 0 w 41"/>
                <a:gd name="T7" fmla="*/ 30 h 31"/>
                <a:gd name="T8" fmla="*/ 18 w 41"/>
                <a:gd name="T9" fmla="*/ 20 h 31"/>
                <a:gd name="T10" fmla="*/ 38 w 41"/>
                <a:gd name="T11" fmla="*/ 15 h 31"/>
                <a:gd name="T12" fmla="*/ 40 w 41"/>
                <a:gd name="T13" fmla="*/ 0 h 31"/>
                <a:gd name="T14" fmla="*/ 26 w 41"/>
                <a:gd name="T15" fmla="*/ 2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26" y="2"/>
                  </a:moveTo>
                  <a:lnTo>
                    <a:pt x="8" y="2"/>
                  </a:lnTo>
                  <a:lnTo>
                    <a:pt x="0" y="17"/>
                  </a:lnTo>
                  <a:lnTo>
                    <a:pt x="0" y="30"/>
                  </a:lnTo>
                  <a:lnTo>
                    <a:pt x="18" y="20"/>
                  </a:lnTo>
                  <a:lnTo>
                    <a:pt x="38" y="15"/>
                  </a:lnTo>
                  <a:lnTo>
                    <a:pt x="40" y="0"/>
                  </a:lnTo>
                  <a:lnTo>
                    <a:pt x="26" y="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32" name="Freeform 79">
              <a:extLst>
                <a:ext uri="{FF2B5EF4-FFF2-40B4-BE49-F238E27FC236}">
                  <a16:creationId xmlns:a16="http://schemas.microsoft.com/office/drawing/2014/main" id="{B10AE1F7-E048-4C2F-9541-A89D0064626E}"/>
                </a:ext>
              </a:extLst>
            </p:cNvPr>
            <p:cNvSpPr>
              <a:spLocks/>
            </p:cNvSpPr>
            <p:nvPr/>
          </p:nvSpPr>
          <p:spPr bwMode="auto">
            <a:xfrm>
              <a:off x="1711197" y="2013818"/>
              <a:ext cx="66574" cy="35675"/>
            </a:xfrm>
            <a:custGeom>
              <a:avLst/>
              <a:gdLst>
                <a:gd name="T0" fmla="*/ 13 w 51"/>
                <a:gd name="T1" fmla="*/ 7 h 27"/>
                <a:gd name="T2" fmla="*/ 25 w 51"/>
                <a:gd name="T3" fmla="*/ 0 h 27"/>
                <a:gd name="T4" fmla="*/ 42 w 51"/>
                <a:gd name="T5" fmla="*/ 2 h 27"/>
                <a:gd name="T6" fmla="*/ 50 w 51"/>
                <a:gd name="T7" fmla="*/ 15 h 27"/>
                <a:gd name="T8" fmla="*/ 28 w 51"/>
                <a:gd name="T9" fmla="*/ 23 h 27"/>
                <a:gd name="T10" fmla="*/ 0 w 51"/>
                <a:gd name="T11" fmla="*/ 26 h 27"/>
                <a:gd name="T12" fmla="*/ 13 w 51"/>
                <a:gd name="T13" fmla="*/ 7 h 27"/>
              </a:gdLst>
              <a:ahLst/>
              <a:cxnLst>
                <a:cxn ang="0">
                  <a:pos x="T0" y="T1"/>
                </a:cxn>
                <a:cxn ang="0">
                  <a:pos x="T2" y="T3"/>
                </a:cxn>
                <a:cxn ang="0">
                  <a:pos x="T4" y="T5"/>
                </a:cxn>
                <a:cxn ang="0">
                  <a:pos x="T6" y="T7"/>
                </a:cxn>
                <a:cxn ang="0">
                  <a:pos x="T8" y="T9"/>
                </a:cxn>
                <a:cxn ang="0">
                  <a:pos x="T10" y="T11"/>
                </a:cxn>
                <a:cxn ang="0">
                  <a:pos x="T12" y="T13"/>
                </a:cxn>
              </a:cxnLst>
              <a:rect l="0" t="0" r="r" b="b"/>
              <a:pathLst>
                <a:path w="51" h="27">
                  <a:moveTo>
                    <a:pt x="13" y="7"/>
                  </a:moveTo>
                  <a:lnTo>
                    <a:pt x="25" y="0"/>
                  </a:lnTo>
                  <a:lnTo>
                    <a:pt x="42" y="2"/>
                  </a:lnTo>
                  <a:lnTo>
                    <a:pt x="50" y="15"/>
                  </a:lnTo>
                  <a:lnTo>
                    <a:pt x="28" y="23"/>
                  </a:lnTo>
                  <a:lnTo>
                    <a:pt x="0" y="26"/>
                  </a:lnTo>
                  <a:lnTo>
                    <a:pt x="13" y="7"/>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33" name="Freeform 80">
              <a:extLst>
                <a:ext uri="{FF2B5EF4-FFF2-40B4-BE49-F238E27FC236}">
                  <a16:creationId xmlns:a16="http://schemas.microsoft.com/office/drawing/2014/main" id="{B61A32B1-539B-439A-94C4-35317B4E2C2D}"/>
                </a:ext>
              </a:extLst>
            </p:cNvPr>
            <p:cNvSpPr>
              <a:spLocks/>
            </p:cNvSpPr>
            <p:nvPr/>
          </p:nvSpPr>
          <p:spPr bwMode="auto">
            <a:xfrm>
              <a:off x="1838402" y="2013818"/>
              <a:ext cx="92728" cy="60648"/>
            </a:xfrm>
            <a:custGeom>
              <a:avLst/>
              <a:gdLst>
                <a:gd name="T0" fmla="*/ 13 w 70"/>
                <a:gd name="T1" fmla="*/ 0 h 45"/>
                <a:gd name="T2" fmla="*/ 31 w 70"/>
                <a:gd name="T3" fmla="*/ 2 h 45"/>
                <a:gd name="T4" fmla="*/ 48 w 70"/>
                <a:gd name="T5" fmla="*/ 7 h 45"/>
                <a:gd name="T6" fmla="*/ 64 w 70"/>
                <a:gd name="T7" fmla="*/ 25 h 45"/>
                <a:gd name="T8" fmla="*/ 69 w 70"/>
                <a:gd name="T9" fmla="*/ 40 h 45"/>
                <a:gd name="T10" fmla="*/ 39 w 70"/>
                <a:gd name="T11" fmla="*/ 44 h 45"/>
                <a:gd name="T12" fmla="*/ 31 w 70"/>
                <a:gd name="T13" fmla="*/ 29 h 45"/>
                <a:gd name="T14" fmla="*/ 13 w 70"/>
                <a:gd name="T15" fmla="*/ 27 h 45"/>
                <a:gd name="T16" fmla="*/ 0 w 70"/>
                <a:gd name="T17" fmla="*/ 9 h 45"/>
                <a:gd name="T18" fmla="*/ 13 w 70"/>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45">
                  <a:moveTo>
                    <a:pt x="13" y="0"/>
                  </a:moveTo>
                  <a:lnTo>
                    <a:pt x="31" y="2"/>
                  </a:lnTo>
                  <a:lnTo>
                    <a:pt x="48" y="7"/>
                  </a:lnTo>
                  <a:lnTo>
                    <a:pt x="64" y="25"/>
                  </a:lnTo>
                  <a:lnTo>
                    <a:pt x="69" y="40"/>
                  </a:lnTo>
                  <a:lnTo>
                    <a:pt x="39" y="44"/>
                  </a:lnTo>
                  <a:lnTo>
                    <a:pt x="31" y="29"/>
                  </a:lnTo>
                  <a:lnTo>
                    <a:pt x="13" y="27"/>
                  </a:lnTo>
                  <a:lnTo>
                    <a:pt x="0" y="9"/>
                  </a:lnTo>
                  <a:lnTo>
                    <a:pt x="13"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34" name="Freeform 81">
              <a:extLst>
                <a:ext uri="{FF2B5EF4-FFF2-40B4-BE49-F238E27FC236}">
                  <a16:creationId xmlns:a16="http://schemas.microsoft.com/office/drawing/2014/main" id="{3FB191CA-36A5-45D1-9C24-0AC72C6C9DFC}"/>
                </a:ext>
              </a:extLst>
            </p:cNvPr>
            <p:cNvSpPr>
              <a:spLocks/>
            </p:cNvSpPr>
            <p:nvPr/>
          </p:nvSpPr>
          <p:spPr bwMode="auto">
            <a:xfrm>
              <a:off x="1838402" y="2199330"/>
              <a:ext cx="89162" cy="92756"/>
            </a:xfrm>
            <a:custGeom>
              <a:avLst/>
              <a:gdLst>
                <a:gd name="T0" fmla="*/ 23 w 67"/>
                <a:gd name="T1" fmla="*/ 5 h 70"/>
                <a:gd name="T2" fmla="*/ 28 w 67"/>
                <a:gd name="T3" fmla="*/ 21 h 70"/>
                <a:gd name="T4" fmla="*/ 25 w 67"/>
                <a:gd name="T5" fmla="*/ 38 h 70"/>
                <a:gd name="T6" fmla="*/ 3 w 67"/>
                <a:gd name="T7" fmla="*/ 26 h 70"/>
                <a:gd name="T8" fmla="*/ 0 w 67"/>
                <a:gd name="T9" fmla="*/ 41 h 70"/>
                <a:gd name="T10" fmla="*/ 21 w 67"/>
                <a:gd name="T11" fmla="*/ 53 h 70"/>
                <a:gd name="T12" fmla="*/ 31 w 67"/>
                <a:gd name="T13" fmla="*/ 66 h 70"/>
                <a:gd name="T14" fmla="*/ 53 w 67"/>
                <a:gd name="T15" fmla="*/ 69 h 70"/>
                <a:gd name="T16" fmla="*/ 66 w 67"/>
                <a:gd name="T17" fmla="*/ 46 h 70"/>
                <a:gd name="T18" fmla="*/ 58 w 67"/>
                <a:gd name="T19" fmla="*/ 28 h 70"/>
                <a:gd name="T20" fmla="*/ 61 w 67"/>
                <a:gd name="T21" fmla="*/ 0 h 70"/>
                <a:gd name="T22" fmla="*/ 23 w 67"/>
                <a:gd name="T23" fmla="*/ 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70">
                  <a:moveTo>
                    <a:pt x="23" y="5"/>
                  </a:moveTo>
                  <a:lnTo>
                    <a:pt x="28" y="21"/>
                  </a:lnTo>
                  <a:lnTo>
                    <a:pt x="25" y="38"/>
                  </a:lnTo>
                  <a:lnTo>
                    <a:pt x="3" y="26"/>
                  </a:lnTo>
                  <a:lnTo>
                    <a:pt x="0" y="41"/>
                  </a:lnTo>
                  <a:lnTo>
                    <a:pt x="21" y="53"/>
                  </a:lnTo>
                  <a:lnTo>
                    <a:pt x="31" y="66"/>
                  </a:lnTo>
                  <a:lnTo>
                    <a:pt x="53" y="69"/>
                  </a:lnTo>
                  <a:lnTo>
                    <a:pt x="66" y="46"/>
                  </a:lnTo>
                  <a:lnTo>
                    <a:pt x="58" y="28"/>
                  </a:lnTo>
                  <a:lnTo>
                    <a:pt x="61" y="0"/>
                  </a:lnTo>
                  <a:lnTo>
                    <a:pt x="23" y="5"/>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35" name="Freeform 82">
              <a:extLst>
                <a:ext uri="{FF2B5EF4-FFF2-40B4-BE49-F238E27FC236}">
                  <a16:creationId xmlns:a16="http://schemas.microsoft.com/office/drawing/2014/main" id="{BC2F65FC-EEB7-4B24-BE3E-94313CBE5193}"/>
                </a:ext>
              </a:extLst>
            </p:cNvPr>
            <p:cNvSpPr>
              <a:spLocks/>
            </p:cNvSpPr>
            <p:nvPr/>
          </p:nvSpPr>
          <p:spPr bwMode="auto">
            <a:xfrm>
              <a:off x="1859801" y="2334897"/>
              <a:ext cx="54686" cy="42811"/>
            </a:xfrm>
            <a:custGeom>
              <a:avLst/>
              <a:gdLst>
                <a:gd name="T0" fmla="*/ 20 w 42"/>
                <a:gd name="T1" fmla="*/ 0 h 32"/>
                <a:gd name="T2" fmla="*/ 5 w 42"/>
                <a:gd name="T3" fmla="*/ 10 h 32"/>
                <a:gd name="T4" fmla="*/ 0 w 42"/>
                <a:gd name="T5" fmla="*/ 28 h 32"/>
                <a:gd name="T6" fmla="*/ 25 w 42"/>
                <a:gd name="T7" fmla="*/ 31 h 32"/>
                <a:gd name="T8" fmla="*/ 41 w 42"/>
                <a:gd name="T9" fmla="*/ 21 h 32"/>
                <a:gd name="T10" fmla="*/ 20 w 42"/>
                <a:gd name="T11" fmla="*/ 0 h 32"/>
              </a:gdLst>
              <a:ahLst/>
              <a:cxnLst>
                <a:cxn ang="0">
                  <a:pos x="T0" y="T1"/>
                </a:cxn>
                <a:cxn ang="0">
                  <a:pos x="T2" y="T3"/>
                </a:cxn>
                <a:cxn ang="0">
                  <a:pos x="T4" y="T5"/>
                </a:cxn>
                <a:cxn ang="0">
                  <a:pos x="T6" y="T7"/>
                </a:cxn>
                <a:cxn ang="0">
                  <a:pos x="T8" y="T9"/>
                </a:cxn>
                <a:cxn ang="0">
                  <a:pos x="T10" y="T11"/>
                </a:cxn>
              </a:cxnLst>
              <a:rect l="0" t="0" r="r" b="b"/>
              <a:pathLst>
                <a:path w="42" h="32">
                  <a:moveTo>
                    <a:pt x="20" y="0"/>
                  </a:moveTo>
                  <a:lnTo>
                    <a:pt x="5" y="10"/>
                  </a:lnTo>
                  <a:lnTo>
                    <a:pt x="0" y="28"/>
                  </a:lnTo>
                  <a:lnTo>
                    <a:pt x="25" y="31"/>
                  </a:lnTo>
                  <a:lnTo>
                    <a:pt x="41" y="21"/>
                  </a:lnTo>
                  <a:lnTo>
                    <a:pt x="20"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36" name="Freeform 83">
              <a:extLst>
                <a:ext uri="{FF2B5EF4-FFF2-40B4-BE49-F238E27FC236}">
                  <a16:creationId xmlns:a16="http://schemas.microsoft.com/office/drawing/2014/main" id="{585C787E-16E7-49AF-B5DF-3611FD20F905}"/>
                </a:ext>
              </a:extLst>
            </p:cNvPr>
            <p:cNvSpPr>
              <a:spLocks/>
            </p:cNvSpPr>
            <p:nvPr/>
          </p:nvSpPr>
          <p:spPr bwMode="auto">
            <a:xfrm>
              <a:off x="1953718" y="2195762"/>
              <a:ext cx="90351" cy="73729"/>
            </a:xfrm>
            <a:custGeom>
              <a:avLst/>
              <a:gdLst>
                <a:gd name="T0" fmla="*/ 0 w 67"/>
                <a:gd name="T1" fmla="*/ 54 h 55"/>
                <a:gd name="T2" fmla="*/ 2 w 67"/>
                <a:gd name="T3" fmla="*/ 31 h 55"/>
                <a:gd name="T4" fmla="*/ 9 w 67"/>
                <a:gd name="T5" fmla="*/ 10 h 55"/>
                <a:gd name="T6" fmla="*/ 32 w 67"/>
                <a:gd name="T7" fmla="*/ 0 h 55"/>
                <a:gd name="T8" fmla="*/ 52 w 67"/>
                <a:gd name="T9" fmla="*/ 3 h 55"/>
                <a:gd name="T10" fmla="*/ 66 w 67"/>
                <a:gd name="T11" fmla="*/ 8 h 55"/>
                <a:gd name="T12" fmla="*/ 53 w 67"/>
                <a:gd name="T13" fmla="*/ 23 h 55"/>
                <a:gd name="T14" fmla="*/ 33 w 67"/>
                <a:gd name="T15" fmla="*/ 39 h 55"/>
                <a:gd name="T16" fmla="*/ 19 w 67"/>
                <a:gd name="T17" fmla="*/ 39 h 55"/>
                <a:gd name="T18" fmla="*/ 14 w 67"/>
                <a:gd name="T19" fmla="*/ 54 h 55"/>
                <a:gd name="T20" fmla="*/ 0 w 67"/>
                <a:gd name="T21" fmla="*/ 5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55">
                  <a:moveTo>
                    <a:pt x="0" y="54"/>
                  </a:moveTo>
                  <a:lnTo>
                    <a:pt x="2" y="31"/>
                  </a:lnTo>
                  <a:lnTo>
                    <a:pt x="9" y="10"/>
                  </a:lnTo>
                  <a:lnTo>
                    <a:pt x="32" y="0"/>
                  </a:lnTo>
                  <a:lnTo>
                    <a:pt x="52" y="3"/>
                  </a:lnTo>
                  <a:lnTo>
                    <a:pt x="66" y="8"/>
                  </a:lnTo>
                  <a:lnTo>
                    <a:pt x="53" y="23"/>
                  </a:lnTo>
                  <a:lnTo>
                    <a:pt x="33" y="39"/>
                  </a:lnTo>
                  <a:lnTo>
                    <a:pt x="19" y="39"/>
                  </a:lnTo>
                  <a:lnTo>
                    <a:pt x="14" y="54"/>
                  </a:lnTo>
                  <a:lnTo>
                    <a:pt x="0" y="54"/>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37" name="Freeform 84">
              <a:extLst>
                <a:ext uri="{FF2B5EF4-FFF2-40B4-BE49-F238E27FC236}">
                  <a16:creationId xmlns:a16="http://schemas.microsoft.com/office/drawing/2014/main" id="{61C01E9D-8900-4842-8E3D-933C81D708D5}"/>
                </a:ext>
              </a:extLst>
            </p:cNvPr>
            <p:cNvSpPr>
              <a:spLocks/>
            </p:cNvSpPr>
            <p:nvPr/>
          </p:nvSpPr>
          <p:spPr bwMode="auto">
            <a:xfrm>
              <a:off x="2050013" y="2204087"/>
              <a:ext cx="431544" cy="386484"/>
            </a:xfrm>
            <a:custGeom>
              <a:avLst/>
              <a:gdLst>
                <a:gd name="T0" fmla="*/ 47 w 323"/>
                <a:gd name="T1" fmla="*/ 0 h 289"/>
                <a:gd name="T2" fmla="*/ 17 w 323"/>
                <a:gd name="T3" fmla="*/ 9 h 289"/>
                <a:gd name="T4" fmla="*/ 0 w 323"/>
                <a:gd name="T5" fmla="*/ 40 h 289"/>
                <a:gd name="T6" fmla="*/ 3 w 323"/>
                <a:gd name="T7" fmla="*/ 67 h 289"/>
                <a:gd name="T8" fmla="*/ 25 w 323"/>
                <a:gd name="T9" fmla="*/ 76 h 289"/>
                <a:gd name="T10" fmla="*/ 15 w 323"/>
                <a:gd name="T11" fmla="*/ 87 h 289"/>
                <a:gd name="T12" fmla="*/ 20 w 323"/>
                <a:gd name="T13" fmla="*/ 96 h 289"/>
                <a:gd name="T14" fmla="*/ 68 w 323"/>
                <a:gd name="T15" fmla="*/ 89 h 289"/>
                <a:gd name="T16" fmla="*/ 97 w 323"/>
                <a:gd name="T17" fmla="*/ 104 h 289"/>
                <a:gd name="T18" fmla="*/ 120 w 323"/>
                <a:gd name="T19" fmla="*/ 89 h 289"/>
                <a:gd name="T20" fmla="*/ 147 w 323"/>
                <a:gd name="T21" fmla="*/ 114 h 289"/>
                <a:gd name="T22" fmla="*/ 145 w 323"/>
                <a:gd name="T23" fmla="*/ 131 h 289"/>
                <a:gd name="T24" fmla="*/ 170 w 323"/>
                <a:gd name="T25" fmla="*/ 131 h 289"/>
                <a:gd name="T26" fmla="*/ 185 w 323"/>
                <a:gd name="T27" fmla="*/ 144 h 289"/>
                <a:gd name="T28" fmla="*/ 187 w 323"/>
                <a:gd name="T29" fmla="*/ 171 h 289"/>
                <a:gd name="T30" fmla="*/ 160 w 323"/>
                <a:gd name="T31" fmla="*/ 201 h 289"/>
                <a:gd name="T32" fmla="*/ 115 w 323"/>
                <a:gd name="T33" fmla="*/ 211 h 289"/>
                <a:gd name="T34" fmla="*/ 105 w 323"/>
                <a:gd name="T35" fmla="*/ 226 h 289"/>
                <a:gd name="T36" fmla="*/ 123 w 323"/>
                <a:gd name="T37" fmla="*/ 243 h 289"/>
                <a:gd name="T38" fmla="*/ 160 w 323"/>
                <a:gd name="T39" fmla="*/ 233 h 289"/>
                <a:gd name="T40" fmla="*/ 197 w 323"/>
                <a:gd name="T41" fmla="*/ 263 h 289"/>
                <a:gd name="T42" fmla="*/ 247 w 323"/>
                <a:gd name="T43" fmla="*/ 288 h 289"/>
                <a:gd name="T44" fmla="*/ 230 w 323"/>
                <a:gd name="T45" fmla="*/ 248 h 289"/>
                <a:gd name="T46" fmla="*/ 264 w 323"/>
                <a:gd name="T47" fmla="*/ 270 h 289"/>
                <a:gd name="T48" fmla="*/ 275 w 323"/>
                <a:gd name="T49" fmla="*/ 246 h 289"/>
                <a:gd name="T50" fmla="*/ 267 w 323"/>
                <a:gd name="T51" fmla="*/ 215 h 289"/>
                <a:gd name="T52" fmla="*/ 242 w 323"/>
                <a:gd name="T53" fmla="*/ 211 h 289"/>
                <a:gd name="T54" fmla="*/ 245 w 323"/>
                <a:gd name="T55" fmla="*/ 182 h 289"/>
                <a:gd name="T56" fmla="*/ 258 w 323"/>
                <a:gd name="T57" fmla="*/ 178 h 289"/>
                <a:gd name="T58" fmla="*/ 297 w 323"/>
                <a:gd name="T59" fmla="*/ 218 h 289"/>
                <a:gd name="T60" fmla="*/ 312 w 323"/>
                <a:gd name="T61" fmla="*/ 193 h 289"/>
                <a:gd name="T62" fmla="*/ 322 w 323"/>
                <a:gd name="T63" fmla="*/ 176 h 289"/>
                <a:gd name="T64" fmla="*/ 297 w 323"/>
                <a:gd name="T65" fmla="*/ 159 h 289"/>
                <a:gd name="T66" fmla="*/ 270 w 323"/>
                <a:gd name="T67" fmla="*/ 151 h 289"/>
                <a:gd name="T68" fmla="*/ 250 w 323"/>
                <a:gd name="T69" fmla="*/ 123 h 289"/>
                <a:gd name="T70" fmla="*/ 264 w 323"/>
                <a:gd name="T71" fmla="*/ 106 h 289"/>
                <a:gd name="T72" fmla="*/ 253 w 323"/>
                <a:gd name="T73" fmla="*/ 84 h 289"/>
                <a:gd name="T74" fmla="*/ 212 w 323"/>
                <a:gd name="T75" fmla="*/ 67 h 289"/>
                <a:gd name="T76" fmla="*/ 187 w 323"/>
                <a:gd name="T77" fmla="*/ 54 h 289"/>
                <a:gd name="T78" fmla="*/ 168 w 323"/>
                <a:gd name="T79" fmla="*/ 22 h 289"/>
                <a:gd name="T80" fmla="*/ 117 w 323"/>
                <a:gd name="T81" fmla="*/ 27 h 289"/>
                <a:gd name="T82" fmla="*/ 103 w 323"/>
                <a:gd name="T83" fmla="*/ 47 h 289"/>
                <a:gd name="T84" fmla="*/ 109 w 323"/>
                <a:gd name="T85" fmla="*/ 2 h 289"/>
                <a:gd name="T86" fmla="*/ 75 w 323"/>
                <a:gd name="T87" fmla="*/ 0 h 289"/>
                <a:gd name="T88" fmla="*/ 58 w 323"/>
                <a:gd name="T89" fmla="*/ 22 h 289"/>
                <a:gd name="T90" fmla="*/ 55 w 323"/>
                <a:gd name="T91" fmla="*/ 40 h 289"/>
                <a:gd name="T92" fmla="*/ 37 w 323"/>
                <a:gd name="T93" fmla="*/ 36 h 289"/>
                <a:gd name="T94" fmla="*/ 47 w 323"/>
                <a:gd name="T95"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3" h="289">
                  <a:moveTo>
                    <a:pt x="47" y="0"/>
                  </a:moveTo>
                  <a:lnTo>
                    <a:pt x="17" y="9"/>
                  </a:lnTo>
                  <a:lnTo>
                    <a:pt x="0" y="40"/>
                  </a:lnTo>
                  <a:lnTo>
                    <a:pt x="3" y="67"/>
                  </a:lnTo>
                  <a:lnTo>
                    <a:pt x="25" y="76"/>
                  </a:lnTo>
                  <a:lnTo>
                    <a:pt x="15" y="87"/>
                  </a:lnTo>
                  <a:lnTo>
                    <a:pt x="20" y="96"/>
                  </a:lnTo>
                  <a:lnTo>
                    <a:pt x="68" y="89"/>
                  </a:lnTo>
                  <a:lnTo>
                    <a:pt x="97" y="104"/>
                  </a:lnTo>
                  <a:lnTo>
                    <a:pt x="120" y="89"/>
                  </a:lnTo>
                  <a:lnTo>
                    <a:pt x="147" y="114"/>
                  </a:lnTo>
                  <a:lnTo>
                    <a:pt x="145" y="131"/>
                  </a:lnTo>
                  <a:lnTo>
                    <a:pt x="170" y="131"/>
                  </a:lnTo>
                  <a:lnTo>
                    <a:pt x="185" y="144"/>
                  </a:lnTo>
                  <a:lnTo>
                    <a:pt x="187" y="171"/>
                  </a:lnTo>
                  <a:lnTo>
                    <a:pt x="160" y="201"/>
                  </a:lnTo>
                  <a:lnTo>
                    <a:pt x="115" y="211"/>
                  </a:lnTo>
                  <a:lnTo>
                    <a:pt x="105" y="226"/>
                  </a:lnTo>
                  <a:lnTo>
                    <a:pt x="123" y="243"/>
                  </a:lnTo>
                  <a:lnTo>
                    <a:pt x="160" y="233"/>
                  </a:lnTo>
                  <a:lnTo>
                    <a:pt x="197" y="263"/>
                  </a:lnTo>
                  <a:lnTo>
                    <a:pt x="247" y="288"/>
                  </a:lnTo>
                  <a:lnTo>
                    <a:pt x="230" y="248"/>
                  </a:lnTo>
                  <a:lnTo>
                    <a:pt x="264" y="270"/>
                  </a:lnTo>
                  <a:lnTo>
                    <a:pt x="275" y="246"/>
                  </a:lnTo>
                  <a:lnTo>
                    <a:pt x="267" y="215"/>
                  </a:lnTo>
                  <a:lnTo>
                    <a:pt x="242" y="211"/>
                  </a:lnTo>
                  <a:lnTo>
                    <a:pt x="245" y="182"/>
                  </a:lnTo>
                  <a:lnTo>
                    <a:pt x="258" y="178"/>
                  </a:lnTo>
                  <a:lnTo>
                    <a:pt x="297" y="218"/>
                  </a:lnTo>
                  <a:lnTo>
                    <a:pt x="312" y="193"/>
                  </a:lnTo>
                  <a:lnTo>
                    <a:pt x="322" y="176"/>
                  </a:lnTo>
                  <a:lnTo>
                    <a:pt x="297" y="159"/>
                  </a:lnTo>
                  <a:lnTo>
                    <a:pt x="270" y="151"/>
                  </a:lnTo>
                  <a:lnTo>
                    <a:pt x="250" y="123"/>
                  </a:lnTo>
                  <a:lnTo>
                    <a:pt x="264" y="106"/>
                  </a:lnTo>
                  <a:lnTo>
                    <a:pt x="253" y="84"/>
                  </a:lnTo>
                  <a:lnTo>
                    <a:pt x="212" y="67"/>
                  </a:lnTo>
                  <a:lnTo>
                    <a:pt x="187" y="54"/>
                  </a:lnTo>
                  <a:lnTo>
                    <a:pt x="168" y="22"/>
                  </a:lnTo>
                  <a:lnTo>
                    <a:pt x="117" y="27"/>
                  </a:lnTo>
                  <a:lnTo>
                    <a:pt x="103" y="47"/>
                  </a:lnTo>
                  <a:lnTo>
                    <a:pt x="109" y="2"/>
                  </a:lnTo>
                  <a:lnTo>
                    <a:pt x="75" y="0"/>
                  </a:lnTo>
                  <a:lnTo>
                    <a:pt x="58" y="22"/>
                  </a:lnTo>
                  <a:lnTo>
                    <a:pt x="55" y="40"/>
                  </a:lnTo>
                  <a:lnTo>
                    <a:pt x="37" y="36"/>
                  </a:lnTo>
                  <a:lnTo>
                    <a:pt x="47"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38" name="Freeform 85">
              <a:extLst>
                <a:ext uri="{FF2B5EF4-FFF2-40B4-BE49-F238E27FC236}">
                  <a16:creationId xmlns:a16="http://schemas.microsoft.com/office/drawing/2014/main" id="{AB1EE92B-4BB8-4B77-8C6C-52986AADA91D}"/>
                </a:ext>
              </a:extLst>
            </p:cNvPr>
            <p:cNvSpPr>
              <a:spLocks/>
            </p:cNvSpPr>
            <p:nvPr/>
          </p:nvSpPr>
          <p:spPr bwMode="auto">
            <a:xfrm>
              <a:off x="2210504" y="2405058"/>
              <a:ext cx="35665" cy="40432"/>
            </a:xfrm>
            <a:custGeom>
              <a:avLst/>
              <a:gdLst>
                <a:gd name="T0" fmla="*/ 3 w 27"/>
                <a:gd name="T1" fmla="*/ 29 h 30"/>
                <a:gd name="T2" fmla="*/ 2 w 27"/>
                <a:gd name="T3" fmla="*/ 29 h 30"/>
                <a:gd name="T4" fmla="*/ 1 w 27"/>
                <a:gd name="T5" fmla="*/ 28 h 30"/>
                <a:gd name="T6" fmla="*/ 0 w 27"/>
                <a:gd name="T7" fmla="*/ 28 h 30"/>
                <a:gd name="T8" fmla="*/ 0 w 27"/>
                <a:gd name="T9" fmla="*/ 27 h 30"/>
                <a:gd name="T10" fmla="*/ 1 w 27"/>
                <a:gd name="T11" fmla="*/ 25 h 30"/>
                <a:gd name="T12" fmla="*/ 2 w 27"/>
                <a:gd name="T13" fmla="*/ 24 h 30"/>
                <a:gd name="T14" fmla="*/ 2 w 27"/>
                <a:gd name="T15" fmla="*/ 22 h 30"/>
                <a:gd name="T16" fmla="*/ 3 w 27"/>
                <a:gd name="T17" fmla="*/ 20 h 30"/>
                <a:gd name="T18" fmla="*/ 3 w 27"/>
                <a:gd name="T19" fmla="*/ 18 h 30"/>
                <a:gd name="T20" fmla="*/ 3 w 27"/>
                <a:gd name="T21" fmla="*/ 17 h 30"/>
                <a:gd name="T22" fmla="*/ 3 w 27"/>
                <a:gd name="T23" fmla="*/ 14 h 30"/>
                <a:gd name="T24" fmla="*/ 3 w 27"/>
                <a:gd name="T25" fmla="*/ 12 h 30"/>
                <a:gd name="T26" fmla="*/ 4 w 27"/>
                <a:gd name="T27" fmla="*/ 11 h 30"/>
                <a:gd name="T28" fmla="*/ 4 w 27"/>
                <a:gd name="T29" fmla="*/ 10 h 30"/>
                <a:gd name="T30" fmla="*/ 5 w 27"/>
                <a:gd name="T31" fmla="*/ 7 h 30"/>
                <a:gd name="T32" fmla="*/ 6 w 27"/>
                <a:gd name="T33" fmla="*/ 7 h 30"/>
                <a:gd name="T34" fmla="*/ 7 w 27"/>
                <a:gd name="T35" fmla="*/ 5 h 30"/>
                <a:gd name="T36" fmla="*/ 7 w 27"/>
                <a:gd name="T37" fmla="*/ 4 h 30"/>
                <a:gd name="T38" fmla="*/ 9 w 27"/>
                <a:gd name="T39" fmla="*/ 3 h 30"/>
                <a:gd name="T40" fmla="*/ 10 w 27"/>
                <a:gd name="T41" fmla="*/ 2 h 30"/>
                <a:gd name="T42" fmla="*/ 11 w 27"/>
                <a:gd name="T43" fmla="*/ 2 h 30"/>
                <a:gd name="T44" fmla="*/ 12 w 27"/>
                <a:gd name="T45" fmla="*/ 1 h 30"/>
                <a:gd name="T46" fmla="*/ 14 w 27"/>
                <a:gd name="T47" fmla="*/ 1 h 30"/>
                <a:gd name="T48" fmla="*/ 15 w 27"/>
                <a:gd name="T49" fmla="*/ 0 h 30"/>
                <a:gd name="T50" fmla="*/ 16 w 27"/>
                <a:gd name="T51" fmla="*/ 1 h 30"/>
                <a:gd name="T52" fmla="*/ 18 w 27"/>
                <a:gd name="T53" fmla="*/ 1 h 30"/>
                <a:gd name="T54" fmla="*/ 19 w 27"/>
                <a:gd name="T55" fmla="*/ 2 h 30"/>
                <a:gd name="T56" fmla="*/ 21 w 27"/>
                <a:gd name="T57" fmla="*/ 2 h 30"/>
                <a:gd name="T58" fmla="*/ 23 w 27"/>
                <a:gd name="T59" fmla="*/ 3 h 30"/>
                <a:gd name="T60" fmla="*/ 23 w 27"/>
                <a:gd name="T61" fmla="*/ 4 h 30"/>
                <a:gd name="T62" fmla="*/ 23 w 27"/>
                <a:gd name="T63" fmla="*/ 5 h 30"/>
                <a:gd name="T64" fmla="*/ 24 w 27"/>
                <a:gd name="T65" fmla="*/ 7 h 30"/>
                <a:gd name="T66" fmla="*/ 25 w 27"/>
                <a:gd name="T67" fmla="*/ 7 h 30"/>
                <a:gd name="T68" fmla="*/ 26 w 27"/>
                <a:gd name="T69" fmla="*/ 10 h 30"/>
                <a:gd name="T70" fmla="*/ 26 w 27"/>
                <a:gd name="T71" fmla="*/ 11 h 30"/>
                <a:gd name="T72" fmla="*/ 26 w 27"/>
                <a:gd name="T73" fmla="*/ 12 h 30"/>
                <a:gd name="T74" fmla="*/ 26 w 27"/>
                <a:gd name="T75" fmla="*/ 14 h 30"/>
                <a:gd name="T76" fmla="*/ 25 w 27"/>
                <a:gd name="T77" fmla="*/ 17 h 30"/>
                <a:gd name="T78" fmla="*/ 23 w 27"/>
                <a:gd name="T79" fmla="*/ 18 h 30"/>
                <a:gd name="T80" fmla="*/ 22 w 27"/>
                <a:gd name="T81" fmla="*/ 20 h 30"/>
                <a:gd name="T82" fmla="*/ 19 w 27"/>
                <a:gd name="T83" fmla="*/ 22 h 30"/>
                <a:gd name="T84" fmla="*/ 16 w 27"/>
                <a:gd name="T85" fmla="*/ 24 h 30"/>
                <a:gd name="T86" fmla="*/ 15 w 27"/>
                <a:gd name="T87" fmla="*/ 25 h 30"/>
                <a:gd name="T88" fmla="*/ 11 w 27"/>
                <a:gd name="T89" fmla="*/ 27 h 30"/>
                <a:gd name="T90" fmla="*/ 9 w 27"/>
                <a:gd name="T91" fmla="*/ 28 h 30"/>
                <a:gd name="T92" fmla="*/ 7 w 27"/>
                <a:gd name="T93" fmla="*/ 28 h 30"/>
                <a:gd name="T94" fmla="*/ 4 w 27"/>
                <a:gd name="T95" fmla="*/ 29 h 30"/>
                <a:gd name="T96" fmla="*/ 3 w 27"/>
                <a:gd name="T9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 h="30">
                  <a:moveTo>
                    <a:pt x="3" y="29"/>
                  </a:moveTo>
                  <a:lnTo>
                    <a:pt x="2" y="29"/>
                  </a:lnTo>
                  <a:lnTo>
                    <a:pt x="1" y="28"/>
                  </a:lnTo>
                  <a:lnTo>
                    <a:pt x="0" y="28"/>
                  </a:lnTo>
                  <a:lnTo>
                    <a:pt x="0" y="27"/>
                  </a:lnTo>
                  <a:lnTo>
                    <a:pt x="1" y="25"/>
                  </a:lnTo>
                  <a:lnTo>
                    <a:pt x="2" y="24"/>
                  </a:lnTo>
                  <a:lnTo>
                    <a:pt x="2" y="22"/>
                  </a:lnTo>
                  <a:lnTo>
                    <a:pt x="3" y="20"/>
                  </a:lnTo>
                  <a:lnTo>
                    <a:pt x="3" y="18"/>
                  </a:lnTo>
                  <a:lnTo>
                    <a:pt x="3" y="17"/>
                  </a:lnTo>
                  <a:lnTo>
                    <a:pt x="3" y="14"/>
                  </a:lnTo>
                  <a:lnTo>
                    <a:pt x="3" y="12"/>
                  </a:lnTo>
                  <a:lnTo>
                    <a:pt x="4" y="11"/>
                  </a:lnTo>
                  <a:lnTo>
                    <a:pt x="4" y="10"/>
                  </a:lnTo>
                  <a:lnTo>
                    <a:pt x="5" y="7"/>
                  </a:lnTo>
                  <a:lnTo>
                    <a:pt x="6" y="7"/>
                  </a:lnTo>
                  <a:lnTo>
                    <a:pt x="7" y="5"/>
                  </a:lnTo>
                  <a:lnTo>
                    <a:pt x="7" y="4"/>
                  </a:lnTo>
                  <a:lnTo>
                    <a:pt x="9" y="3"/>
                  </a:lnTo>
                  <a:lnTo>
                    <a:pt x="10" y="2"/>
                  </a:lnTo>
                  <a:lnTo>
                    <a:pt x="11" y="2"/>
                  </a:lnTo>
                  <a:lnTo>
                    <a:pt x="12" y="1"/>
                  </a:lnTo>
                  <a:lnTo>
                    <a:pt x="14" y="1"/>
                  </a:lnTo>
                  <a:lnTo>
                    <a:pt x="15" y="0"/>
                  </a:lnTo>
                  <a:lnTo>
                    <a:pt x="16" y="1"/>
                  </a:lnTo>
                  <a:lnTo>
                    <a:pt x="18" y="1"/>
                  </a:lnTo>
                  <a:lnTo>
                    <a:pt x="19" y="2"/>
                  </a:lnTo>
                  <a:lnTo>
                    <a:pt x="21" y="2"/>
                  </a:lnTo>
                  <a:lnTo>
                    <a:pt x="23" y="3"/>
                  </a:lnTo>
                  <a:lnTo>
                    <a:pt x="23" y="4"/>
                  </a:lnTo>
                  <a:lnTo>
                    <a:pt x="23" y="5"/>
                  </a:lnTo>
                  <a:lnTo>
                    <a:pt x="24" y="7"/>
                  </a:lnTo>
                  <a:lnTo>
                    <a:pt x="25" y="7"/>
                  </a:lnTo>
                  <a:lnTo>
                    <a:pt x="26" y="10"/>
                  </a:lnTo>
                  <a:lnTo>
                    <a:pt x="26" y="11"/>
                  </a:lnTo>
                  <a:lnTo>
                    <a:pt x="26" y="12"/>
                  </a:lnTo>
                  <a:lnTo>
                    <a:pt x="26" y="14"/>
                  </a:lnTo>
                  <a:lnTo>
                    <a:pt x="25" y="17"/>
                  </a:lnTo>
                  <a:lnTo>
                    <a:pt x="23" y="18"/>
                  </a:lnTo>
                  <a:lnTo>
                    <a:pt x="22" y="20"/>
                  </a:lnTo>
                  <a:lnTo>
                    <a:pt x="19" y="22"/>
                  </a:lnTo>
                  <a:lnTo>
                    <a:pt x="16" y="24"/>
                  </a:lnTo>
                  <a:lnTo>
                    <a:pt x="15" y="25"/>
                  </a:lnTo>
                  <a:lnTo>
                    <a:pt x="11" y="27"/>
                  </a:lnTo>
                  <a:lnTo>
                    <a:pt x="9" y="28"/>
                  </a:lnTo>
                  <a:lnTo>
                    <a:pt x="7" y="28"/>
                  </a:lnTo>
                  <a:lnTo>
                    <a:pt x="4" y="29"/>
                  </a:lnTo>
                  <a:lnTo>
                    <a:pt x="3" y="2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39" name="Freeform 86">
              <a:extLst>
                <a:ext uri="{FF2B5EF4-FFF2-40B4-BE49-F238E27FC236}">
                  <a16:creationId xmlns:a16="http://schemas.microsoft.com/office/drawing/2014/main" id="{0BAA9CC8-25D8-4AED-829F-F25F4A17489C}"/>
                </a:ext>
              </a:extLst>
            </p:cNvPr>
            <p:cNvSpPr>
              <a:spLocks/>
            </p:cNvSpPr>
            <p:nvPr/>
          </p:nvSpPr>
          <p:spPr bwMode="auto">
            <a:xfrm>
              <a:off x="2190294" y="2351545"/>
              <a:ext cx="20210" cy="40432"/>
            </a:xfrm>
            <a:custGeom>
              <a:avLst/>
              <a:gdLst>
                <a:gd name="T0" fmla="*/ 7 w 15"/>
                <a:gd name="T1" fmla="*/ 30 h 31"/>
                <a:gd name="T2" fmla="*/ 6 w 15"/>
                <a:gd name="T3" fmla="*/ 30 h 31"/>
                <a:gd name="T4" fmla="*/ 4 w 15"/>
                <a:gd name="T5" fmla="*/ 29 h 31"/>
                <a:gd name="T6" fmla="*/ 4 w 15"/>
                <a:gd name="T7" fmla="*/ 27 h 31"/>
                <a:gd name="T8" fmla="*/ 3 w 15"/>
                <a:gd name="T9" fmla="*/ 26 h 31"/>
                <a:gd name="T10" fmla="*/ 2 w 15"/>
                <a:gd name="T11" fmla="*/ 26 h 31"/>
                <a:gd name="T12" fmla="*/ 2 w 15"/>
                <a:gd name="T13" fmla="*/ 24 h 31"/>
                <a:gd name="T14" fmla="*/ 2 w 15"/>
                <a:gd name="T15" fmla="*/ 22 h 31"/>
                <a:gd name="T16" fmla="*/ 1 w 15"/>
                <a:gd name="T17" fmla="*/ 20 h 31"/>
                <a:gd name="T18" fmla="*/ 1 w 15"/>
                <a:gd name="T19" fmla="*/ 19 h 31"/>
                <a:gd name="T20" fmla="*/ 1 w 15"/>
                <a:gd name="T21" fmla="*/ 17 h 31"/>
                <a:gd name="T22" fmla="*/ 0 w 15"/>
                <a:gd name="T23" fmla="*/ 14 h 31"/>
                <a:gd name="T24" fmla="*/ 1 w 15"/>
                <a:gd name="T25" fmla="*/ 13 h 31"/>
                <a:gd name="T26" fmla="*/ 1 w 15"/>
                <a:gd name="T27" fmla="*/ 11 h 31"/>
                <a:gd name="T28" fmla="*/ 1 w 15"/>
                <a:gd name="T29" fmla="*/ 10 h 31"/>
                <a:gd name="T30" fmla="*/ 2 w 15"/>
                <a:gd name="T31" fmla="*/ 7 h 31"/>
                <a:gd name="T32" fmla="*/ 2 w 15"/>
                <a:gd name="T33" fmla="*/ 6 h 31"/>
                <a:gd name="T34" fmla="*/ 2 w 15"/>
                <a:gd name="T35" fmla="*/ 4 h 31"/>
                <a:gd name="T36" fmla="*/ 3 w 15"/>
                <a:gd name="T37" fmla="*/ 4 h 31"/>
                <a:gd name="T38" fmla="*/ 4 w 15"/>
                <a:gd name="T39" fmla="*/ 3 h 31"/>
                <a:gd name="T40" fmla="*/ 4 w 15"/>
                <a:gd name="T41" fmla="*/ 2 h 31"/>
                <a:gd name="T42" fmla="*/ 6 w 15"/>
                <a:gd name="T43" fmla="*/ 1 h 31"/>
                <a:gd name="T44" fmla="*/ 7 w 15"/>
                <a:gd name="T45" fmla="*/ 1 h 31"/>
                <a:gd name="T46" fmla="*/ 7 w 15"/>
                <a:gd name="T47" fmla="*/ 0 h 31"/>
                <a:gd name="T48" fmla="*/ 8 w 15"/>
                <a:gd name="T49" fmla="*/ 1 h 31"/>
                <a:gd name="T50" fmla="*/ 9 w 15"/>
                <a:gd name="T51" fmla="*/ 1 h 31"/>
                <a:gd name="T52" fmla="*/ 11 w 15"/>
                <a:gd name="T53" fmla="*/ 2 h 31"/>
                <a:gd name="T54" fmla="*/ 11 w 15"/>
                <a:gd name="T55" fmla="*/ 3 h 31"/>
                <a:gd name="T56" fmla="*/ 12 w 15"/>
                <a:gd name="T57" fmla="*/ 4 h 31"/>
                <a:gd name="T58" fmla="*/ 13 w 15"/>
                <a:gd name="T59" fmla="*/ 6 h 31"/>
                <a:gd name="T60" fmla="*/ 13 w 15"/>
                <a:gd name="T61" fmla="*/ 7 h 31"/>
                <a:gd name="T62" fmla="*/ 14 w 15"/>
                <a:gd name="T63" fmla="*/ 10 h 31"/>
                <a:gd name="T64" fmla="*/ 14 w 15"/>
                <a:gd name="T65" fmla="*/ 11 h 31"/>
                <a:gd name="T66" fmla="*/ 14 w 15"/>
                <a:gd name="T67" fmla="*/ 13 h 31"/>
                <a:gd name="T68" fmla="*/ 14 w 15"/>
                <a:gd name="T69" fmla="*/ 14 h 31"/>
                <a:gd name="T70" fmla="*/ 14 w 15"/>
                <a:gd name="T71" fmla="*/ 17 h 31"/>
                <a:gd name="T72" fmla="*/ 14 w 15"/>
                <a:gd name="T73" fmla="*/ 19 h 31"/>
                <a:gd name="T74" fmla="*/ 14 w 15"/>
                <a:gd name="T75" fmla="*/ 20 h 31"/>
                <a:gd name="T76" fmla="*/ 13 w 15"/>
                <a:gd name="T77" fmla="*/ 22 h 31"/>
                <a:gd name="T78" fmla="*/ 13 w 15"/>
                <a:gd name="T79" fmla="*/ 24 h 31"/>
                <a:gd name="T80" fmla="*/ 12 w 15"/>
                <a:gd name="T81" fmla="*/ 26 h 31"/>
                <a:gd name="T82" fmla="*/ 11 w 15"/>
                <a:gd name="T83" fmla="*/ 27 h 31"/>
                <a:gd name="T84" fmla="*/ 11 w 15"/>
                <a:gd name="T85" fmla="*/ 29 h 31"/>
                <a:gd name="T86" fmla="*/ 9 w 15"/>
                <a:gd name="T87" fmla="*/ 30 h 31"/>
                <a:gd name="T88" fmla="*/ 8 w 15"/>
                <a:gd name="T89" fmla="*/ 30 h 31"/>
                <a:gd name="T90" fmla="*/ 7 w 15"/>
                <a:gd name="T91"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 h="31">
                  <a:moveTo>
                    <a:pt x="7" y="30"/>
                  </a:moveTo>
                  <a:lnTo>
                    <a:pt x="6" y="30"/>
                  </a:lnTo>
                  <a:lnTo>
                    <a:pt x="4" y="29"/>
                  </a:lnTo>
                  <a:lnTo>
                    <a:pt x="4" y="27"/>
                  </a:lnTo>
                  <a:lnTo>
                    <a:pt x="3" y="26"/>
                  </a:lnTo>
                  <a:lnTo>
                    <a:pt x="2" y="26"/>
                  </a:lnTo>
                  <a:lnTo>
                    <a:pt x="2" y="24"/>
                  </a:lnTo>
                  <a:lnTo>
                    <a:pt x="2" y="22"/>
                  </a:lnTo>
                  <a:lnTo>
                    <a:pt x="1" y="20"/>
                  </a:lnTo>
                  <a:lnTo>
                    <a:pt x="1" y="19"/>
                  </a:lnTo>
                  <a:lnTo>
                    <a:pt x="1" y="17"/>
                  </a:lnTo>
                  <a:lnTo>
                    <a:pt x="0" y="14"/>
                  </a:lnTo>
                  <a:lnTo>
                    <a:pt x="1" y="13"/>
                  </a:lnTo>
                  <a:lnTo>
                    <a:pt x="1" y="11"/>
                  </a:lnTo>
                  <a:lnTo>
                    <a:pt x="1" y="10"/>
                  </a:lnTo>
                  <a:lnTo>
                    <a:pt x="2" y="7"/>
                  </a:lnTo>
                  <a:lnTo>
                    <a:pt x="2" y="6"/>
                  </a:lnTo>
                  <a:lnTo>
                    <a:pt x="2" y="4"/>
                  </a:lnTo>
                  <a:lnTo>
                    <a:pt x="3" y="4"/>
                  </a:lnTo>
                  <a:lnTo>
                    <a:pt x="4" y="3"/>
                  </a:lnTo>
                  <a:lnTo>
                    <a:pt x="4" y="2"/>
                  </a:lnTo>
                  <a:lnTo>
                    <a:pt x="6" y="1"/>
                  </a:lnTo>
                  <a:lnTo>
                    <a:pt x="7" y="1"/>
                  </a:lnTo>
                  <a:lnTo>
                    <a:pt x="7" y="0"/>
                  </a:lnTo>
                  <a:lnTo>
                    <a:pt x="8" y="1"/>
                  </a:lnTo>
                  <a:lnTo>
                    <a:pt x="9" y="1"/>
                  </a:lnTo>
                  <a:lnTo>
                    <a:pt x="11" y="2"/>
                  </a:lnTo>
                  <a:lnTo>
                    <a:pt x="11" y="3"/>
                  </a:lnTo>
                  <a:lnTo>
                    <a:pt x="12" y="4"/>
                  </a:lnTo>
                  <a:lnTo>
                    <a:pt x="13" y="6"/>
                  </a:lnTo>
                  <a:lnTo>
                    <a:pt x="13" y="7"/>
                  </a:lnTo>
                  <a:lnTo>
                    <a:pt x="14" y="10"/>
                  </a:lnTo>
                  <a:lnTo>
                    <a:pt x="14" y="11"/>
                  </a:lnTo>
                  <a:lnTo>
                    <a:pt x="14" y="13"/>
                  </a:lnTo>
                  <a:lnTo>
                    <a:pt x="14" y="14"/>
                  </a:lnTo>
                  <a:lnTo>
                    <a:pt x="14" y="17"/>
                  </a:lnTo>
                  <a:lnTo>
                    <a:pt x="14" y="19"/>
                  </a:lnTo>
                  <a:lnTo>
                    <a:pt x="14" y="20"/>
                  </a:lnTo>
                  <a:lnTo>
                    <a:pt x="13" y="22"/>
                  </a:lnTo>
                  <a:lnTo>
                    <a:pt x="13" y="24"/>
                  </a:lnTo>
                  <a:lnTo>
                    <a:pt x="12" y="26"/>
                  </a:lnTo>
                  <a:lnTo>
                    <a:pt x="11" y="27"/>
                  </a:lnTo>
                  <a:lnTo>
                    <a:pt x="11" y="29"/>
                  </a:lnTo>
                  <a:lnTo>
                    <a:pt x="9" y="30"/>
                  </a:lnTo>
                  <a:lnTo>
                    <a:pt x="8" y="30"/>
                  </a:lnTo>
                  <a:lnTo>
                    <a:pt x="7" y="3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0" name="Freeform 87">
              <a:extLst>
                <a:ext uri="{FF2B5EF4-FFF2-40B4-BE49-F238E27FC236}">
                  <a16:creationId xmlns:a16="http://schemas.microsoft.com/office/drawing/2014/main" id="{EA5DFE79-F226-4BF8-84F7-B2061DF59E76}"/>
                </a:ext>
              </a:extLst>
            </p:cNvPr>
            <p:cNvSpPr>
              <a:spLocks/>
            </p:cNvSpPr>
            <p:nvPr/>
          </p:nvSpPr>
          <p:spPr bwMode="auto">
            <a:xfrm>
              <a:off x="2041691" y="2493058"/>
              <a:ext cx="78463" cy="68973"/>
            </a:xfrm>
            <a:custGeom>
              <a:avLst/>
              <a:gdLst>
                <a:gd name="T0" fmla="*/ 26 w 59"/>
                <a:gd name="T1" fmla="*/ 0 h 51"/>
                <a:gd name="T2" fmla="*/ 50 w 59"/>
                <a:gd name="T3" fmla="*/ 8 h 51"/>
                <a:gd name="T4" fmla="*/ 58 w 59"/>
                <a:gd name="T5" fmla="*/ 23 h 51"/>
                <a:gd name="T6" fmla="*/ 38 w 59"/>
                <a:gd name="T7" fmla="*/ 31 h 51"/>
                <a:gd name="T8" fmla="*/ 15 w 59"/>
                <a:gd name="T9" fmla="*/ 50 h 51"/>
                <a:gd name="T10" fmla="*/ 0 w 59"/>
                <a:gd name="T11" fmla="*/ 31 h 51"/>
                <a:gd name="T12" fmla="*/ 3 w 59"/>
                <a:gd name="T13" fmla="*/ 10 h 51"/>
                <a:gd name="T14" fmla="*/ 26 w 59"/>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51">
                  <a:moveTo>
                    <a:pt x="26" y="0"/>
                  </a:moveTo>
                  <a:lnTo>
                    <a:pt x="50" y="8"/>
                  </a:lnTo>
                  <a:lnTo>
                    <a:pt x="58" y="23"/>
                  </a:lnTo>
                  <a:lnTo>
                    <a:pt x="38" y="31"/>
                  </a:lnTo>
                  <a:lnTo>
                    <a:pt x="15" y="50"/>
                  </a:lnTo>
                  <a:lnTo>
                    <a:pt x="0" y="31"/>
                  </a:lnTo>
                  <a:lnTo>
                    <a:pt x="3" y="10"/>
                  </a:lnTo>
                  <a:lnTo>
                    <a:pt x="26"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1" name="Freeform 88">
              <a:extLst>
                <a:ext uri="{FF2B5EF4-FFF2-40B4-BE49-F238E27FC236}">
                  <a16:creationId xmlns:a16="http://schemas.microsoft.com/office/drawing/2014/main" id="{58E421E9-3098-4554-B6A4-F52763FC769E}"/>
                </a:ext>
              </a:extLst>
            </p:cNvPr>
            <p:cNvSpPr>
              <a:spLocks/>
            </p:cNvSpPr>
            <p:nvPr/>
          </p:nvSpPr>
          <p:spPr bwMode="auto">
            <a:xfrm>
              <a:off x="1841968" y="2106574"/>
              <a:ext cx="93917" cy="61837"/>
            </a:xfrm>
            <a:custGeom>
              <a:avLst/>
              <a:gdLst>
                <a:gd name="T0" fmla="*/ 30 w 71"/>
                <a:gd name="T1" fmla="*/ 18 h 46"/>
                <a:gd name="T2" fmla="*/ 50 w 71"/>
                <a:gd name="T3" fmla="*/ 5 h 46"/>
                <a:gd name="T4" fmla="*/ 70 w 71"/>
                <a:gd name="T5" fmla="*/ 7 h 46"/>
                <a:gd name="T6" fmla="*/ 68 w 71"/>
                <a:gd name="T7" fmla="*/ 37 h 46"/>
                <a:gd name="T8" fmla="*/ 26 w 71"/>
                <a:gd name="T9" fmla="*/ 45 h 46"/>
                <a:gd name="T10" fmla="*/ 13 w 71"/>
                <a:gd name="T11" fmla="*/ 30 h 46"/>
                <a:gd name="T12" fmla="*/ 0 w 71"/>
                <a:gd name="T13" fmla="*/ 10 h 46"/>
                <a:gd name="T14" fmla="*/ 10 w 71"/>
                <a:gd name="T15" fmla="*/ 0 h 46"/>
                <a:gd name="T16" fmla="*/ 22 w 71"/>
                <a:gd name="T17"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46">
                  <a:moveTo>
                    <a:pt x="30" y="18"/>
                  </a:moveTo>
                  <a:lnTo>
                    <a:pt x="50" y="5"/>
                  </a:lnTo>
                  <a:lnTo>
                    <a:pt x="70" y="7"/>
                  </a:lnTo>
                  <a:lnTo>
                    <a:pt x="68" y="37"/>
                  </a:lnTo>
                  <a:lnTo>
                    <a:pt x="26" y="45"/>
                  </a:lnTo>
                  <a:lnTo>
                    <a:pt x="13" y="30"/>
                  </a:lnTo>
                  <a:lnTo>
                    <a:pt x="0" y="10"/>
                  </a:lnTo>
                  <a:lnTo>
                    <a:pt x="10" y="0"/>
                  </a:lnTo>
                  <a:lnTo>
                    <a:pt x="22" y="14"/>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2" name="Freeform 89">
              <a:extLst>
                <a:ext uri="{FF2B5EF4-FFF2-40B4-BE49-F238E27FC236}">
                  <a16:creationId xmlns:a16="http://schemas.microsoft.com/office/drawing/2014/main" id="{23068D4B-6045-4B09-B8F4-29EEC793D06C}"/>
                </a:ext>
              </a:extLst>
            </p:cNvPr>
            <p:cNvSpPr>
              <a:spLocks/>
            </p:cNvSpPr>
            <p:nvPr/>
          </p:nvSpPr>
          <p:spPr bwMode="auto">
            <a:xfrm>
              <a:off x="1962040" y="2024520"/>
              <a:ext cx="47553" cy="49946"/>
            </a:xfrm>
            <a:custGeom>
              <a:avLst/>
              <a:gdLst>
                <a:gd name="T0" fmla="*/ 0 w 36"/>
                <a:gd name="T1" fmla="*/ 7 h 37"/>
                <a:gd name="T2" fmla="*/ 0 w 36"/>
                <a:gd name="T3" fmla="*/ 25 h 37"/>
                <a:gd name="T4" fmla="*/ 13 w 36"/>
                <a:gd name="T5" fmla="*/ 36 h 37"/>
                <a:gd name="T6" fmla="*/ 27 w 36"/>
                <a:gd name="T7" fmla="*/ 34 h 37"/>
                <a:gd name="T8" fmla="*/ 35 w 36"/>
                <a:gd name="T9" fmla="*/ 17 h 37"/>
                <a:gd name="T10" fmla="*/ 23 w 36"/>
                <a:gd name="T11" fmla="*/ 0 h 37"/>
                <a:gd name="T12" fmla="*/ 0 w 36"/>
                <a:gd name="T13" fmla="*/ 7 h 37"/>
              </a:gdLst>
              <a:ahLst/>
              <a:cxnLst>
                <a:cxn ang="0">
                  <a:pos x="T0" y="T1"/>
                </a:cxn>
                <a:cxn ang="0">
                  <a:pos x="T2" y="T3"/>
                </a:cxn>
                <a:cxn ang="0">
                  <a:pos x="T4" y="T5"/>
                </a:cxn>
                <a:cxn ang="0">
                  <a:pos x="T6" y="T7"/>
                </a:cxn>
                <a:cxn ang="0">
                  <a:pos x="T8" y="T9"/>
                </a:cxn>
                <a:cxn ang="0">
                  <a:pos x="T10" y="T11"/>
                </a:cxn>
                <a:cxn ang="0">
                  <a:pos x="T12" y="T13"/>
                </a:cxn>
              </a:cxnLst>
              <a:rect l="0" t="0" r="r" b="b"/>
              <a:pathLst>
                <a:path w="36" h="37">
                  <a:moveTo>
                    <a:pt x="0" y="7"/>
                  </a:moveTo>
                  <a:lnTo>
                    <a:pt x="0" y="25"/>
                  </a:lnTo>
                  <a:lnTo>
                    <a:pt x="13" y="36"/>
                  </a:lnTo>
                  <a:lnTo>
                    <a:pt x="27" y="34"/>
                  </a:lnTo>
                  <a:lnTo>
                    <a:pt x="35" y="17"/>
                  </a:lnTo>
                  <a:lnTo>
                    <a:pt x="23" y="0"/>
                  </a:lnTo>
                  <a:lnTo>
                    <a:pt x="0" y="7"/>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3" name="Freeform 90">
              <a:extLst>
                <a:ext uri="{FF2B5EF4-FFF2-40B4-BE49-F238E27FC236}">
                  <a16:creationId xmlns:a16="http://schemas.microsoft.com/office/drawing/2014/main" id="{32064742-5D47-4168-81B5-2CE0F829C476}"/>
                </a:ext>
              </a:extLst>
            </p:cNvPr>
            <p:cNvSpPr>
              <a:spLocks/>
            </p:cNvSpPr>
            <p:nvPr/>
          </p:nvSpPr>
          <p:spPr bwMode="auto">
            <a:xfrm>
              <a:off x="1953718" y="1974575"/>
              <a:ext cx="33287" cy="27351"/>
            </a:xfrm>
            <a:custGeom>
              <a:avLst/>
              <a:gdLst>
                <a:gd name="T0" fmla="*/ 2 w 25"/>
                <a:gd name="T1" fmla="*/ 0 h 21"/>
                <a:gd name="T2" fmla="*/ 0 w 25"/>
                <a:gd name="T3" fmla="*/ 20 h 21"/>
                <a:gd name="T4" fmla="*/ 19 w 25"/>
                <a:gd name="T5" fmla="*/ 20 h 21"/>
                <a:gd name="T6" fmla="*/ 24 w 25"/>
                <a:gd name="T7" fmla="*/ 5 h 21"/>
                <a:gd name="T8" fmla="*/ 2 w 25"/>
                <a:gd name="T9" fmla="*/ 0 h 21"/>
              </a:gdLst>
              <a:ahLst/>
              <a:cxnLst>
                <a:cxn ang="0">
                  <a:pos x="T0" y="T1"/>
                </a:cxn>
                <a:cxn ang="0">
                  <a:pos x="T2" y="T3"/>
                </a:cxn>
                <a:cxn ang="0">
                  <a:pos x="T4" y="T5"/>
                </a:cxn>
                <a:cxn ang="0">
                  <a:pos x="T6" y="T7"/>
                </a:cxn>
                <a:cxn ang="0">
                  <a:pos x="T8" y="T9"/>
                </a:cxn>
              </a:cxnLst>
              <a:rect l="0" t="0" r="r" b="b"/>
              <a:pathLst>
                <a:path w="25" h="21">
                  <a:moveTo>
                    <a:pt x="2" y="0"/>
                  </a:moveTo>
                  <a:lnTo>
                    <a:pt x="0" y="20"/>
                  </a:lnTo>
                  <a:lnTo>
                    <a:pt x="19" y="20"/>
                  </a:lnTo>
                  <a:lnTo>
                    <a:pt x="24" y="5"/>
                  </a:lnTo>
                  <a:lnTo>
                    <a:pt x="2"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4" name="Freeform 91">
              <a:extLst>
                <a:ext uri="{FF2B5EF4-FFF2-40B4-BE49-F238E27FC236}">
                  <a16:creationId xmlns:a16="http://schemas.microsoft.com/office/drawing/2014/main" id="{CF3C0F00-5686-426D-99C3-5DCB8731A1AB}"/>
                </a:ext>
              </a:extLst>
            </p:cNvPr>
            <p:cNvSpPr>
              <a:spLocks/>
            </p:cNvSpPr>
            <p:nvPr/>
          </p:nvSpPr>
          <p:spPr bwMode="auto">
            <a:xfrm>
              <a:off x="2022670" y="1931764"/>
              <a:ext cx="110561" cy="117729"/>
            </a:xfrm>
            <a:custGeom>
              <a:avLst/>
              <a:gdLst>
                <a:gd name="T0" fmla="*/ 27 w 83"/>
                <a:gd name="T1" fmla="*/ 0 h 89"/>
                <a:gd name="T2" fmla="*/ 15 w 83"/>
                <a:gd name="T3" fmla="*/ 18 h 89"/>
                <a:gd name="T4" fmla="*/ 0 w 83"/>
                <a:gd name="T5" fmla="*/ 35 h 89"/>
                <a:gd name="T6" fmla="*/ 2 w 83"/>
                <a:gd name="T7" fmla="*/ 56 h 89"/>
                <a:gd name="T8" fmla="*/ 20 w 83"/>
                <a:gd name="T9" fmla="*/ 56 h 89"/>
                <a:gd name="T10" fmla="*/ 17 w 83"/>
                <a:gd name="T11" fmla="*/ 67 h 89"/>
                <a:gd name="T12" fmla="*/ 22 w 83"/>
                <a:gd name="T13" fmla="*/ 83 h 89"/>
                <a:gd name="T14" fmla="*/ 67 w 83"/>
                <a:gd name="T15" fmla="*/ 88 h 89"/>
                <a:gd name="T16" fmla="*/ 80 w 83"/>
                <a:gd name="T17" fmla="*/ 70 h 89"/>
                <a:gd name="T18" fmla="*/ 82 w 83"/>
                <a:gd name="T19" fmla="*/ 43 h 89"/>
                <a:gd name="T20" fmla="*/ 65 w 83"/>
                <a:gd name="T21" fmla="*/ 20 h 89"/>
                <a:gd name="T22" fmla="*/ 27 w 83"/>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89">
                  <a:moveTo>
                    <a:pt x="27" y="0"/>
                  </a:moveTo>
                  <a:lnTo>
                    <a:pt x="15" y="18"/>
                  </a:lnTo>
                  <a:lnTo>
                    <a:pt x="0" y="35"/>
                  </a:lnTo>
                  <a:lnTo>
                    <a:pt x="2" y="56"/>
                  </a:lnTo>
                  <a:lnTo>
                    <a:pt x="20" y="56"/>
                  </a:lnTo>
                  <a:lnTo>
                    <a:pt x="17" y="67"/>
                  </a:lnTo>
                  <a:lnTo>
                    <a:pt x="22" y="83"/>
                  </a:lnTo>
                  <a:lnTo>
                    <a:pt x="67" y="88"/>
                  </a:lnTo>
                  <a:lnTo>
                    <a:pt x="80" y="70"/>
                  </a:lnTo>
                  <a:lnTo>
                    <a:pt x="82" y="43"/>
                  </a:lnTo>
                  <a:lnTo>
                    <a:pt x="65" y="20"/>
                  </a:lnTo>
                  <a:lnTo>
                    <a:pt x="27"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5" name="Freeform 92">
              <a:extLst>
                <a:ext uri="{FF2B5EF4-FFF2-40B4-BE49-F238E27FC236}">
                  <a16:creationId xmlns:a16="http://schemas.microsoft.com/office/drawing/2014/main" id="{C581E28A-C3A5-4941-9EF1-30494AEEEDFB}"/>
                </a:ext>
              </a:extLst>
            </p:cNvPr>
            <p:cNvSpPr>
              <a:spLocks/>
            </p:cNvSpPr>
            <p:nvPr/>
          </p:nvSpPr>
          <p:spPr bwMode="auto">
            <a:xfrm>
              <a:off x="2086866" y="1863981"/>
              <a:ext cx="469587" cy="268755"/>
            </a:xfrm>
            <a:custGeom>
              <a:avLst/>
              <a:gdLst>
                <a:gd name="T0" fmla="*/ 27 w 353"/>
                <a:gd name="T1" fmla="*/ 37 h 201"/>
                <a:gd name="T2" fmla="*/ 34 w 353"/>
                <a:gd name="T3" fmla="*/ 53 h 201"/>
                <a:gd name="T4" fmla="*/ 47 w 353"/>
                <a:gd name="T5" fmla="*/ 68 h 201"/>
                <a:gd name="T6" fmla="*/ 59 w 353"/>
                <a:gd name="T7" fmla="*/ 72 h 201"/>
                <a:gd name="T8" fmla="*/ 85 w 353"/>
                <a:gd name="T9" fmla="*/ 80 h 201"/>
                <a:gd name="T10" fmla="*/ 107 w 353"/>
                <a:gd name="T11" fmla="*/ 69 h 201"/>
                <a:gd name="T12" fmla="*/ 137 w 353"/>
                <a:gd name="T13" fmla="*/ 62 h 201"/>
                <a:gd name="T14" fmla="*/ 148 w 353"/>
                <a:gd name="T15" fmla="*/ 58 h 201"/>
                <a:gd name="T16" fmla="*/ 148 w 353"/>
                <a:gd name="T17" fmla="*/ 75 h 201"/>
                <a:gd name="T18" fmla="*/ 115 w 353"/>
                <a:gd name="T19" fmla="*/ 82 h 201"/>
                <a:gd name="T20" fmla="*/ 95 w 353"/>
                <a:gd name="T21" fmla="*/ 92 h 201"/>
                <a:gd name="T22" fmla="*/ 112 w 353"/>
                <a:gd name="T23" fmla="*/ 100 h 201"/>
                <a:gd name="T24" fmla="*/ 80 w 353"/>
                <a:gd name="T25" fmla="*/ 100 h 201"/>
                <a:gd name="T26" fmla="*/ 64 w 353"/>
                <a:gd name="T27" fmla="*/ 90 h 201"/>
                <a:gd name="T28" fmla="*/ 62 w 353"/>
                <a:gd name="T29" fmla="*/ 109 h 201"/>
                <a:gd name="T30" fmla="*/ 75 w 353"/>
                <a:gd name="T31" fmla="*/ 127 h 201"/>
                <a:gd name="T32" fmla="*/ 59 w 353"/>
                <a:gd name="T33" fmla="*/ 140 h 201"/>
                <a:gd name="T34" fmla="*/ 47 w 353"/>
                <a:gd name="T35" fmla="*/ 149 h 201"/>
                <a:gd name="T36" fmla="*/ 32 w 353"/>
                <a:gd name="T37" fmla="*/ 160 h 201"/>
                <a:gd name="T38" fmla="*/ 25 w 353"/>
                <a:gd name="T39" fmla="*/ 172 h 201"/>
                <a:gd name="T40" fmla="*/ 0 w 353"/>
                <a:gd name="T41" fmla="*/ 167 h 201"/>
                <a:gd name="T42" fmla="*/ 12 w 353"/>
                <a:gd name="T43" fmla="*/ 189 h 201"/>
                <a:gd name="T44" fmla="*/ 81 w 353"/>
                <a:gd name="T45" fmla="*/ 200 h 201"/>
                <a:gd name="T46" fmla="*/ 121 w 353"/>
                <a:gd name="T47" fmla="*/ 192 h 201"/>
                <a:gd name="T48" fmla="*/ 140 w 353"/>
                <a:gd name="T49" fmla="*/ 172 h 201"/>
                <a:gd name="T50" fmla="*/ 125 w 353"/>
                <a:gd name="T51" fmla="*/ 153 h 201"/>
                <a:gd name="T52" fmla="*/ 140 w 353"/>
                <a:gd name="T53" fmla="*/ 147 h 201"/>
                <a:gd name="T54" fmla="*/ 157 w 353"/>
                <a:gd name="T55" fmla="*/ 142 h 201"/>
                <a:gd name="T56" fmla="*/ 182 w 353"/>
                <a:gd name="T57" fmla="*/ 117 h 201"/>
                <a:gd name="T58" fmla="*/ 189 w 353"/>
                <a:gd name="T59" fmla="*/ 105 h 201"/>
                <a:gd name="T60" fmla="*/ 210 w 353"/>
                <a:gd name="T61" fmla="*/ 92 h 201"/>
                <a:gd name="T62" fmla="*/ 237 w 353"/>
                <a:gd name="T63" fmla="*/ 100 h 201"/>
                <a:gd name="T64" fmla="*/ 287 w 353"/>
                <a:gd name="T65" fmla="*/ 58 h 201"/>
                <a:gd name="T66" fmla="*/ 277 w 353"/>
                <a:gd name="T67" fmla="*/ 40 h 201"/>
                <a:gd name="T68" fmla="*/ 322 w 353"/>
                <a:gd name="T69" fmla="*/ 32 h 201"/>
                <a:gd name="T70" fmla="*/ 352 w 353"/>
                <a:gd name="T71" fmla="*/ 20 h 201"/>
                <a:gd name="T72" fmla="*/ 335 w 353"/>
                <a:gd name="T73" fmla="*/ 3 h 201"/>
                <a:gd name="T74" fmla="*/ 305 w 353"/>
                <a:gd name="T75" fmla="*/ 3 h 201"/>
                <a:gd name="T76" fmla="*/ 230 w 353"/>
                <a:gd name="T77" fmla="*/ 0 h 201"/>
                <a:gd name="T78" fmla="*/ 204 w 353"/>
                <a:gd name="T79" fmla="*/ 20 h 201"/>
                <a:gd name="T80" fmla="*/ 182 w 353"/>
                <a:gd name="T81" fmla="*/ 0 h 201"/>
                <a:gd name="T82" fmla="*/ 180 w 353"/>
                <a:gd name="T83" fmla="*/ 10 h 201"/>
                <a:gd name="T84" fmla="*/ 137 w 353"/>
                <a:gd name="T85" fmla="*/ 7 h 201"/>
                <a:gd name="T86" fmla="*/ 117 w 353"/>
                <a:gd name="T87" fmla="*/ 30 h 201"/>
                <a:gd name="T88" fmla="*/ 97 w 353"/>
                <a:gd name="T89" fmla="*/ 30 h 201"/>
                <a:gd name="T90" fmla="*/ 87 w 353"/>
                <a:gd name="T91" fmla="*/ 18 h 201"/>
                <a:gd name="T92" fmla="*/ 64 w 353"/>
                <a:gd name="T93" fmla="*/ 22 h 201"/>
                <a:gd name="T94" fmla="*/ 59 w 353"/>
                <a:gd name="T95" fmla="*/ 32 h 201"/>
                <a:gd name="T96" fmla="*/ 27 w 353"/>
                <a:gd name="T97" fmla="*/ 3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3" h="201">
                  <a:moveTo>
                    <a:pt x="27" y="37"/>
                  </a:moveTo>
                  <a:lnTo>
                    <a:pt x="34" y="53"/>
                  </a:lnTo>
                  <a:lnTo>
                    <a:pt x="47" y="68"/>
                  </a:lnTo>
                  <a:lnTo>
                    <a:pt x="59" y="72"/>
                  </a:lnTo>
                  <a:lnTo>
                    <a:pt x="85" y="80"/>
                  </a:lnTo>
                  <a:lnTo>
                    <a:pt x="107" y="69"/>
                  </a:lnTo>
                  <a:lnTo>
                    <a:pt x="137" y="62"/>
                  </a:lnTo>
                  <a:lnTo>
                    <a:pt x="148" y="58"/>
                  </a:lnTo>
                  <a:lnTo>
                    <a:pt x="148" y="75"/>
                  </a:lnTo>
                  <a:lnTo>
                    <a:pt x="115" y="82"/>
                  </a:lnTo>
                  <a:lnTo>
                    <a:pt x="95" y="92"/>
                  </a:lnTo>
                  <a:lnTo>
                    <a:pt x="112" y="100"/>
                  </a:lnTo>
                  <a:lnTo>
                    <a:pt x="80" y="100"/>
                  </a:lnTo>
                  <a:lnTo>
                    <a:pt x="64" y="90"/>
                  </a:lnTo>
                  <a:lnTo>
                    <a:pt x="62" y="109"/>
                  </a:lnTo>
                  <a:lnTo>
                    <a:pt x="75" y="127"/>
                  </a:lnTo>
                  <a:lnTo>
                    <a:pt x="59" y="140"/>
                  </a:lnTo>
                  <a:lnTo>
                    <a:pt x="47" y="149"/>
                  </a:lnTo>
                  <a:lnTo>
                    <a:pt x="32" y="160"/>
                  </a:lnTo>
                  <a:lnTo>
                    <a:pt x="25" y="172"/>
                  </a:lnTo>
                  <a:lnTo>
                    <a:pt x="0" y="167"/>
                  </a:lnTo>
                  <a:lnTo>
                    <a:pt x="12" y="189"/>
                  </a:lnTo>
                  <a:lnTo>
                    <a:pt x="81" y="200"/>
                  </a:lnTo>
                  <a:lnTo>
                    <a:pt x="121" y="192"/>
                  </a:lnTo>
                  <a:lnTo>
                    <a:pt x="140" y="172"/>
                  </a:lnTo>
                  <a:lnTo>
                    <a:pt x="125" y="153"/>
                  </a:lnTo>
                  <a:lnTo>
                    <a:pt x="140" y="147"/>
                  </a:lnTo>
                  <a:lnTo>
                    <a:pt x="157" y="142"/>
                  </a:lnTo>
                  <a:lnTo>
                    <a:pt x="182" y="117"/>
                  </a:lnTo>
                  <a:lnTo>
                    <a:pt x="189" y="105"/>
                  </a:lnTo>
                  <a:lnTo>
                    <a:pt x="210" y="92"/>
                  </a:lnTo>
                  <a:lnTo>
                    <a:pt x="237" y="100"/>
                  </a:lnTo>
                  <a:lnTo>
                    <a:pt x="287" y="58"/>
                  </a:lnTo>
                  <a:lnTo>
                    <a:pt x="277" y="40"/>
                  </a:lnTo>
                  <a:lnTo>
                    <a:pt x="322" y="32"/>
                  </a:lnTo>
                  <a:lnTo>
                    <a:pt x="352" y="20"/>
                  </a:lnTo>
                  <a:lnTo>
                    <a:pt x="335" y="3"/>
                  </a:lnTo>
                  <a:lnTo>
                    <a:pt x="305" y="3"/>
                  </a:lnTo>
                  <a:lnTo>
                    <a:pt x="230" y="0"/>
                  </a:lnTo>
                  <a:lnTo>
                    <a:pt x="204" y="20"/>
                  </a:lnTo>
                  <a:lnTo>
                    <a:pt x="182" y="0"/>
                  </a:lnTo>
                  <a:lnTo>
                    <a:pt x="180" y="10"/>
                  </a:lnTo>
                  <a:lnTo>
                    <a:pt x="137" y="7"/>
                  </a:lnTo>
                  <a:lnTo>
                    <a:pt x="117" y="30"/>
                  </a:lnTo>
                  <a:lnTo>
                    <a:pt x="97" y="30"/>
                  </a:lnTo>
                  <a:lnTo>
                    <a:pt x="87" y="18"/>
                  </a:lnTo>
                  <a:lnTo>
                    <a:pt x="64" y="22"/>
                  </a:lnTo>
                  <a:lnTo>
                    <a:pt x="59" y="32"/>
                  </a:lnTo>
                  <a:lnTo>
                    <a:pt x="27" y="37"/>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6" name="Freeform 93">
              <a:extLst>
                <a:ext uri="{FF2B5EF4-FFF2-40B4-BE49-F238E27FC236}">
                  <a16:creationId xmlns:a16="http://schemas.microsoft.com/office/drawing/2014/main" id="{BD7FFE85-BACE-4AA3-9A5A-C40589D317B9}"/>
                </a:ext>
              </a:extLst>
            </p:cNvPr>
            <p:cNvSpPr>
              <a:spLocks/>
            </p:cNvSpPr>
            <p:nvPr/>
          </p:nvSpPr>
          <p:spPr bwMode="auto">
            <a:xfrm>
              <a:off x="2008404" y="2089925"/>
              <a:ext cx="211611" cy="99891"/>
            </a:xfrm>
            <a:custGeom>
              <a:avLst/>
              <a:gdLst>
                <a:gd name="T0" fmla="*/ 20 w 160"/>
                <a:gd name="T1" fmla="*/ 0 h 75"/>
                <a:gd name="T2" fmla="*/ 0 w 160"/>
                <a:gd name="T3" fmla="*/ 18 h 75"/>
                <a:gd name="T4" fmla="*/ 13 w 160"/>
                <a:gd name="T5" fmla="*/ 35 h 75"/>
                <a:gd name="T6" fmla="*/ 35 w 160"/>
                <a:gd name="T7" fmla="*/ 61 h 75"/>
                <a:gd name="T8" fmla="*/ 57 w 160"/>
                <a:gd name="T9" fmla="*/ 71 h 75"/>
                <a:gd name="T10" fmla="*/ 122 w 160"/>
                <a:gd name="T11" fmla="*/ 64 h 75"/>
                <a:gd name="T12" fmla="*/ 159 w 160"/>
                <a:gd name="T13" fmla="*/ 74 h 75"/>
                <a:gd name="T14" fmla="*/ 155 w 160"/>
                <a:gd name="T15" fmla="*/ 46 h 75"/>
                <a:gd name="T16" fmla="*/ 101 w 160"/>
                <a:gd name="T17" fmla="*/ 43 h 75"/>
                <a:gd name="T18" fmla="*/ 54 w 160"/>
                <a:gd name="T19" fmla="*/ 31 h 75"/>
                <a:gd name="T20" fmla="*/ 47 w 160"/>
                <a:gd name="T21" fmla="*/ 3 h 75"/>
                <a:gd name="T22" fmla="*/ 20 w 160"/>
                <a:gd name="T23"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 h="75">
                  <a:moveTo>
                    <a:pt x="20" y="0"/>
                  </a:moveTo>
                  <a:lnTo>
                    <a:pt x="0" y="18"/>
                  </a:lnTo>
                  <a:lnTo>
                    <a:pt x="13" y="35"/>
                  </a:lnTo>
                  <a:lnTo>
                    <a:pt x="35" y="61"/>
                  </a:lnTo>
                  <a:lnTo>
                    <a:pt x="57" y="71"/>
                  </a:lnTo>
                  <a:lnTo>
                    <a:pt x="122" y="64"/>
                  </a:lnTo>
                  <a:lnTo>
                    <a:pt x="159" y="74"/>
                  </a:lnTo>
                  <a:lnTo>
                    <a:pt x="155" y="46"/>
                  </a:lnTo>
                  <a:lnTo>
                    <a:pt x="101" y="43"/>
                  </a:lnTo>
                  <a:lnTo>
                    <a:pt x="54" y="31"/>
                  </a:lnTo>
                  <a:lnTo>
                    <a:pt x="47" y="3"/>
                  </a:lnTo>
                  <a:lnTo>
                    <a:pt x="20"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7" name="Freeform 94">
              <a:extLst>
                <a:ext uri="{FF2B5EF4-FFF2-40B4-BE49-F238E27FC236}">
                  <a16:creationId xmlns:a16="http://schemas.microsoft.com/office/drawing/2014/main" id="{8306DA35-8015-4A05-ACF2-C2477A207E5E}"/>
                </a:ext>
              </a:extLst>
            </p:cNvPr>
            <p:cNvSpPr>
              <a:spLocks/>
            </p:cNvSpPr>
            <p:nvPr/>
          </p:nvSpPr>
          <p:spPr bwMode="auto">
            <a:xfrm>
              <a:off x="1958473" y="2147006"/>
              <a:ext cx="46364" cy="30919"/>
            </a:xfrm>
            <a:custGeom>
              <a:avLst/>
              <a:gdLst>
                <a:gd name="T0" fmla="*/ 13 w 34"/>
                <a:gd name="T1" fmla="*/ 0 h 23"/>
                <a:gd name="T2" fmla="*/ 0 w 34"/>
                <a:gd name="T3" fmla="*/ 15 h 23"/>
                <a:gd name="T4" fmla="*/ 18 w 34"/>
                <a:gd name="T5" fmla="*/ 22 h 23"/>
                <a:gd name="T6" fmla="*/ 33 w 34"/>
                <a:gd name="T7" fmla="*/ 15 h 23"/>
                <a:gd name="T8" fmla="*/ 30 w 34"/>
                <a:gd name="T9" fmla="*/ 2 h 23"/>
                <a:gd name="T10" fmla="*/ 13 w 34"/>
                <a:gd name="T11" fmla="*/ 0 h 23"/>
              </a:gdLst>
              <a:ahLst/>
              <a:cxnLst>
                <a:cxn ang="0">
                  <a:pos x="T0" y="T1"/>
                </a:cxn>
                <a:cxn ang="0">
                  <a:pos x="T2" y="T3"/>
                </a:cxn>
                <a:cxn ang="0">
                  <a:pos x="T4" y="T5"/>
                </a:cxn>
                <a:cxn ang="0">
                  <a:pos x="T6" y="T7"/>
                </a:cxn>
                <a:cxn ang="0">
                  <a:pos x="T8" y="T9"/>
                </a:cxn>
                <a:cxn ang="0">
                  <a:pos x="T10" y="T11"/>
                </a:cxn>
              </a:cxnLst>
              <a:rect l="0" t="0" r="r" b="b"/>
              <a:pathLst>
                <a:path w="34" h="23">
                  <a:moveTo>
                    <a:pt x="13" y="0"/>
                  </a:moveTo>
                  <a:lnTo>
                    <a:pt x="0" y="15"/>
                  </a:lnTo>
                  <a:lnTo>
                    <a:pt x="18" y="22"/>
                  </a:lnTo>
                  <a:lnTo>
                    <a:pt x="33" y="15"/>
                  </a:lnTo>
                  <a:lnTo>
                    <a:pt x="30" y="2"/>
                  </a:lnTo>
                  <a:lnTo>
                    <a:pt x="13"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8" name="Freeform 95">
              <a:extLst>
                <a:ext uri="{FF2B5EF4-FFF2-40B4-BE49-F238E27FC236}">
                  <a16:creationId xmlns:a16="http://schemas.microsoft.com/office/drawing/2014/main" id="{688541E3-72AE-48DD-B38E-4F3DC9769C01}"/>
                </a:ext>
              </a:extLst>
            </p:cNvPr>
            <p:cNvSpPr>
              <a:spLocks/>
            </p:cNvSpPr>
            <p:nvPr/>
          </p:nvSpPr>
          <p:spPr bwMode="auto">
            <a:xfrm>
              <a:off x="2368618" y="1834251"/>
              <a:ext cx="960572" cy="811022"/>
            </a:xfrm>
            <a:custGeom>
              <a:avLst/>
              <a:gdLst>
                <a:gd name="T0" fmla="*/ 138 w 720"/>
                <a:gd name="T1" fmla="*/ 83 h 608"/>
                <a:gd name="T2" fmla="*/ 93 w 720"/>
                <a:gd name="T3" fmla="*/ 123 h 608"/>
                <a:gd name="T4" fmla="*/ 31 w 720"/>
                <a:gd name="T5" fmla="*/ 155 h 608"/>
                <a:gd name="T6" fmla="*/ 3 w 720"/>
                <a:gd name="T7" fmla="*/ 175 h 608"/>
                <a:gd name="T8" fmla="*/ 65 w 720"/>
                <a:gd name="T9" fmla="*/ 187 h 608"/>
                <a:gd name="T10" fmla="*/ 20 w 720"/>
                <a:gd name="T11" fmla="*/ 195 h 608"/>
                <a:gd name="T12" fmla="*/ 143 w 720"/>
                <a:gd name="T13" fmla="*/ 220 h 608"/>
                <a:gd name="T14" fmla="*/ 180 w 720"/>
                <a:gd name="T15" fmla="*/ 285 h 608"/>
                <a:gd name="T16" fmla="*/ 190 w 720"/>
                <a:gd name="T17" fmla="*/ 342 h 608"/>
                <a:gd name="T18" fmla="*/ 219 w 720"/>
                <a:gd name="T19" fmla="*/ 354 h 608"/>
                <a:gd name="T20" fmla="*/ 227 w 720"/>
                <a:gd name="T21" fmla="*/ 377 h 608"/>
                <a:gd name="T22" fmla="*/ 195 w 720"/>
                <a:gd name="T23" fmla="*/ 422 h 608"/>
                <a:gd name="T24" fmla="*/ 200 w 720"/>
                <a:gd name="T25" fmla="*/ 490 h 608"/>
                <a:gd name="T26" fmla="*/ 240 w 720"/>
                <a:gd name="T27" fmla="*/ 582 h 608"/>
                <a:gd name="T28" fmla="*/ 278 w 720"/>
                <a:gd name="T29" fmla="*/ 607 h 608"/>
                <a:gd name="T30" fmla="*/ 325 w 720"/>
                <a:gd name="T31" fmla="*/ 540 h 608"/>
                <a:gd name="T32" fmla="*/ 345 w 720"/>
                <a:gd name="T33" fmla="*/ 485 h 608"/>
                <a:gd name="T34" fmla="*/ 433 w 720"/>
                <a:gd name="T35" fmla="*/ 465 h 608"/>
                <a:gd name="T36" fmla="*/ 510 w 720"/>
                <a:gd name="T37" fmla="*/ 425 h 608"/>
                <a:gd name="T38" fmla="*/ 581 w 720"/>
                <a:gd name="T39" fmla="*/ 367 h 608"/>
                <a:gd name="T40" fmla="*/ 525 w 720"/>
                <a:gd name="T41" fmla="*/ 354 h 608"/>
                <a:gd name="T42" fmla="*/ 548 w 720"/>
                <a:gd name="T43" fmla="*/ 332 h 608"/>
                <a:gd name="T44" fmla="*/ 588 w 720"/>
                <a:gd name="T45" fmla="*/ 358 h 608"/>
                <a:gd name="T46" fmla="*/ 586 w 720"/>
                <a:gd name="T47" fmla="*/ 318 h 608"/>
                <a:gd name="T48" fmla="*/ 561 w 720"/>
                <a:gd name="T49" fmla="*/ 290 h 608"/>
                <a:gd name="T50" fmla="*/ 588 w 720"/>
                <a:gd name="T51" fmla="*/ 298 h 608"/>
                <a:gd name="T52" fmla="*/ 616 w 720"/>
                <a:gd name="T53" fmla="*/ 280 h 608"/>
                <a:gd name="T54" fmla="*/ 626 w 720"/>
                <a:gd name="T55" fmla="*/ 267 h 608"/>
                <a:gd name="T56" fmla="*/ 646 w 720"/>
                <a:gd name="T57" fmla="*/ 237 h 608"/>
                <a:gd name="T58" fmla="*/ 621 w 720"/>
                <a:gd name="T59" fmla="*/ 210 h 608"/>
                <a:gd name="T60" fmla="*/ 643 w 720"/>
                <a:gd name="T61" fmla="*/ 195 h 608"/>
                <a:gd name="T62" fmla="*/ 598 w 720"/>
                <a:gd name="T63" fmla="*/ 168 h 608"/>
                <a:gd name="T64" fmla="*/ 631 w 720"/>
                <a:gd name="T65" fmla="*/ 128 h 608"/>
                <a:gd name="T66" fmla="*/ 618 w 720"/>
                <a:gd name="T67" fmla="*/ 105 h 608"/>
                <a:gd name="T68" fmla="*/ 651 w 720"/>
                <a:gd name="T69" fmla="*/ 95 h 608"/>
                <a:gd name="T70" fmla="*/ 719 w 720"/>
                <a:gd name="T71" fmla="*/ 63 h 608"/>
                <a:gd name="T72" fmla="*/ 624 w 720"/>
                <a:gd name="T73" fmla="*/ 68 h 608"/>
                <a:gd name="T74" fmla="*/ 601 w 720"/>
                <a:gd name="T75" fmla="*/ 50 h 608"/>
                <a:gd name="T76" fmla="*/ 553 w 720"/>
                <a:gd name="T77" fmla="*/ 45 h 608"/>
                <a:gd name="T78" fmla="*/ 518 w 720"/>
                <a:gd name="T79" fmla="*/ 37 h 608"/>
                <a:gd name="T80" fmla="*/ 598 w 720"/>
                <a:gd name="T81" fmla="*/ 23 h 608"/>
                <a:gd name="T82" fmla="*/ 470 w 720"/>
                <a:gd name="T83" fmla="*/ 20 h 608"/>
                <a:gd name="T84" fmla="*/ 413 w 720"/>
                <a:gd name="T85" fmla="*/ 3 h 608"/>
                <a:gd name="T86" fmla="*/ 340 w 720"/>
                <a:gd name="T87" fmla="*/ 15 h 608"/>
                <a:gd name="T88" fmla="*/ 333 w 720"/>
                <a:gd name="T89" fmla="*/ 58 h 608"/>
                <a:gd name="T90" fmla="*/ 303 w 720"/>
                <a:gd name="T91" fmla="*/ 41 h 608"/>
                <a:gd name="T92" fmla="*/ 283 w 720"/>
                <a:gd name="T93" fmla="*/ 65 h 608"/>
                <a:gd name="T94" fmla="*/ 258 w 720"/>
                <a:gd name="T95" fmla="*/ 45 h 608"/>
                <a:gd name="T96" fmla="*/ 240 w 720"/>
                <a:gd name="T97" fmla="*/ 55 h 608"/>
                <a:gd name="T98" fmla="*/ 183 w 720"/>
                <a:gd name="T99" fmla="*/ 50 h 608"/>
                <a:gd name="T100" fmla="*/ 150 w 720"/>
                <a:gd name="T101" fmla="*/ 65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0" h="608">
                  <a:moveTo>
                    <a:pt x="150" y="65"/>
                  </a:moveTo>
                  <a:lnTo>
                    <a:pt x="138" y="83"/>
                  </a:lnTo>
                  <a:lnTo>
                    <a:pt x="95" y="92"/>
                  </a:lnTo>
                  <a:lnTo>
                    <a:pt x="93" y="123"/>
                  </a:lnTo>
                  <a:lnTo>
                    <a:pt x="60" y="132"/>
                  </a:lnTo>
                  <a:lnTo>
                    <a:pt x="31" y="155"/>
                  </a:lnTo>
                  <a:lnTo>
                    <a:pt x="0" y="164"/>
                  </a:lnTo>
                  <a:lnTo>
                    <a:pt x="3" y="175"/>
                  </a:lnTo>
                  <a:lnTo>
                    <a:pt x="55" y="172"/>
                  </a:lnTo>
                  <a:lnTo>
                    <a:pt x="65" y="187"/>
                  </a:lnTo>
                  <a:lnTo>
                    <a:pt x="42" y="192"/>
                  </a:lnTo>
                  <a:lnTo>
                    <a:pt x="20" y="195"/>
                  </a:lnTo>
                  <a:lnTo>
                    <a:pt x="55" y="220"/>
                  </a:lnTo>
                  <a:lnTo>
                    <a:pt x="143" y="220"/>
                  </a:lnTo>
                  <a:lnTo>
                    <a:pt x="166" y="245"/>
                  </a:lnTo>
                  <a:lnTo>
                    <a:pt x="180" y="285"/>
                  </a:lnTo>
                  <a:lnTo>
                    <a:pt x="188" y="326"/>
                  </a:lnTo>
                  <a:lnTo>
                    <a:pt x="190" y="342"/>
                  </a:lnTo>
                  <a:lnTo>
                    <a:pt x="211" y="332"/>
                  </a:lnTo>
                  <a:lnTo>
                    <a:pt x="219" y="354"/>
                  </a:lnTo>
                  <a:lnTo>
                    <a:pt x="193" y="363"/>
                  </a:lnTo>
                  <a:lnTo>
                    <a:pt x="227" y="377"/>
                  </a:lnTo>
                  <a:lnTo>
                    <a:pt x="222" y="407"/>
                  </a:lnTo>
                  <a:lnTo>
                    <a:pt x="195" y="422"/>
                  </a:lnTo>
                  <a:lnTo>
                    <a:pt x="188" y="445"/>
                  </a:lnTo>
                  <a:lnTo>
                    <a:pt x="200" y="490"/>
                  </a:lnTo>
                  <a:lnTo>
                    <a:pt x="218" y="537"/>
                  </a:lnTo>
                  <a:lnTo>
                    <a:pt x="240" y="582"/>
                  </a:lnTo>
                  <a:lnTo>
                    <a:pt x="266" y="588"/>
                  </a:lnTo>
                  <a:lnTo>
                    <a:pt x="278" y="607"/>
                  </a:lnTo>
                  <a:lnTo>
                    <a:pt x="301" y="602"/>
                  </a:lnTo>
                  <a:lnTo>
                    <a:pt x="325" y="540"/>
                  </a:lnTo>
                  <a:lnTo>
                    <a:pt x="343" y="517"/>
                  </a:lnTo>
                  <a:lnTo>
                    <a:pt x="345" y="485"/>
                  </a:lnTo>
                  <a:lnTo>
                    <a:pt x="388" y="475"/>
                  </a:lnTo>
                  <a:lnTo>
                    <a:pt x="433" y="465"/>
                  </a:lnTo>
                  <a:lnTo>
                    <a:pt x="456" y="420"/>
                  </a:lnTo>
                  <a:lnTo>
                    <a:pt x="510" y="425"/>
                  </a:lnTo>
                  <a:lnTo>
                    <a:pt x="558" y="393"/>
                  </a:lnTo>
                  <a:lnTo>
                    <a:pt x="581" y="367"/>
                  </a:lnTo>
                  <a:lnTo>
                    <a:pt x="556" y="359"/>
                  </a:lnTo>
                  <a:lnTo>
                    <a:pt x="525" y="354"/>
                  </a:lnTo>
                  <a:lnTo>
                    <a:pt x="531" y="337"/>
                  </a:lnTo>
                  <a:lnTo>
                    <a:pt x="548" y="332"/>
                  </a:lnTo>
                  <a:lnTo>
                    <a:pt x="569" y="348"/>
                  </a:lnTo>
                  <a:lnTo>
                    <a:pt x="588" y="358"/>
                  </a:lnTo>
                  <a:lnTo>
                    <a:pt x="598" y="342"/>
                  </a:lnTo>
                  <a:lnTo>
                    <a:pt x="586" y="318"/>
                  </a:lnTo>
                  <a:lnTo>
                    <a:pt x="558" y="307"/>
                  </a:lnTo>
                  <a:lnTo>
                    <a:pt x="561" y="290"/>
                  </a:lnTo>
                  <a:lnTo>
                    <a:pt x="581" y="290"/>
                  </a:lnTo>
                  <a:lnTo>
                    <a:pt x="588" y="298"/>
                  </a:lnTo>
                  <a:lnTo>
                    <a:pt x="596" y="285"/>
                  </a:lnTo>
                  <a:lnTo>
                    <a:pt x="616" y="280"/>
                  </a:lnTo>
                  <a:lnTo>
                    <a:pt x="609" y="267"/>
                  </a:lnTo>
                  <a:lnTo>
                    <a:pt x="626" y="267"/>
                  </a:lnTo>
                  <a:lnTo>
                    <a:pt x="641" y="253"/>
                  </a:lnTo>
                  <a:lnTo>
                    <a:pt x="646" y="237"/>
                  </a:lnTo>
                  <a:lnTo>
                    <a:pt x="624" y="227"/>
                  </a:lnTo>
                  <a:lnTo>
                    <a:pt x="621" y="210"/>
                  </a:lnTo>
                  <a:lnTo>
                    <a:pt x="631" y="198"/>
                  </a:lnTo>
                  <a:lnTo>
                    <a:pt x="643" y="195"/>
                  </a:lnTo>
                  <a:lnTo>
                    <a:pt x="641" y="172"/>
                  </a:lnTo>
                  <a:lnTo>
                    <a:pt x="598" y="168"/>
                  </a:lnTo>
                  <a:lnTo>
                    <a:pt x="609" y="142"/>
                  </a:lnTo>
                  <a:lnTo>
                    <a:pt x="631" y="128"/>
                  </a:lnTo>
                  <a:lnTo>
                    <a:pt x="643" y="117"/>
                  </a:lnTo>
                  <a:lnTo>
                    <a:pt x="618" y="105"/>
                  </a:lnTo>
                  <a:lnTo>
                    <a:pt x="636" y="97"/>
                  </a:lnTo>
                  <a:lnTo>
                    <a:pt x="651" y="95"/>
                  </a:lnTo>
                  <a:lnTo>
                    <a:pt x="686" y="85"/>
                  </a:lnTo>
                  <a:lnTo>
                    <a:pt x="719" y="63"/>
                  </a:lnTo>
                  <a:lnTo>
                    <a:pt x="656" y="58"/>
                  </a:lnTo>
                  <a:lnTo>
                    <a:pt x="624" y="68"/>
                  </a:lnTo>
                  <a:lnTo>
                    <a:pt x="578" y="91"/>
                  </a:lnTo>
                  <a:lnTo>
                    <a:pt x="601" y="50"/>
                  </a:lnTo>
                  <a:lnTo>
                    <a:pt x="550" y="68"/>
                  </a:lnTo>
                  <a:lnTo>
                    <a:pt x="553" y="45"/>
                  </a:lnTo>
                  <a:lnTo>
                    <a:pt x="470" y="53"/>
                  </a:lnTo>
                  <a:lnTo>
                    <a:pt x="518" y="37"/>
                  </a:lnTo>
                  <a:lnTo>
                    <a:pt x="578" y="28"/>
                  </a:lnTo>
                  <a:lnTo>
                    <a:pt x="598" y="23"/>
                  </a:lnTo>
                  <a:lnTo>
                    <a:pt x="558" y="8"/>
                  </a:lnTo>
                  <a:lnTo>
                    <a:pt x="470" y="20"/>
                  </a:lnTo>
                  <a:lnTo>
                    <a:pt x="518" y="0"/>
                  </a:lnTo>
                  <a:lnTo>
                    <a:pt x="413" y="3"/>
                  </a:lnTo>
                  <a:lnTo>
                    <a:pt x="383" y="30"/>
                  </a:lnTo>
                  <a:lnTo>
                    <a:pt x="340" y="15"/>
                  </a:lnTo>
                  <a:lnTo>
                    <a:pt x="340" y="36"/>
                  </a:lnTo>
                  <a:lnTo>
                    <a:pt x="333" y="58"/>
                  </a:lnTo>
                  <a:lnTo>
                    <a:pt x="318" y="41"/>
                  </a:lnTo>
                  <a:lnTo>
                    <a:pt x="303" y="41"/>
                  </a:lnTo>
                  <a:lnTo>
                    <a:pt x="283" y="41"/>
                  </a:lnTo>
                  <a:lnTo>
                    <a:pt x="283" y="65"/>
                  </a:lnTo>
                  <a:lnTo>
                    <a:pt x="261" y="65"/>
                  </a:lnTo>
                  <a:lnTo>
                    <a:pt x="258" y="45"/>
                  </a:lnTo>
                  <a:lnTo>
                    <a:pt x="235" y="43"/>
                  </a:lnTo>
                  <a:lnTo>
                    <a:pt x="240" y="55"/>
                  </a:lnTo>
                  <a:lnTo>
                    <a:pt x="200" y="41"/>
                  </a:lnTo>
                  <a:lnTo>
                    <a:pt x="183" y="50"/>
                  </a:lnTo>
                  <a:lnTo>
                    <a:pt x="167" y="50"/>
                  </a:lnTo>
                  <a:lnTo>
                    <a:pt x="150" y="65"/>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9" name="Freeform 97">
              <a:extLst>
                <a:ext uri="{FF2B5EF4-FFF2-40B4-BE49-F238E27FC236}">
                  <a16:creationId xmlns:a16="http://schemas.microsoft.com/office/drawing/2014/main" id="{8C524EC1-4B16-4020-BE05-73AB20FB51F5}"/>
                </a:ext>
              </a:extLst>
            </p:cNvPr>
            <p:cNvSpPr>
              <a:spLocks/>
            </p:cNvSpPr>
            <p:nvPr/>
          </p:nvSpPr>
          <p:spPr bwMode="auto">
            <a:xfrm>
              <a:off x="1927564" y="3590673"/>
              <a:ext cx="197345" cy="86810"/>
            </a:xfrm>
            <a:custGeom>
              <a:avLst/>
              <a:gdLst>
                <a:gd name="T0" fmla="*/ 0 w 148"/>
                <a:gd name="T1" fmla="*/ 19 h 65"/>
                <a:gd name="T2" fmla="*/ 14 w 148"/>
                <a:gd name="T3" fmla="*/ 6 h 65"/>
                <a:gd name="T4" fmla="*/ 26 w 148"/>
                <a:gd name="T5" fmla="*/ 0 h 65"/>
                <a:gd name="T6" fmla="*/ 46 w 148"/>
                <a:gd name="T7" fmla="*/ 3 h 65"/>
                <a:gd name="T8" fmla="*/ 74 w 148"/>
                <a:gd name="T9" fmla="*/ 9 h 65"/>
                <a:gd name="T10" fmla="*/ 100 w 148"/>
                <a:gd name="T11" fmla="*/ 23 h 65"/>
                <a:gd name="T12" fmla="*/ 140 w 148"/>
                <a:gd name="T13" fmla="*/ 42 h 65"/>
                <a:gd name="T14" fmla="*/ 147 w 148"/>
                <a:gd name="T15" fmla="*/ 52 h 65"/>
                <a:gd name="T16" fmla="*/ 127 w 148"/>
                <a:gd name="T17" fmla="*/ 64 h 65"/>
                <a:gd name="T18" fmla="*/ 96 w 148"/>
                <a:gd name="T19" fmla="*/ 61 h 65"/>
                <a:gd name="T20" fmla="*/ 100 w 148"/>
                <a:gd name="T21" fmla="*/ 45 h 65"/>
                <a:gd name="T22" fmla="*/ 90 w 148"/>
                <a:gd name="T23" fmla="*/ 35 h 65"/>
                <a:gd name="T24" fmla="*/ 68 w 148"/>
                <a:gd name="T25" fmla="*/ 20 h 65"/>
                <a:gd name="T26" fmla="*/ 60 w 148"/>
                <a:gd name="T27" fmla="*/ 17 h 65"/>
                <a:gd name="T28" fmla="*/ 17 w 148"/>
                <a:gd name="T29" fmla="*/ 13 h 65"/>
                <a:gd name="T30" fmla="*/ 0 w 148"/>
                <a:gd name="T31" fmla="*/ 1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8" h="65">
                  <a:moveTo>
                    <a:pt x="0" y="19"/>
                  </a:moveTo>
                  <a:lnTo>
                    <a:pt x="14" y="6"/>
                  </a:lnTo>
                  <a:lnTo>
                    <a:pt x="26" y="0"/>
                  </a:lnTo>
                  <a:lnTo>
                    <a:pt x="46" y="3"/>
                  </a:lnTo>
                  <a:lnTo>
                    <a:pt x="74" y="9"/>
                  </a:lnTo>
                  <a:lnTo>
                    <a:pt x="100" y="23"/>
                  </a:lnTo>
                  <a:lnTo>
                    <a:pt x="140" y="42"/>
                  </a:lnTo>
                  <a:lnTo>
                    <a:pt x="147" y="52"/>
                  </a:lnTo>
                  <a:lnTo>
                    <a:pt x="127" y="64"/>
                  </a:lnTo>
                  <a:lnTo>
                    <a:pt x="96" y="61"/>
                  </a:lnTo>
                  <a:lnTo>
                    <a:pt x="100" y="45"/>
                  </a:lnTo>
                  <a:lnTo>
                    <a:pt x="90" y="35"/>
                  </a:lnTo>
                  <a:lnTo>
                    <a:pt x="68" y="20"/>
                  </a:lnTo>
                  <a:lnTo>
                    <a:pt x="60" y="17"/>
                  </a:lnTo>
                  <a:lnTo>
                    <a:pt x="17" y="13"/>
                  </a:lnTo>
                  <a:lnTo>
                    <a:pt x="0" y="1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50" name="Freeform 98">
              <a:extLst>
                <a:ext uri="{FF2B5EF4-FFF2-40B4-BE49-F238E27FC236}">
                  <a16:creationId xmlns:a16="http://schemas.microsoft.com/office/drawing/2014/main" id="{48A847D1-3709-4140-9D1C-ECAC36925727}"/>
                </a:ext>
              </a:extLst>
            </p:cNvPr>
            <p:cNvSpPr>
              <a:spLocks/>
            </p:cNvSpPr>
            <p:nvPr/>
          </p:nvSpPr>
          <p:spPr bwMode="auto">
            <a:xfrm>
              <a:off x="1934697" y="3891536"/>
              <a:ext cx="115316" cy="64216"/>
            </a:xfrm>
            <a:custGeom>
              <a:avLst/>
              <a:gdLst>
                <a:gd name="T0" fmla="*/ 13 w 87"/>
                <a:gd name="T1" fmla="*/ 4 h 49"/>
                <a:gd name="T2" fmla="*/ 0 w 87"/>
                <a:gd name="T3" fmla="*/ 11 h 49"/>
                <a:gd name="T4" fmla="*/ 1 w 87"/>
                <a:gd name="T5" fmla="*/ 26 h 49"/>
                <a:gd name="T6" fmla="*/ 30 w 87"/>
                <a:gd name="T7" fmla="*/ 30 h 49"/>
                <a:gd name="T8" fmla="*/ 41 w 87"/>
                <a:gd name="T9" fmla="*/ 40 h 49"/>
                <a:gd name="T10" fmla="*/ 54 w 87"/>
                <a:gd name="T11" fmla="*/ 33 h 49"/>
                <a:gd name="T12" fmla="*/ 49 w 87"/>
                <a:gd name="T13" fmla="*/ 22 h 49"/>
                <a:gd name="T14" fmla="*/ 63 w 87"/>
                <a:gd name="T15" fmla="*/ 21 h 49"/>
                <a:gd name="T16" fmla="*/ 77 w 87"/>
                <a:gd name="T17" fmla="*/ 37 h 49"/>
                <a:gd name="T18" fmla="*/ 83 w 87"/>
                <a:gd name="T19" fmla="*/ 48 h 49"/>
                <a:gd name="T20" fmla="*/ 86 w 87"/>
                <a:gd name="T21" fmla="*/ 17 h 49"/>
                <a:gd name="T22" fmla="*/ 67 w 87"/>
                <a:gd name="T23" fmla="*/ 4 h 49"/>
                <a:gd name="T24" fmla="*/ 52 w 87"/>
                <a:gd name="T25" fmla="*/ 0 h 49"/>
                <a:gd name="T26" fmla="*/ 40 w 87"/>
                <a:gd name="T27" fmla="*/ 11 h 49"/>
                <a:gd name="T28" fmla="*/ 13 w 87"/>
                <a:gd name="T29" fmla="*/ 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49">
                  <a:moveTo>
                    <a:pt x="13" y="4"/>
                  </a:moveTo>
                  <a:lnTo>
                    <a:pt x="0" y="11"/>
                  </a:lnTo>
                  <a:lnTo>
                    <a:pt x="1" y="26"/>
                  </a:lnTo>
                  <a:lnTo>
                    <a:pt x="30" y="30"/>
                  </a:lnTo>
                  <a:lnTo>
                    <a:pt x="41" y="40"/>
                  </a:lnTo>
                  <a:lnTo>
                    <a:pt x="54" y="33"/>
                  </a:lnTo>
                  <a:lnTo>
                    <a:pt x="49" y="22"/>
                  </a:lnTo>
                  <a:lnTo>
                    <a:pt x="63" y="21"/>
                  </a:lnTo>
                  <a:lnTo>
                    <a:pt x="77" y="37"/>
                  </a:lnTo>
                  <a:lnTo>
                    <a:pt x="83" y="48"/>
                  </a:lnTo>
                  <a:lnTo>
                    <a:pt x="86" y="17"/>
                  </a:lnTo>
                  <a:lnTo>
                    <a:pt x="67" y="4"/>
                  </a:lnTo>
                  <a:lnTo>
                    <a:pt x="52" y="0"/>
                  </a:lnTo>
                  <a:lnTo>
                    <a:pt x="40" y="11"/>
                  </a:lnTo>
                  <a:lnTo>
                    <a:pt x="13" y="4"/>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51" name="Freeform 99">
              <a:extLst>
                <a:ext uri="{FF2B5EF4-FFF2-40B4-BE49-F238E27FC236}">
                  <a16:creationId xmlns:a16="http://schemas.microsoft.com/office/drawing/2014/main" id="{63A59FE0-D9C6-4839-8641-88F5AD3BA1D7}"/>
                </a:ext>
              </a:extLst>
            </p:cNvPr>
            <p:cNvSpPr>
              <a:spLocks/>
            </p:cNvSpPr>
            <p:nvPr/>
          </p:nvSpPr>
          <p:spPr bwMode="auto">
            <a:xfrm>
              <a:off x="1978683" y="4080616"/>
              <a:ext cx="146226" cy="135567"/>
            </a:xfrm>
            <a:custGeom>
              <a:avLst/>
              <a:gdLst>
                <a:gd name="T0" fmla="*/ 109 w 110"/>
                <a:gd name="T1" fmla="*/ 47 h 101"/>
                <a:gd name="T2" fmla="*/ 96 w 110"/>
                <a:gd name="T3" fmla="*/ 31 h 101"/>
                <a:gd name="T4" fmla="*/ 81 w 110"/>
                <a:gd name="T5" fmla="*/ 20 h 101"/>
                <a:gd name="T6" fmla="*/ 70 w 110"/>
                <a:gd name="T7" fmla="*/ 11 h 101"/>
                <a:gd name="T8" fmla="*/ 47 w 110"/>
                <a:gd name="T9" fmla="*/ 12 h 101"/>
                <a:gd name="T10" fmla="*/ 26 w 110"/>
                <a:gd name="T11" fmla="*/ 0 h 101"/>
                <a:gd name="T12" fmla="*/ 14 w 110"/>
                <a:gd name="T13" fmla="*/ 6 h 101"/>
                <a:gd name="T14" fmla="*/ 11 w 110"/>
                <a:gd name="T15" fmla="*/ 23 h 101"/>
                <a:gd name="T16" fmla="*/ 4 w 110"/>
                <a:gd name="T17" fmla="*/ 32 h 101"/>
                <a:gd name="T18" fmla="*/ 0 w 110"/>
                <a:gd name="T19" fmla="*/ 43 h 101"/>
                <a:gd name="T20" fmla="*/ 4 w 110"/>
                <a:gd name="T21" fmla="*/ 54 h 101"/>
                <a:gd name="T22" fmla="*/ 14 w 110"/>
                <a:gd name="T23" fmla="*/ 63 h 101"/>
                <a:gd name="T24" fmla="*/ 15 w 110"/>
                <a:gd name="T25" fmla="*/ 74 h 101"/>
                <a:gd name="T26" fmla="*/ 15 w 110"/>
                <a:gd name="T27" fmla="*/ 89 h 101"/>
                <a:gd name="T28" fmla="*/ 26 w 110"/>
                <a:gd name="T29" fmla="*/ 100 h 101"/>
                <a:gd name="T30" fmla="*/ 41 w 110"/>
                <a:gd name="T31" fmla="*/ 89 h 101"/>
                <a:gd name="T32" fmla="*/ 60 w 110"/>
                <a:gd name="T33" fmla="*/ 75 h 101"/>
                <a:gd name="T34" fmla="*/ 101 w 110"/>
                <a:gd name="T35" fmla="*/ 57 h 101"/>
                <a:gd name="T36" fmla="*/ 109 w 110"/>
                <a:gd name="T37" fmla="*/ 4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 h="101">
                  <a:moveTo>
                    <a:pt x="109" y="47"/>
                  </a:moveTo>
                  <a:lnTo>
                    <a:pt x="96" y="31"/>
                  </a:lnTo>
                  <a:lnTo>
                    <a:pt x="81" y="20"/>
                  </a:lnTo>
                  <a:lnTo>
                    <a:pt x="70" y="11"/>
                  </a:lnTo>
                  <a:lnTo>
                    <a:pt x="47" y="12"/>
                  </a:lnTo>
                  <a:lnTo>
                    <a:pt x="26" y="0"/>
                  </a:lnTo>
                  <a:lnTo>
                    <a:pt x="14" y="6"/>
                  </a:lnTo>
                  <a:lnTo>
                    <a:pt x="11" y="23"/>
                  </a:lnTo>
                  <a:lnTo>
                    <a:pt x="4" y="32"/>
                  </a:lnTo>
                  <a:lnTo>
                    <a:pt x="0" y="43"/>
                  </a:lnTo>
                  <a:lnTo>
                    <a:pt x="4" y="54"/>
                  </a:lnTo>
                  <a:lnTo>
                    <a:pt x="14" y="63"/>
                  </a:lnTo>
                  <a:lnTo>
                    <a:pt x="15" y="74"/>
                  </a:lnTo>
                  <a:lnTo>
                    <a:pt x="15" y="89"/>
                  </a:lnTo>
                  <a:lnTo>
                    <a:pt x="26" y="100"/>
                  </a:lnTo>
                  <a:lnTo>
                    <a:pt x="41" y="89"/>
                  </a:lnTo>
                  <a:lnTo>
                    <a:pt x="60" y="75"/>
                  </a:lnTo>
                  <a:lnTo>
                    <a:pt x="101" y="57"/>
                  </a:lnTo>
                  <a:lnTo>
                    <a:pt x="109" y="47"/>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52" name="Freeform 100">
              <a:extLst>
                <a:ext uri="{FF2B5EF4-FFF2-40B4-BE49-F238E27FC236}">
                  <a16:creationId xmlns:a16="http://schemas.microsoft.com/office/drawing/2014/main" id="{F572F5B3-B0DE-47AD-9542-3B3D01B62171}"/>
                </a:ext>
              </a:extLst>
            </p:cNvPr>
            <p:cNvSpPr>
              <a:spLocks/>
            </p:cNvSpPr>
            <p:nvPr/>
          </p:nvSpPr>
          <p:spPr bwMode="auto">
            <a:xfrm>
              <a:off x="2359108" y="3915320"/>
              <a:ext cx="84407" cy="166486"/>
            </a:xfrm>
            <a:custGeom>
              <a:avLst/>
              <a:gdLst>
                <a:gd name="T0" fmla="*/ 18 w 64"/>
                <a:gd name="T1" fmla="*/ 0 h 125"/>
                <a:gd name="T2" fmla="*/ 18 w 64"/>
                <a:gd name="T3" fmla="*/ 14 h 125"/>
                <a:gd name="T4" fmla="*/ 12 w 64"/>
                <a:gd name="T5" fmla="*/ 20 h 125"/>
                <a:gd name="T6" fmla="*/ 9 w 64"/>
                <a:gd name="T7" fmla="*/ 28 h 125"/>
                <a:gd name="T8" fmla="*/ 1 w 64"/>
                <a:gd name="T9" fmla="*/ 36 h 125"/>
                <a:gd name="T10" fmla="*/ 0 w 64"/>
                <a:gd name="T11" fmla="*/ 50 h 125"/>
                <a:gd name="T12" fmla="*/ 7 w 64"/>
                <a:gd name="T13" fmla="*/ 59 h 125"/>
                <a:gd name="T14" fmla="*/ 7 w 64"/>
                <a:gd name="T15" fmla="*/ 70 h 125"/>
                <a:gd name="T16" fmla="*/ 18 w 64"/>
                <a:gd name="T17" fmla="*/ 73 h 125"/>
                <a:gd name="T18" fmla="*/ 22 w 64"/>
                <a:gd name="T19" fmla="*/ 90 h 125"/>
                <a:gd name="T20" fmla="*/ 18 w 64"/>
                <a:gd name="T21" fmla="*/ 101 h 125"/>
                <a:gd name="T22" fmla="*/ 25 w 64"/>
                <a:gd name="T23" fmla="*/ 116 h 125"/>
                <a:gd name="T24" fmla="*/ 32 w 64"/>
                <a:gd name="T25" fmla="*/ 124 h 125"/>
                <a:gd name="T26" fmla="*/ 41 w 64"/>
                <a:gd name="T27" fmla="*/ 123 h 125"/>
                <a:gd name="T28" fmla="*/ 45 w 64"/>
                <a:gd name="T29" fmla="*/ 117 h 125"/>
                <a:gd name="T30" fmla="*/ 57 w 64"/>
                <a:gd name="T31" fmla="*/ 116 h 125"/>
                <a:gd name="T32" fmla="*/ 60 w 64"/>
                <a:gd name="T33" fmla="*/ 109 h 125"/>
                <a:gd name="T34" fmla="*/ 59 w 64"/>
                <a:gd name="T35" fmla="*/ 94 h 125"/>
                <a:gd name="T36" fmla="*/ 50 w 64"/>
                <a:gd name="T37" fmla="*/ 89 h 125"/>
                <a:gd name="T38" fmla="*/ 45 w 64"/>
                <a:gd name="T39" fmla="*/ 83 h 125"/>
                <a:gd name="T40" fmla="*/ 45 w 64"/>
                <a:gd name="T41" fmla="*/ 70 h 125"/>
                <a:gd name="T42" fmla="*/ 51 w 64"/>
                <a:gd name="T43" fmla="*/ 65 h 125"/>
                <a:gd name="T44" fmla="*/ 61 w 64"/>
                <a:gd name="T45" fmla="*/ 66 h 125"/>
                <a:gd name="T46" fmla="*/ 63 w 64"/>
                <a:gd name="T47" fmla="*/ 51 h 125"/>
                <a:gd name="T48" fmla="*/ 61 w 64"/>
                <a:gd name="T49" fmla="*/ 36 h 125"/>
                <a:gd name="T50" fmla="*/ 55 w 64"/>
                <a:gd name="T51" fmla="*/ 30 h 125"/>
                <a:gd name="T52" fmla="*/ 44 w 64"/>
                <a:gd name="T53" fmla="*/ 29 h 125"/>
                <a:gd name="T54" fmla="*/ 41 w 64"/>
                <a:gd name="T55" fmla="*/ 15 h 125"/>
                <a:gd name="T56" fmla="*/ 33 w 64"/>
                <a:gd name="T57" fmla="*/ 14 h 125"/>
                <a:gd name="T58" fmla="*/ 29 w 64"/>
                <a:gd name="T59" fmla="*/ 2 h 125"/>
                <a:gd name="T60" fmla="*/ 18 w 64"/>
                <a:gd name="T61"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125">
                  <a:moveTo>
                    <a:pt x="18" y="0"/>
                  </a:moveTo>
                  <a:lnTo>
                    <a:pt x="18" y="14"/>
                  </a:lnTo>
                  <a:lnTo>
                    <a:pt x="12" y="20"/>
                  </a:lnTo>
                  <a:lnTo>
                    <a:pt x="9" y="28"/>
                  </a:lnTo>
                  <a:lnTo>
                    <a:pt x="1" y="36"/>
                  </a:lnTo>
                  <a:lnTo>
                    <a:pt x="0" y="50"/>
                  </a:lnTo>
                  <a:lnTo>
                    <a:pt x="7" y="59"/>
                  </a:lnTo>
                  <a:lnTo>
                    <a:pt x="7" y="70"/>
                  </a:lnTo>
                  <a:lnTo>
                    <a:pt x="18" y="73"/>
                  </a:lnTo>
                  <a:lnTo>
                    <a:pt x="22" y="90"/>
                  </a:lnTo>
                  <a:lnTo>
                    <a:pt x="18" y="101"/>
                  </a:lnTo>
                  <a:lnTo>
                    <a:pt x="25" y="116"/>
                  </a:lnTo>
                  <a:lnTo>
                    <a:pt x="32" y="124"/>
                  </a:lnTo>
                  <a:lnTo>
                    <a:pt x="41" y="123"/>
                  </a:lnTo>
                  <a:lnTo>
                    <a:pt x="45" y="117"/>
                  </a:lnTo>
                  <a:lnTo>
                    <a:pt x="57" y="116"/>
                  </a:lnTo>
                  <a:lnTo>
                    <a:pt x="60" y="109"/>
                  </a:lnTo>
                  <a:lnTo>
                    <a:pt x="59" y="94"/>
                  </a:lnTo>
                  <a:lnTo>
                    <a:pt x="50" y="89"/>
                  </a:lnTo>
                  <a:lnTo>
                    <a:pt x="45" y="83"/>
                  </a:lnTo>
                  <a:lnTo>
                    <a:pt x="45" y="70"/>
                  </a:lnTo>
                  <a:lnTo>
                    <a:pt x="51" y="65"/>
                  </a:lnTo>
                  <a:lnTo>
                    <a:pt x="61" y="66"/>
                  </a:lnTo>
                  <a:lnTo>
                    <a:pt x="63" y="51"/>
                  </a:lnTo>
                  <a:lnTo>
                    <a:pt x="61" y="36"/>
                  </a:lnTo>
                  <a:lnTo>
                    <a:pt x="55" y="30"/>
                  </a:lnTo>
                  <a:lnTo>
                    <a:pt x="44" y="29"/>
                  </a:lnTo>
                  <a:lnTo>
                    <a:pt x="41" y="15"/>
                  </a:lnTo>
                  <a:lnTo>
                    <a:pt x="33" y="14"/>
                  </a:lnTo>
                  <a:lnTo>
                    <a:pt x="29" y="2"/>
                  </a:lnTo>
                  <a:lnTo>
                    <a:pt x="18"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53" name="Freeform 101">
              <a:extLst>
                <a:ext uri="{FF2B5EF4-FFF2-40B4-BE49-F238E27FC236}">
                  <a16:creationId xmlns:a16="http://schemas.microsoft.com/office/drawing/2014/main" id="{84FBC04A-9B26-42F4-8BBC-E685954D3B8B}"/>
                </a:ext>
              </a:extLst>
            </p:cNvPr>
            <p:cNvSpPr>
              <a:spLocks/>
            </p:cNvSpPr>
            <p:nvPr/>
          </p:nvSpPr>
          <p:spPr bwMode="auto">
            <a:xfrm>
              <a:off x="2417360" y="3962887"/>
              <a:ext cx="79651" cy="109405"/>
            </a:xfrm>
            <a:custGeom>
              <a:avLst/>
              <a:gdLst>
                <a:gd name="T0" fmla="*/ 19 w 61"/>
                <a:gd name="T1" fmla="*/ 15 h 82"/>
                <a:gd name="T2" fmla="*/ 17 w 61"/>
                <a:gd name="T3" fmla="*/ 30 h 82"/>
                <a:gd name="T4" fmla="*/ 7 w 61"/>
                <a:gd name="T5" fmla="*/ 29 h 82"/>
                <a:gd name="T6" fmla="*/ 0 w 61"/>
                <a:gd name="T7" fmla="*/ 34 h 82"/>
                <a:gd name="T8" fmla="*/ 1 w 61"/>
                <a:gd name="T9" fmla="*/ 47 h 82"/>
                <a:gd name="T10" fmla="*/ 6 w 61"/>
                <a:gd name="T11" fmla="*/ 53 h 82"/>
                <a:gd name="T12" fmla="*/ 14 w 61"/>
                <a:gd name="T13" fmla="*/ 59 h 82"/>
                <a:gd name="T14" fmla="*/ 15 w 61"/>
                <a:gd name="T15" fmla="*/ 73 h 82"/>
                <a:gd name="T16" fmla="*/ 13 w 61"/>
                <a:gd name="T17" fmla="*/ 81 h 82"/>
                <a:gd name="T18" fmla="*/ 30 w 61"/>
                <a:gd name="T19" fmla="*/ 80 h 82"/>
                <a:gd name="T20" fmla="*/ 30 w 61"/>
                <a:gd name="T21" fmla="*/ 67 h 82"/>
                <a:gd name="T22" fmla="*/ 52 w 61"/>
                <a:gd name="T23" fmla="*/ 65 h 82"/>
                <a:gd name="T24" fmla="*/ 56 w 61"/>
                <a:gd name="T25" fmla="*/ 61 h 82"/>
                <a:gd name="T26" fmla="*/ 56 w 61"/>
                <a:gd name="T27" fmla="*/ 19 h 82"/>
                <a:gd name="T28" fmla="*/ 60 w 61"/>
                <a:gd name="T29" fmla="*/ 10 h 82"/>
                <a:gd name="T30" fmla="*/ 54 w 61"/>
                <a:gd name="T31" fmla="*/ 0 h 82"/>
                <a:gd name="T32" fmla="*/ 37 w 61"/>
                <a:gd name="T33" fmla="*/ 0 h 82"/>
                <a:gd name="T34" fmla="*/ 32 w 61"/>
                <a:gd name="T35" fmla="*/ 8 h 82"/>
                <a:gd name="T36" fmla="*/ 19 w 61"/>
                <a:gd name="T37" fmla="*/ 1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82">
                  <a:moveTo>
                    <a:pt x="19" y="15"/>
                  </a:moveTo>
                  <a:lnTo>
                    <a:pt x="17" y="30"/>
                  </a:lnTo>
                  <a:lnTo>
                    <a:pt x="7" y="29"/>
                  </a:lnTo>
                  <a:lnTo>
                    <a:pt x="0" y="34"/>
                  </a:lnTo>
                  <a:lnTo>
                    <a:pt x="1" y="47"/>
                  </a:lnTo>
                  <a:lnTo>
                    <a:pt x="6" y="53"/>
                  </a:lnTo>
                  <a:lnTo>
                    <a:pt x="14" y="59"/>
                  </a:lnTo>
                  <a:lnTo>
                    <a:pt x="15" y="73"/>
                  </a:lnTo>
                  <a:lnTo>
                    <a:pt x="13" y="81"/>
                  </a:lnTo>
                  <a:lnTo>
                    <a:pt x="30" y="80"/>
                  </a:lnTo>
                  <a:lnTo>
                    <a:pt x="30" y="67"/>
                  </a:lnTo>
                  <a:lnTo>
                    <a:pt x="52" y="65"/>
                  </a:lnTo>
                  <a:lnTo>
                    <a:pt x="56" y="61"/>
                  </a:lnTo>
                  <a:lnTo>
                    <a:pt x="56" y="19"/>
                  </a:lnTo>
                  <a:lnTo>
                    <a:pt x="60" y="10"/>
                  </a:lnTo>
                  <a:lnTo>
                    <a:pt x="54" y="0"/>
                  </a:lnTo>
                  <a:lnTo>
                    <a:pt x="37" y="0"/>
                  </a:lnTo>
                  <a:lnTo>
                    <a:pt x="32" y="8"/>
                  </a:lnTo>
                  <a:lnTo>
                    <a:pt x="19" y="15"/>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54" name="Freeform 102">
              <a:extLst>
                <a:ext uri="{FF2B5EF4-FFF2-40B4-BE49-F238E27FC236}">
                  <a16:creationId xmlns:a16="http://schemas.microsoft.com/office/drawing/2014/main" id="{2D88168E-1D6E-4A59-8477-5BAD7569F97D}"/>
                </a:ext>
              </a:extLst>
            </p:cNvPr>
            <p:cNvSpPr>
              <a:spLocks/>
            </p:cNvSpPr>
            <p:nvPr/>
          </p:nvSpPr>
          <p:spPr bwMode="auto">
            <a:xfrm>
              <a:off x="2111832" y="4008076"/>
              <a:ext cx="765604" cy="856211"/>
            </a:xfrm>
            <a:custGeom>
              <a:avLst/>
              <a:gdLst>
                <a:gd name="T0" fmla="*/ 58 w 573"/>
                <a:gd name="T1" fmla="*/ 58 h 641"/>
                <a:gd name="T2" fmla="*/ 62 w 573"/>
                <a:gd name="T3" fmla="*/ 98 h 641"/>
                <a:gd name="T4" fmla="*/ 57 w 573"/>
                <a:gd name="T5" fmla="*/ 131 h 641"/>
                <a:gd name="T6" fmla="*/ 29 w 573"/>
                <a:gd name="T7" fmla="*/ 147 h 641"/>
                <a:gd name="T8" fmla="*/ 18 w 573"/>
                <a:gd name="T9" fmla="*/ 178 h 641"/>
                <a:gd name="T10" fmla="*/ 0 w 573"/>
                <a:gd name="T11" fmla="*/ 201 h 641"/>
                <a:gd name="T12" fmla="*/ 17 w 573"/>
                <a:gd name="T13" fmla="*/ 228 h 641"/>
                <a:gd name="T14" fmla="*/ 42 w 573"/>
                <a:gd name="T15" fmla="*/ 241 h 641"/>
                <a:gd name="T16" fmla="*/ 71 w 573"/>
                <a:gd name="T17" fmla="*/ 259 h 641"/>
                <a:gd name="T18" fmla="*/ 96 w 573"/>
                <a:gd name="T19" fmla="*/ 252 h 641"/>
                <a:gd name="T20" fmla="*/ 108 w 573"/>
                <a:gd name="T21" fmla="*/ 235 h 641"/>
                <a:gd name="T22" fmla="*/ 136 w 573"/>
                <a:gd name="T23" fmla="*/ 277 h 641"/>
                <a:gd name="T24" fmla="*/ 163 w 573"/>
                <a:gd name="T25" fmla="*/ 286 h 641"/>
                <a:gd name="T26" fmla="*/ 190 w 573"/>
                <a:gd name="T27" fmla="*/ 299 h 641"/>
                <a:gd name="T28" fmla="*/ 207 w 573"/>
                <a:gd name="T29" fmla="*/ 316 h 641"/>
                <a:gd name="T30" fmla="*/ 204 w 573"/>
                <a:gd name="T31" fmla="*/ 343 h 641"/>
                <a:gd name="T32" fmla="*/ 230 w 573"/>
                <a:gd name="T33" fmla="*/ 359 h 641"/>
                <a:gd name="T34" fmla="*/ 245 w 573"/>
                <a:gd name="T35" fmla="*/ 376 h 641"/>
                <a:gd name="T36" fmla="*/ 230 w 573"/>
                <a:gd name="T37" fmla="*/ 405 h 641"/>
                <a:gd name="T38" fmla="*/ 243 w 573"/>
                <a:gd name="T39" fmla="*/ 431 h 641"/>
                <a:gd name="T40" fmla="*/ 268 w 573"/>
                <a:gd name="T41" fmla="*/ 445 h 641"/>
                <a:gd name="T42" fmla="*/ 295 w 573"/>
                <a:gd name="T43" fmla="*/ 464 h 641"/>
                <a:gd name="T44" fmla="*/ 302 w 573"/>
                <a:gd name="T45" fmla="*/ 520 h 641"/>
                <a:gd name="T46" fmla="*/ 299 w 573"/>
                <a:gd name="T47" fmla="*/ 533 h 641"/>
                <a:gd name="T48" fmla="*/ 277 w 573"/>
                <a:gd name="T49" fmla="*/ 557 h 641"/>
                <a:gd name="T50" fmla="*/ 269 w 573"/>
                <a:gd name="T51" fmla="*/ 584 h 641"/>
                <a:gd name="T52" fmla="*/ 320 w 573"/>
                <a:gd name="T53" fmla="*/ 629 h 641"/>
                <a:gd name="T54" fmla="*/ 331 w 573"/>
                <a:gd name="T55" fmla="*/ 611 h 641"/>
                <a:gd name="T56" fmla="*/ 342 w 573"/>
                <a:gd name="T57" fmla="*/ 581 h 641"/>
                <a:gd name="T58" fmla="*/ 339 w 573"/>
                <a:gd name="T59" fmla="*/ 603 h 641"/>
                <a:gd name="T60" fmla="*/ 364 w 573"/>
                <a:gd name="T61" fmla="*/ 578 h 641"/>
                <a:gd name="T62" fmla="*/ 383 w 573"/>
                <a:gd name="T63" fmla="*/ 500 h 641"/>
                <a:gd name="T64" fmla="*/ 403 w 573"/>
                <a:gd name="T65" fmla="*/ 476 h 641"/>
                <a:gd name="T66" fmla="*/ 456 w 573"/>
                <a:gd name="T67" fmla="*/ 455 h 641"/>
                <a:gd name="T68" fmla="*/ 486 w 573"/>
                <a:gd name="T69" fmla="*/ 420 h 641"/>
                <a:gd name="T70" fmla="*/ 501 w 573"/>
                <a:gd name="T71" fmla="*/ 365 h 641"/>
                <a:gd name="T72" fmla="*/ 525 w 573"/>
                <a:gd name="T73" fmla="*/ 280 h 641"/>
                <a:gd name="T74" fmla="*/ 536 w 573"/>
                <a:gd name="T75" fmla="*/ 247 h 641"/>
                <a:gd name="T76" fmla="*/ 558 w 573"/>
                <a:gd name="T77" fmla="*/ 226 h 641"/>
                <a:gd name="T78" fmla="*/ 563 w 573"/>
                <a:gd name="T79" fmla="*/ 198 h 641"/>
                <a:gd name="T80" fmla="*/ 562 w 573"/>
                <a:gd name="T81" fmla="*/ 184 h 641"/>
                <a:gd name="T82" fmla="*/ 542 w 573"/>
                <a:gd name="T83" fmla="*/ 148 h 641"/>
                <a:gd name="T84" fmla="*/ 513 w 573"/>
                <a:gd name="T85" fmla="*/ 130 h 641"/>
                <a:gd name="T86" fmla="*/ 486 w 573"/>
                <a:gd name="T87" fmla="*/ 114 h 641"/>
                <a:gd name="T88" fmla="*/ 456 w 573"/>
                <a:gd name="T89" fmla="*/ 109 h 641"/>
                <a:gd name="T90" fmla="*/ 426 w 573"/>
                <a:gd name="T91" fmla="*/ 92 h 641"/>
                <a:gd name="T92" fmla="*/ 385 w 573"/>
                <a:gd name="T93" fmla="*/ 84 h 641"/>
                <a:gd name="T94" fmla="*/ 358 w 573"/>
                <a:gd name="T95" fmla="*/ 102 h 641"/>
                <a:gd name="T96" fmla="*/ 362 w 573"/>
                <a:gd name="T97" fmla="*/ 74 h 641"/>
                <a:gd name="T98" fmla="*/ 334 w 573"/>
                <a:gd name="T99" fmla="*/ 90 h 641"/>
                <a:gd name="T100" fmla="*/ 330 w 573"/>
                <a:gd name="T101" fmla="*/ 81 h 641"/>
                <a:gd name="T102" fmla="*/ 349 w 573"/>
                <a:gd name="T103" fmla="*/ 48 h 641"/>
                <a:gd name="T104" fmla="*/ 318 w 573"/>
                <a:gd name="T105" fmla="*/ 14 h 641"/>
                <a:gd name="T106" fmla="*/ 302 w 573"/>
                <a:gd name="T107" fmla="*/ 40 h 641"/>
                <a:gd name="T108" fmla="*/ 259 w 573"/>
                <a:gd name="T109" fmla="*/ 33 h 641"/>
                <a:gd name="T110" fmla="*/ 230 w 573"/>
                <a:gd name="T111" fmla="*/ 47 h 641"/>
                <a:gd name="T112" fmla="*/ 209 w 573"/>
                <a:gd name="T113" fmla="*/ 46 h 641"/>
                <a:gd name="T114" fmla="*/ 203 w 573"/>
                <a:gd name="T115" fmla="*/ 3 h 641"/>
                <a:gd name="T116" fmla="*/ 162 w 573"/>
                <a:gd name="T117" fmla="*/ 11 h 641"/>
                <a:gd name="T118" fmla="*/ 136 w 573"/>
                <a:gd name="T119" fmla="*/ 7 h 641"/>
                <a:gd name="T120" fmla="*/ 143 w 573"/>
                <a:gd name="T121" fmla="*/ 36 h 641"/>
                <a:gd name="T122" fmla="*/ 117 w 573"/>
                <a:gd name="T123" fmla="*/ 58 h 641"/>
                <a:gd name="T124" fmla="*/ 89 w 573"/>
                <a:gd name="T125" fmla="*/ 39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3" h="641">
                  <a:moveTo>
                    <a:pt x="89" y="39"/>
                  </a:moveTo>
                  <a:lnTo>
                    <a:pt x="64" y="47"/>
                  </a:lnTo>
                  <a:lnTo>
                    <a:pt x="58" y="58"/>
                  </a:lnTo>
                  <a:lnTo>
                    <a:pt x="66" y="65"/>
                  </a:lnTo>
                  <a:lnTo>
                    <a:pt x="58" y="70"/>
                  </a:lnTo>
                  <a:lnTo>
                    <a:pt x="62" y="98"/>
                  </a:lnTo>
                  <a:lnTo>
                    <a:pt x="62" y="111"/>
                  </a:lnTo>
                  <a:lnTo>
                    <a:pt x="47" y="113"/>
                  </a:lnTo>
                  <a:lnTo>
                    <a:pt x="57" y="131"/>
                  </a:lnTo>
                  <a:lnTo>
                    <a:pt x="53" y="145"/>
                  </a:lnTo>
                  <a:lnTo>
                    <a:pt x="42" y="151"/>
                  </a:lnTo>
                  <a:lnTo>
                    <a:pt x="29" y="147"/>
                  </a:lnTo>
                  <a:lnTo>
                    <a:pt x="19" y="154"/>
                  </a:lnTo>
                  <a:lnTo>
                    <a:pt x="14" y="168"/>
                  </a:lnTo>
                  <a:lnTo>
                    <a:pt x="18" y="178"/>
                  </a:lnTo>
                  <a:lnTo>
                    <a:pt x="11" y="183"/>
                  </a:lnTo>
                  <a:lnTo>
                    <a:pt x="3" y="187"/>
                  </a:lnTo>
                  <a:lnTo>
                    <a:pt x="0" y="201"/>
                  </a:lnTo>
                  <a:lnTo>
                    <a:pt x="3" y="210"/>
                  </a:lnTo>
                  <a:lnTo>
                    <a:pt x="14" y="219"/>
                  </a:lnTo>
                  <a:lnTo>
                    <a:pt x="17" y="228"/>
                  </a:lnTo>
                  <a:lnTo>
                    <a:pt x="27" y="230"/>
                  </a:lnTo>
                  <a:lnTo>
                    <a:pt x="29" y="238"/>
                  </a:lnTo>
                  <a:lnTo>
                    <a:pt x="42" y="241"/>
                  </a:lnTo>
                  <a:lnTo>
                    <a:pt x="53" y="234"/>
                  </a:lnTo>
                  <a:lnTo>
                    <a:pt x="58" y="252"/>
                  </a:lnTo>
                  <a:lnTo>
                    <a:pt x="71" y="259"/>
                  </a:lnTo>
                  <a:lnTo>
                    <a:pt x="81" y="259"/>
                  </a:lnTo>
                  <a:lnTo>
                    <a:pt x="91" y="256"/>
                  </a:lnTo>
                  <a:lnTo>
                    <a:pt x="96" y="252"/>
                  </a:lnTo>
                  <a:lnTo>
                    <a:pt x="99" y="245"/>
                  </a:lnTo>
                  <a:lnTo>
                    <a:pt x="107" y="246"/>
                  </a:lnTo>
                  <a:lnTo>
                    <a:pt x="108" y="235"/>
                  </a:lnTo>
                  <a:lnTo>
                    <a:pt x="128" y="237"/>
                  </a:lnTo>
                  <a:lnTo>
                    <a:pt x="130" y="267"/>
                  </a:lnTo>
                  <a:lnTo>
                    <a:pt x="136" y="277"/>
                  </a:lnTo>
                  <a:lnTo>
                    <a:pt x="138" y="282"/>
                  </a:lnTo>
                  <a:lnTo>
                    <a:pt x="161" y="282"/>
                  </a:lnTo>
                  <a:lnTo>
                    <a:pt x="163" y="286"/>
                  </a:lnTo>
                  <a:lnTo>
                    <a:pt x="173" y="288"/>
                  </a:lnTo>
                  <a:lnTo>
                    <a:pt x="175" y="297"/>
                  </a:lnTo>
                  <a:lnTo>
                    <a:pt x="190" y="299"/>
                  </a:lnTo>
                  <a:lnTo>
                    <a:pt x="197" y="301"/>
                  </a:lnTo>
                  <a:lnTo>
                    <a:pt x="199" y="315"/>
                  </a:lnTo>
                  <a:lnTo>
                    <a:pt x="207" y="316"/>
                  </a:lnTo>
                  <a:lnTo>
                    <a:pt x="199" y="322"/>
                  </a:lnTo>
                  <a:lnTo>
                    <a:pt x="200" y="342"/>
                  </a:lnTo>
                  <a:lnTo>
                    <a:pt x="204" y="343"/>
                  </a:lnTo>
                  <a:lnTo>
                    <a:pt x="209" y="349"/>
                  </a:lnTo>
                  <a:lnTo>
                    <a:pt x="229" y="348"/>
                  </a:lnTo>
                  <a:lnTo>
                    <a:pt x="230" y="359"/>
                  </a:lnTo>
                  <a:lnTo>
                    <a:pt x="238" y="361"/>
                  </a:lnTo>
                  <a:lnTo>
                    <a:pt x="240" y="372"/>
                  </a:lnTo>
                  <a:lnTo>
                    <a:pt x="245" y="376"/>
                  </a:lnTo>
                  <a:lnTo>
                    <a:pt x="243" y="394"/>
                  </a:lnTo>
                  <a:lnTo>
                    <a:pt x="238" y="403"/>
                  </a:lnTo>
                  <a:lnTo>
                    <a:pt x="230" y="405"/>
                  </a:lnTo>
                  <a:lnTo>
                    <a:pt x="231" y="416"/>
                  </a:lnTo>
                  <a:lnTo>
                    <a:pt x="242" y="420"/>
                  </a:lnTo>
                  <a:lnTo>
                    <a:pt x="243" y="431"/>
                  </a:lnTo>
                  <a:lnTo>
                    <a:pt x="257" y="435"/>
                  </a:lnTo>
                  <a:lnTo>
                    <a:pt x="260" y="442"/>
                  </a:lnTo>
                  <a:lnTo>
                    <a:pt x="268" y="445"/>
                  </a:lnTo>
                  <a:lnTo>
                    <a:pt x="281" y="446"/>
                  </a:lnTo>
                  <a:lnTo>
                    <a:pt x="283" y="463"/>
                  </a:lnTo>
                  <a:lnTo>
                    <a:pt x="295" y="464"/>
                  </a:lnTo>
                  <a:lnTo>
                    <a:pt x="297" y="501"/>
                  </a:lnTo>
                  <a:lnTo>
                    <a:pt x="300" y="504"/>
                  </a:lnTo>
                  <a:lnTo>
                    <a:pt x="302" y="520"/>
                  </a:lnTo>
                  <a:lnTo>
                    <a:pt x="309" y="520"/>
                  </a:lnTo>
                  <a:lnTo>
                    <a:pt x="310" y="531"/>
                  </a:lnTo>
                  <a:lnTo>
                    <a:pt x="299" y="533"/>
                  </a:lnTo>
                  <a:lnTo>
                    <a:pt x="292" y="543"/>
                  </a:lnTo>
                  <a:lnTo>
                    <a:pt x="285" y="546"/>
                  </a:lnTo>
                  <a:lnTo>
                    <a:pt x="277" y="557"/>
                  </a:lnTo>
                  <a:lnTo>
                    <a:pt x="269" y="565"/>
                  </a:lnTo>
                  <a:lnTo>
                    <a:pt x="264" y="576"/>
                  </a:lnTo>
                  <a:lnTo>
                    <a:pt x="269" y="584"/>
                  </a:lnTo>
                  <a:lnTo>
                    <a:pt x="283" y="589"/>
                  </a:lnTo>
                  <a:lnTo>
                    <a:pt x="314" y="618"/>
                  </a:lnTo>
                  <a:lnTo>
                    <a:pt x="320" y="629"/>
                  </a:lnTo>
                  <a:lnTo>
                    <a:pt x="323" y="640"/>
                  </a:lnTo>
                  <a:lnTo>
                    <a:pt x="330" y="628"/>
                  </a:lnTo>
                  <a:lnTo>
                    <a:pt x="331" y="611"/>
                  </a:lnTo>
                  <a:lnTo>
                    <a:pt x="335" y="599"/>
                  </a:lnTo>
                  <a:lnTo>
                    <a:pt x="336" y="580"/>
                  </a:lnTo>
                  <a:lnTo>
                    <a:pt x="342" y="581"/>
                  </a:lnTo>
                  <a:lnTo>
                    <a:pt x="345" y="585"/>
                  </a:lnTo>
                  <a:lnTo>
                    <a:pt x="343" y="595"/>
                  </a:lnTo>
                  <a:lnTo>
                    <a:pt x="339" y="603"/>
                  </a:lnTo>
                  <a:lnTo>
                    <a:pt x="353" y="598"/>
                  </a:lnTo>
                  <a:lnTo>
                    <a:pt x="356" y="585"/>
                  </a:lnTo>
                  <a:lnTo>
                    <a:pt x="364" y="578"/>
                  </a:lnTo>
                  <a:lnTo>
                    <a:pt x="362" y="558"/>
                  </a:lnTo>
                  <a:lnTo>
                    <a:pt x="378" y="548"/>
                  </a:lnTo>
                  <a:lnTo>
                    <a:pt x="383" y="500"/>
                  </a:lnTo>
                  <a:lnTo>
                    <a:pt x="386" y="489"/>
                  </a:lnTo>
                  <a:lnTo>
                    <a:pt x="398" y="484"/>
                  </a:lnTo>
                  <a:lnTo>
                    <a:pt x="403" y="476"/>
                  </a:lnTo>
                  <a:lnTo>
                    <a:pt x="411" y="470"/>
                  </a:lnTo>
                  <a:lnTo>
                    <a:pt x="426" y="459"/>
                  </a:lnTo>
                  <a:lnTo>
                    <a:pt x="456" y="455"/>
                  </a:lnTo>
                  <a:lnTo>
                    <a:pt x="459" y="447"/>
                  </a:lnTo>
                  <a:lnTo>
                    <a:pt x="482" y="446"/>
                  </a:lnTo>
                  <a:lnTo>
                    <a:pt x="486" y="420"/>
                  </a:lnTo>
                  <a:lnTo>
                    <a:pt x="493" y="408"/>
                  </a:lnTo>
                  <a:lnTo>
                    <a:pt x="499" y="392"/>
                  </a:lnTo>
                  <a:lnTo>
                    <a:pt x="501" y="365"/>
                  </a:lnTo>
                  <a:lnTo>
                    <a:pt x="508" y="361"/>
                  </a:lnTo>
                  <a:lnTo>
                    <a:pt x="512" y="285"/>
                  </a:lnTo>
                  <a:lnTo>
                    <a:pt x="525" y="280"/>
                  </a:lnTo>
                  <a:lnTo>
                    <a:pt x="525" y="265"/>
                  </a:lnTo>
                  <a:lnTo>
                    <a:pt x="532" y="261"/>
                  </a:lnTo>
                  <a:lnTo>
                    <a:pt x="536" y="247"/>
                  </a:lnTo>
                  <a:lnTo>
                    <a:pt x="543" y="244"/>
                  </a:lnTo>
                  <a:lnTo>
                    <a:pt x="547" y="230"/>
                  </a:lnTo>
                  <a:lnTo>
                    <a:pt x="558" y="226"/>
                  </a:lnTo>
                  <a:lnTo>
                    <a:pt x="558" y="214"/>
                  </a:lnTo>
                  <a:lnTo>
                    <a:pt x="564" y="212"/>
                  </a:lnTo>
                  <a:lnTo>
                    <a:pt x="563" y="198"/>
                  </a:lnTo>
                  <a:lnTo>
                    <a:pt x="569" y="198"/>
                  </a:lnTo>
                  <a:lnTo>
                    <a:pt x="572" y="185"/>
                  </a:lnTo>
                  <a:lnTo>
                    <a:pt x="562" y="184"/>
                  </a:lnTo>
                  <a:lnTo>
                    <a:pt x="559" y="156"/>
                  </a:lnTo>
                  <a:lnTo>
                    <a:pt x="553" y="150"/>
                  </a:lnTo>
                  <a:lnTo>
                    <a:pt x="542" y="148"/>
                  </a:lnTo>
                  <a:lnTo>
                    <a:pt x="533" y="142"/>
                  </a:lnTo>
                  <a:lnTo>
                    <a:pt x="525" y="130"/>
                  </a:lnTo>
                  <a:lnTo>
                    <a:pt x="513" y="130"/>
                  </a:lnTo>
                  <a:lnTo>
                    <a:pt x="510" y="119"/>
                  </a:lnTo>
                  <a:lnTo>
                    <a:pt x="500" y="114"/>
                  </a:lnTo>
                  <a:lnTo>
                    <a:pt x="486" y="114"/>
                  </a:lnTo>
                  <a:lnTo>
                    <a:pt x="472" y="111"/>
                  </a:lnTo>
                  <a:lnTo>
                    <a:pt x="465" y="104"/>
                  </a:lnTo>
                  <a:lnTo>
                    <a:pt x="456" y="109"/>
                  </a:lnTo>
                  <a:lnTo>
                    <a:pt x="447" y="110"/>
                  </a:lnTo>
                  <a:lnTo>
                    <a:pt x="435" y="103"/>
                  </a:lnTo>
                  <a:lnTo>
                    <a:pt x="426" y="92"/>
                  </a:lnTo>
                  <a:lnTo>
                    <a:pt x="414" y="84"/>
                  </a:lnTo>
                  <a:lnTo>
                    <a:pt x="401" y="82"/>
                  </a:lnTo>
                  <a:lnTo>
                    <a:pt x="385" y="84"/>
                  </a:lnTo>
                  <a:lnTo>
                    <a:pt x="375" y="87"/>
                  </a:lnTo>
                  <a:lnTo>
                    <a:pt x="371" y="95"/>
                  </a:lnTo>
                  <a:lnTo>
                    <a:pt x="358" y="102"/>
                  </a:lnTo>
                  <a:lnTo>
                    <a:pt x="364" y="92"/>
                  </a:lnTo>
                  <a:lnTo>
                    <a:pt x="370" y="80"/>
                  </a:lnTo>
                  <a:lnTo>
                    <a:pt x="362" y="74"/>
                  </a:lnTo>
                  <a:lnTo>
                    <a:pt x="351" y="74"/>
                  </a:lnTo>
                  <a:lnTo>
                    <a:pt x="342" y="81"/>
                  </a:lnTo>
                  <a:lnTo>
                    <a:pt x="334" y="90"/>
                  </a:lnTo>
                  <a:lnTo>
                    <a:pt x="327" y="99"/>
                  </a:lnTo>
                  <a:lnTo>
                    <a:pt x="317" y="103"/>
                  </a:lnTo>
                  <a:lnTo>
                    <a:pt x="330" y="81"/>
                  </a:lnTo>
                  <a:lnTo>
                    <a:pt x="338" y="70"/>
                  </a:lnTo>
                  <a:lnTo>
                    <a:pt x="345" y="56"/>
                  </a:lnTo>
                  <a:lnTo>
                    <a:pt x="349" y="48"/>
                  </a:lnTo>
                  <a:lnTo>
                    <a:pt x="338" y="23"/>
                  </a:lnTo>
                  <a:lnTo>
                    <a:pt x="330" y="14"/>
                  </a:lnTo>
                  <a:lnTo>
                    <a:pt x="318" y="14"/>
                  </a:lnTo>
                  <a:lnTo>
                    <a:pt x="310" y="22"/>
                  </a:lnTo>
                  <a:lnTo>
                    <a:pt x="305" y="31"/>
                  </a:lnTo>
                  <a:lnTo>
                    <a:pt x="302" y="40"/>
                  </a:lnTo>
                  <a:lnTo>
                    <a:pt x="286" y="38"/>
                  </a:lnTo>
                  <a:lnTo>
                    <a:pt x="280" y="31"/>
                  </a:lnTo>
                  <a:lnTo>
                    <a:pt x="259" y="33"/>
                  </a:lnTo>
                  <a:lnTo>
                    <a:pt x="258" y="46"/>
                  </a:lnTo>
                  <a:lnTo>
                    <a:pt x="242" y="47"/>
                  </a:lnTo>
                  <a:lnTo>
                    <a:pt x="230" y="47"/>
                  </a:lnTo>
                  <a:lnTo>
                    <a:pt x="225" y="53"/>
                  </a:lnTo>
                  <a:lnTo>
                    <a:pt x="216" y="54"/>
                  </a:lnTo>
                  <a:lnTo>
                    <a:pt x="209" y="46"/>
                  </a:lnTo>
                  <a:lnTo>
                    <a:pt x="202" y="31"/>
                  </a:lnTo>
                  <a:lnTo>
                    <a:pt x="206" y="20"/>
                  </a:lnTo>
                  <a:lnTo>
                    <a:pt x="203" y="3"/>
                  </a:lnTo>
                  <a:lnTo>
                    <a:pt x="191" y="0"/>
                  </a:lnTo>
                  <a:lnTo>
                    <a:pt x="187" y="9"/>
                  </a:lnTo>
                  <a:lnTo>
                    <a:pt x="162" y="11"/>
                  </a:lnTo>
                  <a:lnTo>
                    <a:pt x="154" y="16"/>
                  </a:lnTo>
                  <a:lnTo>
                    <a:pt x="142" y="5"/>
                  </a:lnTo>
                  <a:lnTo>
                    <a:pt x="136" y="7"/>
                  </a:lnTo>
                  <a:lnTo>
                    <a:pt x="132" y="20"/>
                  </a:lnTo>
                  <a:lnTo>
                    <a:pt x="134" y="29"/>
                  </a:lnTo>
                  <a:lnTo>
                    <a:pt x="143" y="36"/>
                  </a:lnTo>
                  <a:lnTo>
                    <a:pt x="144" y="47"/>
                  </a:lnTo>
                  <a:lnTo>
                    <a:pt x="132" y="56"/>
                  </a:lnTo>
                  <a:lnTo>
                    <a:pt x="117" y="58"/>
                  </a:lnTo>
                  <a:lnTo>
                    <a:pt x="106" y="53"/>
                  </a:lnTo>
                  <a:lnTo>
                    <a:pt x="98" y="42"/>
                  </a:lnTo>
                  <a:lnTo>
                    <a:pt x="89" y="3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55" name="Freeform 103">
              <a:extLst>
                <a:ext uri="{FF2B5EF4-FFF2-40B4-BE49-F238E27FC236}">
                  <a16:creationId xmlns:a16="http://schemas.microsoft.com/office/drawing/2014/main" id="{844CFE00-8513-4CFB-9C73-6A9E4FEF114F}"/>
                </a:ext>
              </a:extLst>
            </p:cNvPr>
            <p:cNvSpPr>
              <a:spLocks/>
            </p:cNvSpPr>
            <p:nvPr/>
          </p:nvSpPr>
          <p:spPr bwMode="auto">
            <a:xfrm>
              <a:off x="3103313" y="2440734"/>
              <a:ext cx="175946" cy="108216"/>
            </a:xfrm>
            <a:custGeom>
              <a:avLst/>
              <a:gdLst>
                <a:gd name="T0" fmla="*/ 40 w 133"/>
                <a:gd name="T1" fmla="*/ 15 h 81"/>
                <a:gd name="T2" fmla="*/ 22 w 133"/>
                <a:gd name="T3" fmla="*/ 0 h 81"/>
                <a:gd name="T4" fmla="*/ 0 w 133"/>
                <a:gd name="T5" fmla="*/ 25 h 81"/>
                <a:gd name="T6" fmla="*/ 2 w 133"/>
                <a:gd name="T7" fmla="*/ 37 h 81"/>
                <a:gd name="T8" fmla="*/ 27 w 133"/>
                <a:gd name="T9" fmla="*/ 32 h 81"/>
                <a:gd name="T10" fmla="*/ 27 w 133"/>
                <a:gd name="T11" fmla="*/ 52 h 81"/>
                <a:gd name="T12" fmla="*/ 19 w 133"/>
                <a:gd name="T13" fmla="*/ 65 h 81"/>
                <a:gd name="T14" fmla="*/ 41 w 133"/>
                <a:gd name="T15" fmla="*/ 60 h 81"/>
                <a:gd name="T16" fmla="*/ 64 w 133"/>
                <a:gd name="T17" fmla="*/ 71 h 81"/>
                <a:gd name="T18" fmla="*/ 72 w 133"/>
                <a:gd name="T19" fmla="*/ 80 h 81"/>
                <a:gd name="T20" fmla="*/ 91 w 133"/>
                <a:gd name="T21" fmla="*/ 60 h 81"/>
                <a:gd name="T22" fmla="*/ 109 w 133"/>
                <a:gd name="T23" fmla="*/ 60 h 81"/>
                <a:gd name="T24" fmla="*/ 127 w 133"/>
                <a:gd name="T25" fmla="*/ 48 h 81"/>
                <a:gd name="T26" fmla="*/ 132 w 133"/>
                <a:gd name="T27" fmla="*/ 27 h 81"/>
                <a:gd name="T28" fmla="*/ 127 w 133"/>
                <a:gd name="T29" fmla="*/ 4 h 81"/>
                <a:gd name="T30" fmla="*/ 102 w 133"/>
                <a:gd name="T31" fmla="*/ 4 h 81"/>
                <a:gd name="T32" fmla="*/ 77 w 133"/>
                <a:gd name="T33" fmla="*/ 12 h 81"/>
                <a:gd name="T34" fmla="*/ 49 w 133"/>
                <a:gd name="T35" fmla="*/ 3 h 81"/>
                <a:gd name="T36" fmla="*/ 40 w 133"/>
                <a:gd name="T37" fmla="*/ 1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3" h="81">
                  <a:moveTo>
                    <a:pt x="40" y="15"/>
                  </a:moveTo>
                  <a:lnTo>
                    <a:pt x="22" y="0"/>
                  </a:lnTo>
                  <a:lnTo>
                    <a:pt x="0" y="25"/>
                  </a:lnTo>
                  <a:lnTo>
                    <a:pt x="2" y="37"/>
                  </a:lnTo>
                  <a:lnTo>
                    <a:pt x="27" y="32"/>
                  </a:lnTo>
                  <a:lnTo>
                    <a:pt x="27" y="52"/>
                  </a:lnTo>
                  <a:lnTo>
                    <a:pt x="19" y="65"/>
                  </a:lnTo>
                  <a:lnTo>
                    <a:pt x="41" y="60"/>
                  </a:lnTo>
                  <a:lnTo>
                    <a:pt x="64" y="71"/>
                  </a:lnTo>
                  <a:lnTo>
                    <a:pt x="72" y="80"/>
                  </a:lnTo>
                  <a:lnTo>
                    <a:pt x="91" y="60"/>
                  </a:lnTo>
                  <a:lnTo>
                    <a:pt x="109" y="60"/>
                  </a:lnTo>
                  <a:lnTo>
                    <a:pt x="127" y="48"/>
                  </a:lnTo>
                  <a:lnTo>
                    <a:pt x="132" y="27"/>
                  </a:lnTo>
                  <a:lnTo>
                    <a:pt x="127" y="4"/>
                  </a:lnTo>
                  <a:lnTo>
                    <a:pt x="102" y="4"/>
                  </a:lnTo>
                  <a:lnTo>
                    <a:pt x="77" y="12"/>
                  </a:lnTo>
                  <a:lnTo>
                    <a:pt x="49" y="3"/>
                  </a:lnTo>
                  <a:lnTo>
                    <a:pt x="40" y="15"/>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grpSp>
      <p:grpSp>
        <p:nvGrpSpPr>
          <p:cNvPr id="17" name="Group 16">
            <a:extLst>
              <a:ext uri="{FF2B5EF4-FFF2-40B4-BE49-F238E27FC236}">
                <a16:creationId xmlns:a16="http://schemas.microsoft.com/office/drawing/2014/main" id="{E1F1A7B5-FAC0-4D59-9660-D5BE412F27A9}"/>
              </a:ext>
            </a:extLst>
          </p:cNvPr>
          <p:cNvGrpSpPr/>
          <p:nvPr/>
        </p:nvGrpSpPr>
        <p:grpSpPr>
          <a:xfrm>
            <a:off x="9862968" y="2148815"/>
            <a:ext cx="1338433" cy="1360972"/>
            <a:chOff x="5326419" y="3634673"/>
            <a:chExt cx="1509810" cy="1535235"/>
          </a:xfrm>
          <a:solidFill>
            <a:schemeClr val="accent2"/>
          </a:solidFill>
        </p:grpSpPr>
        <p:sp>
          <p:nvSpPr>
            <p:cNvPr id="160" name="Freeform 116">
              <a:extLst>
                <a:ext uri="{FF2B5EF4-FFF2-40B4-BE49-F238E27FC236}">
                  <a16:creationId xmlns:a16="http://schemas.microsoft.com/office/drawing/2014/main" id="{298A112A-D282-45B4-A1D6-5B2AFCE5D0DC}"/>
                </a:ext>
              </a:extLst>
            </p:cNvPr>
            <p:cNvSpPr>
              <a:spLocks/>
            </p:cNvSpPr>
            <p:nvPr/>
          </p:nvSpPr>
          <p:spPr bwMode="auto">
            <a:xfrm>
              <a:off x="5731809" y="4257804"/>
              <a:ext cx="17832" cy="17838"/>
            </a:xfrm>
            <a:custGeom>
              <a:avLst/>
              <a:gdLst>
                <a:gd name="T0" fmla="*/ 7 w 14"/>
                <a:gd name="T1" fmla="*/ 12 h 13"/>
                <a:gd name="T2" fmla="*/ 7 w 14"/>
                <a:gd name="T3" fmla="*/ 11 h 13"/>
                <a:gd name="T4" fmla="*/ 8 w 14"/>
                <a:gd name="T5" fmla="*/ 11 h 13"/>
                <a:gd name="T6" fmla="*/ 9 w 14"/>
                <a:gd name="T7" fmla="*/ 11 h 13"/>
                <a:gd name="T8" fmla="*/ 10 w 14"/>
                <a:gd name="T9" fmla="*/ 10 h 13"/>
                <a:gd name="T10" fmla="*/ 11 w 14"/>
                <a:gd name="T11" fmla="*/ 8 h 13"/>
                <a:gd name="T12" fmla="*/ 13 w 14"/>
                <a:gd name="T13" fmla="*/ 8 h 13"/>
                <a:gd name="T14" fmla="*/ 13 w 14"/>
                <a:gd name="T15" fmla="*/ 6 h 13"/>
                <a:gd name="T16" fmla="*/ 13 w 14"/>
                <a:gd name="T17" fmla="*/ 5 h 13"/>
                <a:gd name="T18" fmla="*/ 13 w 14"/>
                <a:gd name="T19" fmla="*/ 4 h 13"/>
                <a:gd name="T20" fmla="*/ 13 w 14"/>
                <a:gd name="T21" fmla="*/ 3 h 13"/>
                <a:gd name="T22" fmla="*/ 11 w 14"/>
                <a:gd name="T23" fmla="*/ 3 h 13"/>
                <a:gd name="T24" fmla="*/ 11 w 14"/>
                <a:gd name="T25" fmla="*/ 2 h 13"/>
                <a:gd name="T26" fmla="*/ 11 w 14"/>
                <a:gd name="T27" fmla="*/ 1 h 13"/>
                <a:gd name="T28" fmla="*/ 10 w 14"/>
                <a:gd name="T29" fmla="*/ 1 h 13"/>
                <a:gd name="T30" fmla="*/ 9 w 14"/>
                <a:gd name="T31" fmla="*/ 0 h 13"/>
                <a:gd name="T32" fmla="*/ 8 w 14"/>
                <a:gd name="T33" fmla="*/ 0 h 13"/>
                <a:gd name="T34" fmla="*/ 7 w 14"/>
                <a:gd name="T35" fmla="*/ 0 h 13"/>
                <a:gd name="T36" fmla="*/ 4 w 14"/>
                <a:gd name="T37" fmla="*/ 0 h 13"/>
                <a:gd name="T38" fmla="*/ 3 w 14"/>
                <a:gd name="T39" fmla="*/ 0 h 13"/>
                <a:gd name="T40" fmla="*/ 2 w 14"/>
                <a:gd name="T41" fmla="*/ 0 h 13"/>
                <a:gd name="T42" fmla="*/ 2 w 14"/>
                <a:gd name="T43" fmla="*/ 1 h 13"/>
                <a:gd name="T44" fmla="*/ 1 w 14"/>
                <a:gd name="T45" fmla="*/ 1 h 13"/>
                <a:gd name="T46" fmla="*/ 1 w 14"/>
                <a:gd name="T47" fmla="*/ 2 h 13"/>
                <a:gd name="T48" fmla="*/ 1 w 14"/>
                <a:gd name="T49" fmla="*/ 3 h 13"/>
                <a:gd name="T50" fmla="*/ 0 w 14"/>
                <a:gd name="T51" fmla="*/ 3 h 13"/>
                <a:gd name="T52" fmla="*/ 0 w 14"/>
                <a:gd name="T53" fmla="*/ 4 h 13"/>
                <a:gd name="T54" fmla="*/ 0 w 14"/>
                <a:gd name="T55" fmla="*/ 5 h 13"/>
                <a:gd name="T56" fmla="*/ 0 w 14"/>
                <a:gd name="T57" fmla="*/ 6 h 13"/>
                <a:gd name="T58" fmla="*/ 0 w 14"/>
                <a:gd name="T59" fmla="*/ 8 h 13"/>
                <a:gd name="T60" fmla="*/ 1 w 14"/>
                <a:gd name="T61" fmla="*/ 8 h 13"/>
                <a:gd name="T62" fmla="*/ 2 w 14"/>
                <a:gd name="T63" fmla="*/ 10 h 13"/>
                <a:gd name="T64" fmla="*/ 2 w 14"/>
                <a:gd name="T65" fmla="*/ 11 h 13"/>
                <a:gd name="T66" fmla="*/ 3 w 14"/>
                <a:gd name="T67" fmla="*/ 11 h 13"/>
                <a:gd name="T68" fmla="*/ 4 w 14"/>
                <a:gd name="T69" fmla="*/ 11 h 13"/>
                <a:gd name="T70" fmla="*/ 7 w 14"/>
                <a:gd name="T71"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13">
                  <a:moveTo>
                    <a:pt x="7" y="12"/>
                  </a:moveTo>
                  <a:lnTo>
                    <a:pt x="7" y="11"/>
                  </a:lnTo>
                  <a:lnTo>
                    <a:pt x="8" y="11"/>
                  </a:lnTo>
                  <a:lnTo>
                    <a:pt x="9" y="11"/>
                  </a:lnTo>
                  <a:lnTo>
                    <a:pt x="10" y="10"/>
                  </a:lnTo>
                  <a:lnTo>
                    <a:pt x="11" y="8"/>
                  </a:lnTo>
                  <a:lnTo>
                    <a:pt x="13" y="8"/>
                  </a:lnTo>
                  <a:lnTo>
                    <a:pt x="13" y="6"/>
                  </a:lnTo>
                  <a:lnTo>
                    <a:pt x="13" y="5"/>
                  </a:lnTo>
                  <a:lnTo>
                    <a:pt x="13" y="4"/>
                  </a:lnTo>
                  <a:lnTo>
                    <a:pt x="13" y="3"/>
                  </a:lnTo>
                  <a:lnTo>
                    <a:pt x="11" y="3"/>
                  </a:lnTo>
                  <a:lnTo>
                    <a:pt x="11" y="2"/>
                  </a:lnTo>
                  <a:lnTo>
                    <a:pt x="11" y="1"/>
                  </a:lnTo>
                  <a:lnTo>
                    <a:pt x="10" y="1"/>
                  </a:lnTo>
                  <a:lnTo>
                    <a:pt x="9" y="0"/>
                  </a:lnTo>
                  <a:lnTo>
                    <a:pt x="8" y="0"/>
                  </a:lnTo>
                  <a:lnTo>
                    <a:pt x="7" y="0"/>
                  </a:lnTo>
                  <a:lnTo>
                    <a:pt x="4" y="0"/>
                  </a:lnTo>
                  <a:lnTo>
                    <a:pt x="3" y="0"/>
                  </a:lnTo>
                  <a:lnTo>
                    <a:pt x="2" y="0"/>
                  </a:lnTo>
                  <a:lnTo>
                    <a:pt x="2" y="1"/>
                  </a:lnTo>
                  <a:lnTo>
                    <a:pt x="1" y="1"/>
                  </a:lnTo>
                  <a:lnTo>
                    <a:pt x="1" y="2"/>
                  </a:lnTo>
                  <a:lnTo>
                    <a:pt x="1" y="3"/>
                  </a:lnTo>
                  <a:lnTo>
                    <a:pt x="0" y="3"/>
                  </a:lnTo>
                  <a:lnTo>
                    <a:pt x="0" y="4"/>
                  </a:lnTo>
                  <a:lnTo>
                    <a:pt x="0" y="5"/>
                  </a:lnTo>
                  <a:lnTo>
                    <a:pt x="0" y="6"/>
                  </a:lnTo>
                  <a:lnTo>
                    <a:pt x="0" y="8"/>
                  </a:lnTo>
                  <a:lnTo>
                    <a:pt x="1" y="8"/>
                  </a:lnTo>
                  <a:lnTo>
                    <a:pt x="2" y="10"/>
                  </a:lnTo>
                  <a:lnTo>
                    <a:pt x="2" y="11"/>
                  </a:lnTo>
                  <a:lnTo>
                    <a:pt x="3" y="11"/>
                  </a:lnTo>
                  <a:lnTo>
                    <a:pt x="4" y="11"/>
                  </a:lnTo>
                  <a:lnTo>
                    <a:pt x="7" y="1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61" name="Freeform 117">
              <a:extLst>
                <a:ext uri="{FF2B5EF4-FFF2-40B4-BE49-F238E27FC236}">
                  <a16:creationId xmlns:a16="http://schemas.microsoft.com/office/drawing/2014/main" id="{66C53637-37E7-49D8-80C8-D79227905068}"/>
                </a:ext>
              </a:extLst>
            </p:cNvPr>
            <p:cNvSpPr>
              <a:spLocks/>
            </p:cNvSpPr>
            <p:nvPr/>
          </p:nvSpPr>
          <p:spPr bwMode="auto">
            <a:xfrm>
              <a:off x="5776984" y="4251859"/>
              <a:ext cx="20210" cy="21405"/>
            </a:xfrm>
            <a:custGeom>
              <a:avLst/>
              <a:gdLst>
                <a:gd name="T0" fmla="*/ 2 w 15"/>
                <a:gd name="T1" fmla="*/ 5 h 16"/>
                <a:gd name="T2" fmla="*/ 9 w 15"/>
                <a:gd name="T3" fmla="*/ 0 h 16"/>
                <a:gd name="T4" fmla="*/ 14 w 15"/>
                <a:gd name="T5" fmla="*/ 5 h 16"/>
                <a:gd name="T6" fmla="*/ 13 w 15"/>
                <a:gd name="T7" fmla="*/ 15 h 16"/>
                <a:gd name="T8" fmla="*/ 0 w 15"/>
                <a:gd name="T9" fmla="*/ 11 h 16"/>
                <a:gd name="T10" fmla="*/ 2 w 15"/>
                <a:gd name="T11" fmla="*/ 5 h 16"/>
              </a:gdLst>
              <a:ahLst/>
              <a:cxnLst>
                <a:cxn ang="0">
                  <a:pos x="T0" y="T1"/>
                </a:cxn>
                <a:cxn ang="0">
                  <a:pos x="T2" y="T3"/>
                </a:cxn>
                <a:cxn ang="0">
                  <a:pos x="T4" y="T5"/>
                </a:cxn>
                <a:cxn ang="0">
                  <a:pos x="T6" y="T7"/>
                </a:cxn>
                <a:cxn ang="0">
                  <a:pos x="T8" y="T9"/>
                </a:cxn>
                <a:cxn ang="0">
                  <a:pos x="T10" y="T11"/>
                </a:cxn>
              </a:cxnLst>
              <a:rect l="0" t="0" r="r" b="b"/>
              <a:pathLst>
                <a:path w="15" h="16">
                  <a:moveTo>
                    <a:pt x="2" y="5"/>
                  </a:moveTo>
                  <a:lnTo>
                    <a:pt x="9" y="0"/>
                  </a:lnTo>
                  <a:lnTo>
                    <a:pt x="14" y="5"/>
                  </a:lnTo>
                  <a:lnTo>
                    <a:pt x="13" y="15"/>
                  </a:lnTo>
                  <a:lnTo>
                    <a:pt x="0" y="11"/>
                  </a:lnTo>
                  <a:lnTo>
                    <a:pt x="2" y="5"/>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62" name="Freeform 119">
              <a:extLst>
                <a:ext uri="{FF2B5EF4-FFF2-40B4-BE49-F238E27FC236}">
                  <a16:creationId xmlns:a16="http://schemas.microsoft.com/office/drawing/2014/main" id="{75AE0A74-F49C-457A-A535-E2B5293E76B1}"/>
                </a:ext>
              </a:extLst>
            </p:cNvPr>
            <p:cNvSpPr>
              <a:spLocks/>
            </p:cNvSpPr>
            <p:nvPr/>
          </p:nvSpPr>
          <p:spPr bwMode="auto">
            <a:xfrm>
              <a:off x="6748256" y="4858342"/>
              <a:ext cx="87973" cy="174810"/>
            </a:xfrm>
            <a:custGeom>
              <a:avLst/>
              <a:gdLst>
                <a:gd name="T0" fmla="*/ 5 w 66"/>
                <a:gd name="T1" fmla="*/ 0 h 132"/>
                <a:gd name="T2" fmla="*/ 5 w 66"/>
                <a:gd name="T3" fmla="*/ 16 h 132"/>
                <a:gd name="T4" fmla="*/ 13 w 66"/>
                <a:gd name="T5" fmla="*/ 34 h 132"/>
                <a:gd name="T6" fmla="*/ 20 w 66"/>
                <a:gd name="T7" fmla="*/ 48 h 132"/>
                <a:gd name="T8" fmla="*/ 14 w 66"/>
                <a:gd name="T9" fmla="*/ 66 h 132"/>
                <a:gd name="T10" fmla="*/ 0 w 66"/>
                <a:gd name="T11" fmla="*/ 83 h 132"/>
                <a:gd name="T12" fmla="*/ 2 w 66"/>
                <a:gd name="T13" fmla="*/ 94 h 132"/>
                <a:gd name="T14" fmla="*/ 7 w 66"/>
                <a:gd name="T15" fmla="*/ 125 h 132"/>
                <a:gd name="T16" fmla="*/ 20 w 66"/>
                <a:gd name="T17" fmla="*/ 131 h 132"/>
                <a:gd name="T18" fmla="*/ 24 w 66"/>
                <a:gd name="T19" fmla="*/ 110 h 132"/>
                <a:gd name="T20" fmla="*/ 38 w 66"/>
                <a:gd name="T21" fmla="*/ 96 h 132"/>
                <a:gd name="T22" fmla="*/ 60 w 66"/>
                <a:gd name="T23" fmla="*/ 83 h 132"/>
                <a:gd name="T24" fmla="*/ 65 w 66"/>
                <a:gd name="T25" fmla="*/ 67 h 132"/>
                <a:gd name="T26" fmla="*/ 64 w 66"/>
                <a:gd name="T27" fmla="*/ 55 h 132"/>
                <a:gd name="T28" fmla="*/ 40 w 66"/>
                <a:gd name="T29" fmla="*/ 55 h 132"/>
                <a:gd name="T30" fmla="*/ 39 w 66"/>
                <a:gd name="T31" fmla="*/ 36 h 132"/>
                <a:gd name="T32" fmla="*/ 32 w 66"/>
                <a:gd name="T33" fmla="*/ 36 h 132"/>
                <a:gd name="T34" fmla="*/ 23 w 66"/>
                <a:gd name="T35" fmla="*/ 32 h 132"/>
                <a:gd name="T36" fmla="*/ 24 w 66"/>
                <a:gd name="T37" fmla="*/ 14 h 132"/>
                <a:gd name="T38" fmla="*/ 19 w 66"/>
                <a:gd name="T39" fmla="*/ 2 h 132"/>
                <a:gd name="T40" fmla="*/ 5 w 66"/>
                <a:gd name="T41"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132">
                  <a:moveTo>
                    <a:pt x="5" y="0"/>
                  </a:moveTo>
                  <a:lnTo>
                    <a:pt x="5" y="16"/>
                  </a:lnTo>
                  <a:lnTo>
                    <a:pt x="13" y="34"/>
                  </a:lnTo>
                  <a:lnTo>
                    <a:pt x="20" y="48"/>
                  </a:lnTo>
                  <a:lnTo>
                    <a:pt x="14" y="66"/>
                  </a:lnTo>
                  <a:lnTo>
                    <a:pt x="0" y="83"/>
                  </a:lnTo>
                  <a:lnTo>
                    <a:pt x="2" y="94"/>
                  </a:lnTo>
                  <a:lnTo>
                    <a:pt x="7" y="125"/>
                  </a:lnTo>
                  <a:lnTo>
                    <a:pt x="20" y="131"/>
                  </a:lnTo>
                  <a:lnTo>
                    <a:pt x="24" y="110"/>
                  </a:lnTo>
                  <a:lnTo>
                    <a:pt x="38" y="96"/>
                  </a:lnTo>
                  <a:lnTo>
                    <a:pt x="60" y="83"/>
                  </a:lnTo>
                  <a:lnTo>
                    <a:pt x="65" y="67"/>
                  </a:lnTo>
                  <a:lnTo>
                    <a:pt x="64" y="55"/>
                  </a:lnTo>
                  <a:lnTo>
                    <a:pt x="40" y="55"/>
                  </a:lnTo>
                  <a:lnTo>
                    <a:pt x="39" y="36"/>
                  </a:lnTo>
                  <a:lnTo>
                    <a:pt x="32" y="36"/>
                  </a:lnTo>
                  <a:lnTo>
                    <a:pt x="23" y="32"/>
                  </a:lnTo>
                  <a:lnTo>
                    <a:pt x="24" y="14"/>
                  </a:lnTo>
                  <a:lnTo>
                    <a:pt x="19" y="2"/>
                  </a:lnTo>
                  <a:lnTo>
                    <a:pt x="5"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63" name="Freeform 120">
              <a:extLst>
                <a:ext uri="{FF2B5EF4-FFF2-40B4-BE49-F238E27FC236}">
                  <a16:creationId xmlns:a16="http://schemas.microsoft.com/office/drawing/2014/main" id="{1B00A8B9-2A8B-4C08-8F03-966BF0E17D68}"/>
                </a:ext>
              </a:extLst>
            </p:cNvPr>
            <p:cNvSpPr>
              <a:spLocks/>
            </p:cNvSpPr>
            <p:nvPr/>
          </p:nvSpPr>
          <p:spPr bwMode="auto">
            <a:xfrm>
              <a:off x="6568743" y="5002233"/>
              <a:ext cx="167625" cy="167675"/>
            </a:xfrm>
            <a:custGeom>
              <a:avLst/>
              <a:gdLst>
                <a:gd name="T0" fmla="*/ 98 w 126"/>
                <a:gd name="T1" fmla="*/ 1 h 126"/>
                <a:gd name="T2" fmla="*/ 95 w 126"/>
                <a:gd name="T3" fmla="*/ 21 h 126"/>
                <a:gd name="T4" fmla="*/ 75 w 126"/>
                <a:gd name="T5" fmla="*/ 31 h 126"/>
                <a:gd name="T6" fmla="*/ 60 w 126"/>
                <a:gd name="T7" fmla="*/ 51 h 126"/>
                <a:gd name="T8" fmla="*/ 24 w 126"/>
                <a:gd name="T9" fmla="*/ 67 h 126"/>
                <a:gd name="T10" fmla="*/ 0 w 126"/>
                <a:gd name="T11" fmla="*/ 89 h 126"/>
                <a:gd name="T12" fmla="*/ 4 w 126"/>
                <a:gd name="T13" fmla="*/ 105 h 126"/>
                <a:gd name="T14" fmla="*/ 26 w 126"/>
                <a:gd name="T15" fmla="*/ 125 h 126"/>
                <a:gd name="T16" fmla="*/ 54 w 126"/>
                <a:gd name="T17" fmla="*/ 103 h 126"/>
                <a:gd name="T18" fmla="*/ 63 w 126"/>
                <a:gd name="T19" fmla="*/ 81 h 126"/>
                <a:gd name="T20" fmla="*/ 82 w 126"/>
                <a:gd name="T21" fmla="*/ 65 h 126"/>
                <a:gd name="T22" fmla="*/ 94 w 126"/>
                <a:gd name="T23" fmla="*/ 65 h 126"/>
                <a:gd name="T24" fmla="*/ 99 w 126"/>
                <a:gd name="T25" fmla="*/ 48 h 126"/>
                <a:gd name="T26" fmla="*/ 112 w 126"/>
                <a:gd name="T27" fmla="*/ 33 h 126"/>
                <a:gd name="T28" fmla="*/ 125 w 126"/>
                <a:gd name="T29" fmla="*/ 21 h 126"/>
                <a:gd name="T30" fmla="*/ 120 w 126"/>
                <a:gd name="T31" fmla="*/ 4 h 126"/>
                <a:gd name="T32" fmla="*/ 112 w 126"/>
                <a:gd name="T33" fmla="*/ 14 h 126"/>
                <a:gd name="T34" fmla="*/ 111 w 126"/>
                <a:gd name="T35" fmla="*/ 0 h 126"/>
                <a:gd name="T36" fmla="*/ 98 w 126"/>
                <a:gd name="T37" fmla="*/ 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 h="126">
                  <a:moveTo>
                    <a:pt x="98" y="1"/>
                  </a:moveTo>
                  <a:lnTo>
                    <a:pt x="95" y="21"/>
                  </a:lnTo>
                  <a:lnTo>
                    <a:pt x="75" y="31"/>
                  </a:lnTo>
                  <a:lnTo>
                    <a:pt x="60" y="51"/>
                  </a:lnTo>
                  <a:lnTo>
                    <a:pt x="24" y="67"/>
                  </a:lnTo>
                  <a:lnTo>
                    <a:pt x="0" y="89"/>
                  </a:lnTo>
                  <a:lnTo>
                    <a:pt x="4" y="105"/>
                  </a:lnTo>
                  <a:lnTo>
                    <a:pt x="26" y="125"/>
                  </a:lnTo>
                  <a:lnTo>
                    <a:pt x="54" y="103"/>
                  </a:lnTo>
                  <a:lnTo>
                    <a:pt x="63" y="81"/>
                  </a:lnTo>
                  <a:lnTo>
                    <a:pt x="82" y="65"/>
                  </a:lnTo>
                  <a:lnTo>
                    <a:pt x="94" y="65"/>
                  </a:lnTo>
                  <a:lnTo>
                    <a:pt x="99" y="48"/>
                  </a:lnTo>
                  <a:lnTo>
                    <a:pt x="112" y="33"/>
                  </a:lnTo>
                  <a:lnTo>
                    <a:pt x="125" y="21"/>
                  </a:lnTo>
                  <a:lnTo>
                    <a:pt x="120" y="4"/>
                  </a:lnTo>
                  <a:lnTo>
                    <a:pt x="112" y="14"/>
                  </a:lnTo>
                  <a:lnTo>
                    <a:pt x="111" y="0"/>
                  </a:lnTo>
                  <a:lnTo>
                    <a:pt x="98" y="1"/>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64" name="Freeform 121">
              <a:extLst>
                <a:ext uri="{FF2B5EF4-FFF2-40B4-BE49-F238E27FC236}">
                  <a16:creationId xmlns:a16="http://schemas.microsoft.com/office/drawing/2014/main" id="{4A1A8333-D5B7-4A95-9BA1-6FA16AC3134E}"/>
                </a:ext>
              </a:extLst>
            </p:cNvPr>
            <p:cNvSpPr>
              <a:spLocks/>
            </p:cNvSpPr>
            <p:nvPr/>
          </p:nvSpPr>
          <p:spPr bwMode="auto">
            <a:xfrm>
              <a:off x="5536841" y="4106778"/>
              <a:ext cx="34476" cy="32108"/>
            </a:xfrm>
            <a:custGeom>
              <a:avLst/>
              <a:gdLst>
                <a:gd name="T0" fmla="*/ 2 w 26"/>
                <a:gd name="T1" fmla="*/ 0 h 24"/>
                <a:gd name="T2" fmla="*/ 13 w 26"/>
                <a:gd name="T3" fmla="*/ 2 h 24"/>
                <a:gd name="T4" fmla="*/ 21 w 26"/>
                <a:gd name="T5" fmla="*/ 10 h 24"/>
                <a:gd name="T6" fmla="*/ 25 w 26"/>
                <a:gd name="T7" fmla="*/ 21 h 24"/>
                <a:gd name="T8" fmla="*/ 15 w 26"/>
                <a:gd name="T9" fmla="*/ 23 h 24"/>
                <a:gd name="T10" fmla="*/ 0 w 26"/>
                <a:gd name="T11" fmla="*/ 9 h 24"/>
                <a:gd name="T12" fmla="*/ 2 w 26"/>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6" h="24">
                  <a:moveTo>
                    <a:pt x="2" y="0"/>
                  </a:moveTo>
                  <a:lnTo>
                    <a:pt x="13" y="2"/>
                  </a:lnTo>
                  <a:lnTo>
                    <a:pt x="21" y="10"/>
                  </a:lnTo>
                  <a:lnTo>
                    <a:pt x="25" y="21"/>
                  </a:lnTo>
                  <a:lnTo>
                    <a:pt x="15" y="23"/>
                  </a:lnTo>
                  <a:lnTo>
                    <a:pt x="0" y="9"/>
                  </a:lnTo>
                  <a:lnTo>
                    <a:pt x="2"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65" name="Freeform 122">
              <a:extLst>
                <a:ext uri="{FF2B5EF4-FFF2-40B4-BE49-F238E27FC236}">
                  <a16:creationId xmlns:a16="http://schemas.microsoft.com/office/drawing/2014/main" id="{AE4D5E79-CD99-4208-9F72-179E4B8911D5}"/>
                </a:ext>
              </a:extLst>
            </p:cNvPr>
            <p:cNvSpPr>
              <a:spLocks/>
            </p:cNvSpPr>
            <p:nvPr/>
          </p:nvSpPr>
          <p:spPr bwMode="auto">
            <a:xfrm>
              <a:off x="5801950" y="4285156"/>
              <a:ext cx="29721" cy="21405"/>
            </a:xfrm>
            <a:custGeom>
              <a:avLst/>
              <a:gdLst>
                <a:gd name="T0" fmla="*/ 3 w 21"/>
                <a:gd name="T1" fmla="*/ 2 h 15"/>
                <a:gd name="T2" fmla="*/ 0 w 21"/>
                <a:gd name="T3" fmla="*/ 14 h 15"/>
                <a:gd name="T4" fmla="*/ 16 w 21"/>
                <a:gd name="T5" fmla="*/ 8 h 15"/>
                <a:gd name="T6" fmla="*/ 20 w 21"/>
                <a:gd name="T7" fmla="*/ 0 h 15"/>
                <a:gd name="T8" fmla="*/ 3 w 21"/>
                <a:gd name="T9" fmla="*/ 2 h 15"/>
              </a:gdLst>
              <a:ahLst/>
              <a:cxnLst>
                <a:cxn ang="0">
                  <a:pos x="T0" y="T1"/>
                </a:cxn>
                <a:cxn ang="0">
                  <a:pos x="T2" y="T3"/>
                </a:cxn>
                <a:cxn ang="0">
                  <a:pos x="T4" y="T5"/>
                </a:cxn>
                <a:cxn ang="0">
                  <a:pos x="T6" y="T7"/>
                </a:cxn>
                <a:cxn ang="0">
                  <a:pos x="T8" y="T9"/>
                </a:cxn>
              </a:cxnLst>
              <a:rect l="0" t="0" r="r" b="b"/>
              <a:pathLst>
                <a:path w="21" h="15">
                  <a:moveTo>
                    <a:pt x="3" y="2"/>
                  </a:moveTo>
                  <a:lnTo>
                    <a:pt x="0" y="14"/>
                  </a:lnTo>
                  <a:lnTo>
                    <a:pt x="16" y="8"/>
                  </a:lnTo>
                  <a:lnTo>
                    <a:pt x="20" y="0"/>
                  </a:lnTo>
                  <a:lnTo>
                    <a:pt x="3" y="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66" name="Freeform 123">
              <a:extLst>
                <a:ext uri="{FF2B5EF4-FFF2-40B4-BE49-F238E27FC236}">
                  <a16:creationId xmlns:a16="http://schemas.microsoft.com/office/drawing/2014/main" id="{9D057E15-DDF4-4FC3-9190-06B015482F20}"/>
                </a:ext>
              </a:extLst>
            </p:cNvPr>
            <p:cNvSpPr>
              <a:spLocks/>
            </p:cNvSpPr>
            <p:nvPr/>
          </p:nvSpPr>
          <p:spPr bwMode="auto">
            <a:xfrm>
              <a:off x="5908944" y="4113913"/>
              <a:ext cx="38042" cy="20216"/>
            </a:xfrm>
            <a:custGeom>
              <a:avLst/>
              <a:gdLst>
                <a:gd name="T0" fmla="*/ 14 w 28"/>
                <a:gd name="T1" fmla="*/ 13 h 14"/>
                <a:gd name="T2" fmla="*/ 11 w 28"/>
                <a:gd name="T3" fmla="*/ 13 h 14"/>
                <a:gd name="T4" fmla="*/ 10 w 28"/>
                <a:gd name="T5" fmla="*/ 13 h 14"/>
                <a:gd name="T6" fmla="*/ 8 w 28"/>
                <a:gd name="T7" fmla="*/ 13 h 14"/>
                <a:gd name="T8" fmla="*/ 6 w 28"/>
                <a:gd name="T9" fmla="*/ 13 h 14"/>
                <a:gd name="T10" fmla="*/ 5 w 28"/>
                <a:gd name="T11" fmla="*/ 13 h 14"/>
                <a:gd name="T12" fmla="*/ 3 w 28"/>
                <a:gd name="T13" fmla="*/ 13 h 14"/>
                <a:gd name="T14" fmla="*/ 2 w 28"/>
                <a:gd name="T15" fmla="*/ 13 h 14"/>
                <a:gd name="T16" fmla="*/ 1 w 28"/>
                <a:gd name="T17" fmla="*/ 13 h 14"/>
                <a:gd name="T18" fmla="*/ 0 w 28"/>
                <a:gd name="T19" fmla="*/ 10 h 14"/>
                <a:gd name="T20" fmla="*/ 0 w 28"/>
                <a:gd name="T21" fmla="*/ 7 h 14"/>
                <a:gd name="T22" fmla="*/ 0 w 28"/>
                <a:gd name="T23" fmla="*/ 5 h 14"/>
                <a:gd name="T24" fmla="*/ 1 w 28"/>
                <a:gd name="T25" fmla="*/ 5 h 14"/>
                <a:gd name="T26" fmla="*/ 2 w 28"/>
                <a:gd name="T27" fmla="*/ 2 h 14"/>
                <a:gd name="T28" fmla="*/ 3 w 28"/>
                <a:gd name="T29" fmla="*/ 2 h 14"/>
                <a:gd name="T30" fmla="*/ 3 w 28"/>
                <a:gd name="T31" fmla="*/ 0 h 14"/>
                <a:gd name="T32" fmla="*/ 5 w 28"/>
                <a:gd name="T33" fmla="*/ 0 h 14"/>
                <a:gd name="T34" fmla="*/ 6 w 28"/>
                <a:gd name="T35" fmla="*/ 0 h 14"/>
                <a:gd name="T36" fmla="*/ 8 w 28"/>
                <a:gd name="T37" fmla="*/ 0 h 14"/>
                <a:gd name="T38" fmla="*/ 10 w 28"/>
                <a:gd name="T39" fmla="*/ 0 h 14"/>
                <a:gd name="T40" fmla="*/ 11 w 28"/>
                <a:gd name="T41" fmla="*/ 0 h 14"/>
                <a:gd name="T42" fmla="*/ 14 w 28"/>
                <a:gd name="T43" fmla="*/ 0 h 14"/>
                <a:gd name="T44" fmla="*/ 17 w 28"/>
                <a:gd name="T45" fmla="*/ 0 h 14"/>
                <a:gd name="T46" fmla="*/ 18 w 28"/>
                <a:gd name="T47" fmla="*/ 0 h 14"/>
                <a:gd name="T48" fmla="*/ 20 w 28"/>
                <a:gd name="T49" fmla="*/ 0 h 14"/>
                <a:gd name="T50" fmla="*/ 21 w 28"/>
                <a:gd name="T51" fmla="*/ 0 h 14"/>
                <a:gd name="T52" fmla="*/ 23 w 28"/>
                <a:gd name="T53" fmla="*/ 0 h 14"/>
                <a:gd name="T54" fmla="*/ 24 w 28"/>
                <a:gd name="T55" fmla="*/ 2 h 14"/>
                <a:gd name="T56" fmla="*/ 25 w 28"/>
                <a:gd name="T57" fmla="*/ 5 h 14"/>
                <a:gd name="T58" fmla="*/ 26 w 28"/>
                <a:gd name="T59" fmla="*/ 5 h 14"/>
                <a:gd name="T60" fmla="*/ 26 w 28"/>
                <a:gd name="T61" fmla="*/ 7 h 14"/>
                <a:gd name="T62" fmla="*/ 27 w 28"/>
                <a:gd name="T63" fmla="*/ 7 h 14"/>
                <a:gd name="T64" fmla="*/ 26 w 28"/>
                <a:gd name="T65" fmla="*/ 10 h 14"/>
                <a:gd name="T66" fmla="*/ 25 w 28"/>
                <a:gd name="T67" fmla="*/ 13 h 14"/>
                <a:gd name="T68" fmla="*/ 24 w 28"/>
                <a:gd name="T69" fmla="*/ 13 h 14"/>
                <a:gd name="T70" fmla="*/ 23 w 28"/>
                <a:gd name="T71" fmla="*/ 13 h 14"/>
                <a:gd name="T72" fmla="*/ 21 w 28"/>
                <a:gd name="T73" fmla="*/ 13 h 14"/>
                <a:gd name="T74" fmla="*/ 20 w 28"/>
                <a:gd name="T75" fmla="*/ 13 h 14"/>
                <a:gd name="T76" fmla="*/ 18 w 28"/>
                <a:gd name="T77" fmla="*/ 13 h 14"/>
                <a:gd name="T78" fmla="*/ 17 w 28"/>
                <a:gd name="T79" fmla="*/ 13 h 14"/>
                <a:gd name="T80" fmla="*/ 14 w 28"/>
                <a:gd name="T81"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 h="14">
                  <a:moveTo>
                    <a:pt x="14" y="13"/>
                  </a:moveTo>
                  <a:lnTo>
                    <a:pt x="11" y="13"/>
                  </a:lnTo>
                  <a:lnTo>
                    <a:pt x="10" y="13"/>
                  </a:lnTo>
                  <a:lnTo>
                    <a:pt x="8" y="13"/>
                  </a:lnTo>
                  <a:lnTo>
                    <a:pt x="6" y="13"/>
                  </a:lnTo>
                  <a:lnTo>
                    <a:pt x="5" y="13"/>
                  </a:lnTo>
                  <a:lnTo>
                    <a:pt x="3" y="13"/>
                  </a:lnTo>
                  <a:lnTo>
                    <a:pt x="2" y="13"/>
                  </a:lnTo>
                  <a:lnTo>
                    <a:pt x="1" y="13"/>
                  </a:lnTo>
                  <a:lnTo>
                    <a:pt x="0" y="10"/>
                  </a:lnTo>
                  <a:lnTo>
                    <a:pt x="0" y="7"/>
                  </a:lnTo>
                  <a:lnTo>
                    <a:pt x="0" y="5"/>
                  </a:lnTo>
                  <a:lnTo>
                    <a:pt x="1" y="5"/>
                  </a:lnTo>
                  <a:lnTo>
                    <a:pt x="2" y="2"/>
                  </a:lnTo>
                  <a:lnTo>
                    <a:pt x="3" y="2"/>
                  </a:lnTo>
                  <a:lnTo>
                    <a:pt x="3" y="0"/>
                  </a:lnTo>
                  <a:lnTo>
                    <a:pt x="5" y="0"/>
                  </a:lnTo>
                  <a:lnTo>
                    <a:pt x="6" y="0"/>
                  </a:lnTo>
                  <a:lnTo>
                    <a:pt x="8" y="0"/>
                  </a:lnTo>
                  <a:lnTo>
                    <a:pt x="10" y="0"/>
                  </a:lnTo>
                  <a:lnTo>
                    <a:pt x="11" y="0"/>
                  </a:lnTo>
                  <a:lnTo>
                    <a:pt x="14" y="0"/>
                  </a:lnTo>
                  <a:lnTo>
                    <a:pt x="17" y="0"/>
                  </a:lnTo>
                  <a:lnTo>
                    <a:pt x="18" y="0"/>
                  </a:lnTo>
                  <a:lnTo>
                    <a:pt x="20" y="0"/>
                  </a:lnTo>
                  <a:lnTo>
                    <a:pt x="21" y="0"/>
                  </a:lnTo>
                  <a:lnTo>
                    <a:pt x="23" y="0"/>
                  </a:lnTo>
                  <a:lnTo>
                    <a:pt x="24" y="2"/>
                  </a:lnTo>
                  <a:lnTo>
                    <a:pt x="25" y="5"/>
                  </a:lnTo>
                  <a:lnTo>
                    <a:pt x="26" y="5"/>
                  </a:lnTo>
                  <a:lnTo>
                    <a:pt x="26" y="7"/>
                  </a:lnTo>
                  <a:lnTo>
                    <a:pt x="27" y="7"/>
                  </a:lnTo>
                  <a:lnTo>
                    <a:pt x="26" y="10"/>
                  </a:lnTo>
                  <a:lnTo>
                    <a:pt x="25" y="13"/>
                  </a:lnTo>
                  <a:lnTo>
                    <a:pt x="24" y="13"/>
                  </a:lnTo>
                  <a:lnTo>
                    <a:pt x="23" y="13"/>
                  </a:lnTo>
                  <a:lnTo>
                    <a:pt x="21" y="13"/>
                  </a:lnTo>
                  <a:lnTo>
                    <a:pt x="20" y="13"/>
                  </a:lnTo>
                  <a:lnTo>
                    <a:pt x="18" y="13"/>
                  </a:lnTo>
                  <a:lnTo>
                    <a:pt x="17" y="13"/>
                  </a:lnTo>
                  <a:lnTo>
                    <a:pt x="14" y="1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67" name="Freeform 124">
              <a:extLst>
                <a:ext uri="{FF2B5EF4-FFF2-40B4-BE49-F238E27FC236}">
                  <a16:creationId xmlns:a16="http://schemas.microsoft.com/office/drawing/2014/main" id="{B58B3F69-571E-43F8-9C31-39918394D30B}"/>
                </a:ext>
              </a:extLst>
            </p:cNvPr>
            <p:cNvSpPr>
              <a:spLocks/>
            </p:cNvSpPr>
            <p:nvPr/>
          </p:nvSpPr>
          <p:spPr bwMode="auto">
            <a:xfrm>
              <a:off x="5579639" y="3634673"/>
              <a:ext cx="39231" cy="57081"/>
            </a:xfrm>
            <a:custGeom>
              <a:avLst/>
              <a:gdLst>
                <a:gd name="T0" fmla="*/ 9 w 29"/>
                <a:gd name="T1" fmla="*/ 9 h 43"/>
                <a:gd name="T2" fmla="*/ 0 w 29"/>
                <a:gd name="T3" fmla="*/ 23 h 43"/>
                <a:gd name="T4" fmla="*/ 2 w 29"/>
                <a:gd name="T5" fmla="*/ 42 h 43"/>
                <a:gd name="T6" fmla="*/ 14 w 29"/>
                <a:gd name="T7" fmla="*/ 42 h 43"/>
                <a:gd name="T8" fmla="*/ 28 w 29"/>
                <a:gd name="T9" fmla="*/ 25 h 43"/>
                <a:gd name="T10" fmla="*/ 19 w 29"/>
                <a:gd name="T11" fmla="*/ 0 h 43"/>
                <a:gd name="T12" fmla="*/ 9 w 29"/>
                <a:gd name="T13" fmla="*/ 9 h 43"/>
              </a:gdLst>
              <a:ahLst/>
              <a:cxnLst>
                <a:cxn ang="0">
                  <a:pos x="T0" y="T1"/>
                </a:cxn>
                <a:cxn ang="0">
                  <a:pos x="T2" y="T3"/>
                </a:cxn>
                <a:cxn ang="0">
                  <a:pos x="T4" y="T5"/>
                </a:cxn>
                <a:cxn ang="0">
                  <a:pos x="T6" y="T7"/>
                </a:cxn>
                <a:cxn ang="0">
                  <a:pos x="T8" y="T9"/>
                </a:cxn>
                <a:cxn ang="0">
                  <a:pos x="T10" y="T11"/>
                </a:cxn>
                <a:cxn ang="0">
                  <a:pos x="T12" y="T13"/>
                </a:cxn>
              </a:cxnLst>
              <a:rect l="0" t="0" r="r" b="b"/>
              <a:pathLst>
                <a:path w="29" h="43">
                  <a:moveTo>
                    <a:pt x="9" y="9"/>
                  </a:moveTo>
                  <a:lnTo>
                    <a:pt x="0" y="23"/>
                  </a:lnTo>
                  <a:lnTo>
                    <a:pt x="2" y="42"/>
                  </a:lnTo>
                  <a:lnTo>
                    <a:pt x="14" y="42"/>
                  </a:lnTo>
                  <a:lnTo>
                    <a:pt x="28" y="25"/>
                  </a:lnTo>
                  <a:lnTo>
                    <a:pt x="19" y="0"/>
                  </a:lnTo>
                  <a:lnTo>
                    <a:pt x="9" y="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68" name="Freeform 125">
              <a:extLst>
                <a:ext uri="{FF2B5EF4-FFF2-40B4-BE49-F238E27FC236}">
                  <a16:creationId xmlns:a16="http://schemas.microsoft.com/office/drawing/2014/main" id="{BBF6592B-6173-47F1-9112-94DD98B8DA09}"/>
                </a:ext>
              </a:extLst>
            </p:cNvPr>
            <p:cNvSpPr>
              <a:spLocks/>
            </p:cNvSpPr>
            <p:nvPr/>
          </p:nvSpPr>
          <p:spPr bwMode="auto">
            <a:xfrm>
              <a:off x="5807894" y="3783321"/>
              <a:ext cx="38042" cy="35675"/>
            </a:xfrm>
            <a:custGeom>
              <a:avLst/>
              <a:gdLst>
                <a:gd name="T0" fmla="*/ 16 w 28"/>
                <a:gd name="T1" fmla="*/ 5 h 26"/>
                <a:gd name="T2" fmla="*/ 2 w 28"/>
                <a:gd name="T3" fmla="*/ 0 h 26"/>
                <a:gd name="T4" fmla="*/ 0 w 28"/>
                <a:gd name="T5" fmla="*/ 12 h 26"/>
                <a:gd name="T6" fmla="*/ 9 w 28"/>
                <a:gd name="T7" fmla="*/ 22 h 26"/>
                <a:gd name="T8" fmla="*/ 17 w 28"/>
                <a:gd name="T9" fmla="*/ 25 h 26"/>
                <a:gd name="T10" fmla="*/ 18 w 28"/>
                <a:gd name="T11" fmla="*/ 25 h 26"/>
                <a:gd name="T12" fmla="*/ 19 w 28"/>
                <a:gd name="T13" fmla="*/ 25 h 26"/>
                <a:gd name="T14" fmla="*/ 20 w 28"/>
                <a:gd name="T15" fmla="*/ 25 h 26"/>
                <a:gd name="T16" fmla="*/ 21 w 28"/>
                <a:gd name="T17" fmla="*/ 24 h 26"/>
                <a:gd name="T18" fmla="*/ 23 w 28"/>
                <a:gd name="T19" fmla="*/ 23 h 26"/>
                <a:gd name="T20" fmla="*/ 24 w 28"/>
                <a:gd name="T21" fmla="*/ 22 h 26"/>
                <a:gd name="T22" fmla="*/ 25 w 28"/>
                <a:gd name="T23" fmla="*/ 22 h 26"/>
                <a:gd name="T24" fmla="*/ 26 w 28"/>
                <a:gd name="T25" fmla="*/ 21 h 26"/>
                <a:gd name="T26" fmla="*/ 27 w 28"/>
                <a:gd name="T27" fmla="*/ 19 h 26"/>
                <a:gd name="T28" fmla="*/ 27 w 28"/>
                <a:gd name="T29" fmla="*/ 18 h 26"/>
                <a:gd name="T30" fmla="*/ 27 w 28"/>
                <a:gd name="T31" fmla="*/ 16 h 26"/>
                <a:gd name="T32" fmla="*/ 26 w 28"/>
                <a:gd name="T33" fmla="*/ 15 h 26"/>
                <a:gd name="T34" fmla="*/ 25 w 28"/>
                <a:gd name="T35" fmla="*/ 13 h 26"/>
                <a:gd name="T36" fmla="*/ 24 w 28"/>
                <a:gd name="T37" fmla="*/ 11 h 26"/>
                <a:gd name="T38" fmla="*/ 23 w 28"/>
                <a:gd name="T39" fmla="*/ 10 h 26"/>
                <a:gd name="T40" fmla="*/ 21 w 28"/>
                <a:gd name="T41" fmla="*/ 9 h 26"/>
                <a:gd name="T42" fmla="*/ 20 w 28"/>
                <a:gd name="T43" fmla="*/ 8 h 26"/>
                <a:gd name="T44" fmla="*/ 19 w 28"/>
                <a:gd name="T45" fmla="*/ 8 h 26"/>
                <a:gd name="T46" fmla="*/ 18 w 28"/>
                <a:gd name="T47" fmla="*/ 7 h 26"/>
                <a:gd name="T48" fmla="*/ 17 w 28"/>
                <a:gd name="T49" fmla="*/ 6 h 26"/>
                <a:gd name="T50" fmla="*/ 16 w 28"/>
                <a:gd name="T51" fmla="*/ 6 h 26"/>
                <a:gd name="T52" fmla="*/ 16 w 28"/>
                <a:gd name="T5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6">
                  <a:moveTo>
                    <a:pt x="16" y="5"/>
                  </a:moveTo>
                  <a:lnTo>
                    <a:pt x="2" y="0"/>
                  </a:lnTo>
                  <a:lnTo>
                    <a:pt x="0" y="12"/>
                  </a:lnTo>
                  <a:lnTo>
                    <a:pt x="9" y="22"/>
                  </a:lnTo>
                  <a:lnTo>
                    <a:pt x="17" y="25"/>
                  </a:lnTo>
                  <a:lnTo>
                    <a:pt x="18" y="25"/>
                  </a:lnTo>
                  <a:lnTo>
                    <a:pt x="19" y="25"/>
                  </a:lnTo>
                  <a:lnTo>
                    <a:pt x="20" y="25"/>
                  </a:lnTo>
                  <a:lnTo>
                    <a:pt x="21" y="24"/>
                  </a:lnTo>
                  <a:lnTo>
                    <a:pt x="23" y="23"/>
                  </a:lnTo>
                  <a:lnTo>
                    <a:pt x="24" y="22"/>
                  </a:lnTo>
                  <a:lnTo>
                    <a:pt x="25" y="22"/>
                  </a:lnTo>
                  <a:lnTo>
                    <a:pt x="26" y="21"/>
                  </a:lnTo>
                  <a:lnTo>
                    <a:pt x="27" y="19"/>
                  </a:lnTo>
                  <a:lnTo>
                    <a:pt x="27" y="18"/>
                  </a:lnTo>
                  <a:lnTo>
                    <a:pt x="27" y="16"/>
                  </a:lnTo>
                  <a:lnTo>
                    <a:pt x="26" y="15"/>
                  </a:lnTo>
                  <a:lnTo>
                    <a:pt x="25" y="13"/>
                  </a:lnTo>
                  <a:lnTo>
                    <a:pt x="24" y="11"/>
                  </a:lnTo>
                  <a:lnTo>
                    <a:pt x="23" y="10"/>
                  </a:lnTo>
                  <a:lnTo>
                    <a:pt x="21" y="9"/>
                  </a:lnTo>
                  <a:lnTo>
                    <a:pt x="20" y="8"/>
                  </a:lnTo>
                  <a:lnTo>
                    <a:pt x="19" y="8"/>
                  </a:lnTo>
                  <a:lnTo>
                    <a:pt x="18" y="7"/>
                  </a:lnTo>
                  <a:lnTo>
                    <a:pt x="17" y="6"/>
                  </a:lnTo>
                  <a:lnTo>
                    <a:pt x="16" y="6"/>
                  </a:lnTo>
                  <a:lnTo>
                    <a:pt x="16" y="5"/>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69" name="Freeform 126">
              <a:extLst>
                <a:ext uri="{FF2B5EF4-FFF2-40B4-BE49-F238E27FC236}">
                  <a16:creationId xmlns:a16="http://schemas.microsoft.com/office/drawing/2014/main" id="{C9EFE567-09A1-4FFB-A392-893CC0F8C3FE}"/>
                </a:ext>
              </a:extLst>
            </p:cNvPr>
            <p:cNvSpPr>
              <a:spLocks/>
            </p:cNvSpPr>
            <p:nvPr/>
          </p:nvSpPr>
          <p:spPr bwMode="auto">
            <a:xfrm>
              <a:off x="5859013" y="3770240"/>
              <a:ext cx="42798" cy="30919"/>
            </a:xfrm>
            <a:custGeom>
              <a:avLst/>
              <a:gdLst>
                <a:gd name="T0" fmla="*/ 2 w 32"/>
                <a:gd name="T1" fmla="*/ 3 h 24"/>
                <a:gd name="T2" fmla="*/ 0 w 32"/>
                <a:gd name="T3" fmla="*/ 15 h 24"/>
                <a:gd name="T4" fmla="*/ 11 w 32"/>
                <a:gd name="T5" fmla="*/ 21 h 24"/>
                <a:gd name="T6" fmla="*/ 31 w 32"/>
                <a:gd name="T7" fmla="*/ 23 h 24"/>
                <a:gd name="T8" fmla="*/ 31 w 32"/>
                <a:gd name="T9" fmla="*/ 9 h 24"/>
                <a:gd name="T10" fmla="*/ 16 w 32"/>
                <a:gd name="T11" fmla="*/ 0 h 24"/>
                <a:gd name="T12" fmla="*/ 2 w 32"/>
                <a:gd name="T13" fmla="*/ 3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2" y="3"/>
                  </a:moveTo>
                  <a:lnTo>
                    <a:pt x="0" y="15"/>
                  </a:lnTo>
                  <a:lnTo>
                    <a:pt x="11" y="21"/>
                  </a:lnTo>
                  <a:lnTo>
                    <a:pt x="31" y="23"/>
                  </a:lnTo>
                  <a:lnTo>
                    <a:pt x="31" y="9"/>
                  </a:lnTo>
                  <a:lnTo>
                    <a:pt x="16" y="0"/>
                  </a:lnTo>
                  <a:lnTo>
                    <a:pt x="2" y="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70" name="Freeform 127">
              <a:extLst>
                <a:ext uri="{FF2B5EF4-FFF2-40B4-BE49-F238E27FC236}">
                  <a16:creationId xmlns:a16="http://schemas.microsoft.com/office/drawing/2014/main" id="{F88025FA-56AB-49D9-A324-0197618C2E39}"/>
                </a:ext>
              </a:extLst>
            </p:cNvPr>
            <p:cNvSpPr>
              <a:spLocks/>
            </p:cNvSpPr>
            <p:nvPr/>
          </p:nvSpPr>
          <p:spPr bwMode="auto">
            <a:xfrm>
              <a:off x="5851881" y="3821375"/>
              <a:ext cx="29721" cy="27351"/>
            </a:xfrm>
            <a:custGeom>
              <a:avLst/>
              <a:gdLst>
                <a:gd name="T0" fmla="*/ 4 w 21"/>
                <a:gd name="T1" fmla="*/ 0 h 20"/>
                <a:gd name="T2" fmla="*/ 0 w 21"/>
                <a:gd name="T3" fmla="*/ 12 h 20"/>
                <a:gd name="T4" fmla="*/ 4 w 21"/>
                <a:gd name="T5" fmla="*/ 19 h 20"/>
                <a:gd name="T6" fmla="*/ 20 w 21"/>
                <a:gd name="T7" fmla="*/ 15 h 20"/>
                <a:gd name="T8" fmla="*/ 16 w 21"/>
                <a:gd name="T9" fmla="*/ 4 h 20"/>
                <a:gd name="T10" fmla="*/ 4 w 21"/>
                <a:gd name="T11" fmla="*/ 0 h 20"/>
              </a:gdLst>
              <a:ahLst/>
              <a:cxnLst>
                <a:cxn ang="0">
                  <a:pos x="T0" y="T1"/>
                </a:cxn>
                <a:cxn ang="0">
                  <a:pos x="T2" y="T3"/>
                </a:cxn>
                <a:cxn ang="0">
                  <a:pos x="T4" y="T5"/>
                </a:cxn>
                <a:cxn ang="0">
                  <a:pos x="T6" y="T7"/>
                </a:cxn>
                <a:cxn ang="0">
                  <a:pos x="T8" y="T9"/>
                </a:cxn>
                <a:cxn ang="0">
                  <a:pos x="T10" y="T11"/>
                </a:cxn>
              </a:cxnLst>
              <a:rect l="0" t="0" r="r" b="b"/>
              <a:pathLst>
                <a:path w="21" h="20">
                  <a:moveTo>
                    <a:pt x="4" y="0"/>
                  </a:moveTo>
                  <a:lnTo>
                    <a:pt x="0" y="12"/>
                  </a:lnTo>
                  <a:lnTo>
                    <a:pt x="4" y="19"/>
                  </a:lnTo>
                  <a:lnTo>
                    <a:pt x="20" y="15"/>
                  </a:lnTo>
                  <a:lnTo>
                    <a:pt x="16" y="4"/>
                  </a:lnTo>
                  <a:lnTo>
                    <a:pt x="4"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71" name="Freeform 128">
              <a:extLst>
                <a:ext uri="{FF2B5EF4-FFF2-40B4-BE49-F238E27FC236}">
                  <a16:creationId xmlns:a16="http://schemas.microsoft.com/office/drawing/2014/main" id="{A200525D-0DF3-4E0D-BF08-956A675CCDF8}"/>
                </a:ext>
              </a:extLst>
            </p:cNvPr>
            <p:cNvSpPr>
              <a:spLocks/>
            </p:cNvSpPr>
            <p:nvPr/>
          </p:nvSpPr>
          <p:spPr bwMode="auto">
            <a:xfrm>
              <a:off x="5903000" y="3815429"/>
              <a:ext cx="23777" cy="20216"/>
            </a:xfrm>
            <a:custGeom>
              <a:avLst/>
              <a:gdLst>
                <a:gd name="T0" fmla="*/ 0 w 19"/>
                <a:gd name="T1" fmla="*/ 3 h 14"/>
                <a:gd name="T2" fmla="*/ 3 w 19"/>
                <a:gd name="T3" fmla="*/ 13 h 14"/>
                <a:gd name="T4" fmla="*/ 10 w 19"/>
                <a:gd name="T5" fmla="*/ 13 h 14"/>
                <a:gd name="T6" fmla="*/ 16 w 19"/>
                <a:gd name="T7" fmla="*/ 9 h 14"/>
                <a:gd name="T8" fmla="*/ 18 w 19"/>
                <a:gd name="T9" fmla="*/ 0 h 14"/>
                <a:gd name="T10" fmla="*/ 8 w 19"/>
                <a:gd name="T11" fmla="*/ 0 h 14"/>
                <a:gd name="T12" fmla="*/ 0 w 19"/>
                <a:gd name="T13" fmla="*/ 3 h 14"/>
              </a:gdLst>
              <a:ahLst/>
              <a:cxnLst>
                <a:cxn ang="0">
                  <a:pos x="T0" y="T1"/>
                </a:cxn>
                <a:cxn ang="0">
                  <a:pos x="T2" y="T3"/>
                </a:cxn>
                <a:cxn ang="0">
                  <a:pos x="T4" y="T5"/>
                </a:cxn>
                <a:cxn ang="0">
                  <a:pos x="T6" y="T7"/>
                </a:cxn>
                <a:cxn ang="0">
                  <a:pos x="T8" y="T9"/>
                </a:cxn>
                <a:cxn ang="0">
                  <a:pos x="T10" y="T11"/>
                </a:cxn>
                <a:cxn ang="0">
                  <a:pos x="T12" y="T13"/>
                </a:cxn>
              </a:cxnLst>
              <a:rect l="0" t="0" r="r" b="b"/>
              <a:pathLst>
                <a:path w="19" h="14">
                  <a:moveTo>
                    <a:pt x="0" y="3"/>
                  </a:moveTo>
                  <a:lnTo>
                    <a:pt x="3" y="13"/>
                  </a:lnTo>
                  <a:lnTo>
                    <a:pt x="10" y="13"/>
                  </a:lnTo>
                  <a:lnTo>
                    <a:pt x="16" y="9"/>
                  </a:lnTo>
                  <a:lnTo>
                    <a:pt x="18" y="0"/>
                  </a:lnTo>
                  <a:lnTo>
                    <a:pt x="8" y="0"/>
                  </a:lnTo>
                  <a:lnTo>
                    <a:pt x="0" y="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72" name="Freeform 129">
              <a:extLst>
                <a:ext uri="{FF2B5EF4-FFF2-40B4-BE49-F238E27FC236}">
                  <a16:creationId xmlns:a16="http://schemas.microsoft.com/office/drawing/2014/main" id="{8A903503-B27D-429E-B39E-67F5E45308D2}"/>
                </a:ext>
              </a:extLst>
            </p:cNvPr>
            <p:cNvSpPr>
              <a:spLocks/>
            </p:cNvSpPr>
            <p:nvPr/>
          </p:nvSpPr>
          <p:spPr bwMode="auto">
            <a:xfrm>
              <a:off x="5845936" y="3872509"/>
              <a:ext cx="35665" cy="49946"/>
            </a:xfrm>
            <a:custGeom>
              <a:avLst/>
              <a:gdLst>
                <a:gd name="T0" fmla="*/ 18 w 27"/>
                <a:gd name="T1" fmla="*/ 0 h 37"/>
                <a:gd name="T2" fmla="*/ 8 w 27"/>
                <a:gd name="T3" fmla="*/ 11 h 37"/>
                <a:gd name="T4" fmla="*/ 3 w 27"/>
                <a:gd name="T5" fmla="*/ 27 h 37"/>
                <a:gd name="T6" fmla="*/ 0 w 27"/>
                <a:gd name="T7" fmla="*/ 36 h 37"/>
                <a:gd name="T8" fmla="*/ 13 w 27"/>
                <a:gd name="T9" fmla="*/ 32 h 37"/>
                <a:gd name="T10" fmla="*/ 20 w 27"/>
                <a:gd name="T11" fmla="*/ 19 h 37"/>
                <a:gd name="T12" fmla="*/ 26 w 27"/>
                <a:gd name="T13" fmla="*/ 5 h 37"/>
                <a:gd name="T14" fmla="*/ 18 w 27"/>
                <a:gd name="T15" fmla="*/ 0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37">
                  <a:moveTo>
                    <a:pt x="18" y="0"/>
                  </a:moveTo>
                  <a:lnTo>
                    <a:pt x="8" y="11"/>
                  </a:lnTo>
                  <a:lnTo>
                    <a:pt x="3" y="27"/>
                  </a:lnTo>
                  <a:lnTo>
                    <a:pt x="0" y="36"/>
                  </a:lnTo>
                  <a:lnTo>
                    <a:pt x="13" y="32"/>
                  </a:lnTo>
                  <a:lnTo>
                    <a:pt x="20" y="19"/>
                  </a:lnTo>
                  <a:lnTo>
                    <a:pt x="26" y="5"/>
                  </a:lnTo>
                  <a:lnTo>
                    <a:pt x="18"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73" name="Freeform 130">
              <a:extLst>
                <a:ext uri="{FF2B5EF4-FFF2-40B4-BE49-F238E27FC236}">
                  <a16:creationId xmlns:a16="http://schemas.microsoft.com/office/drawing/2014/main" id="{483733BF-A749-49AE-BCE5-CF06023893B3}"/>
                </a:ext>
              </a:extLst>
            </p:cNvPr>
            <p:cNvSpPr>
              <a:spLocks/>
            </p:cNvSpPr>
            <p:nvPr/>
          </p:nvSpPr>
          <p:spPr bwMode="auto">
            <a:xfrm>
              <a:off x="5882790" y="3845158"/>
              <a:ext cx="20210" cy="20216"/>
            </a:xfrm>
            <a:custGeom>
              <a:avLst/>
              <a:gdLst>
                <a:gd name="T0" fmla="*/ 7 w 14"/>
                <a:gd name="T1" fmla="*/ 14 h 15"/>
                <a:gd name="T2" fmla="*/ 5 w 14"/>
                <a:gd name="T3" fmla="*/ 14 h 15"/>
                <a:gd name="T4" fmla="*/ 3 w 14"/>
                <a:gd name="T5" fmla="*/ 14 h 15"/>
                <a:gd name="T6" fmla="*/ 2 w 14"/>
                <a:gd name="T7" fmla="*/ 14 h 15"/>
                <a:gd name="T8" fmla="*/ 2 w 14"/>
                <a:gd name="T9" fmla="*/ 12 h 15"/>
                <a:gd name="T10" fmla="*/ 1 w 14"/>
                <a:gd name="T11" fmla="*/ 11 h 15"/>
                <a:gd name="T12" fmla="*/ 0 w 14"/>
                <a:gd name="T13" fmla="*/ 11 h 15"/>
                <a:gd name="T14" fmla="*/ 0 w 14"/>
                <a:gd name="T15" fmla="*/ 10 h 15"/>
                <a:gd name="T16" fmla="*/ 0 w 14"/>
                <a:gd name="T17" fmla="*/ 9 h 15"/>
                <a:gd name="T18" fmla="*/ 0 w 14"/>
                <a:gd name="T19" fmla="*/ 7 h 15"/>
                <a:gd name="T20" fmla="*/ 0 w 14"/>
                <a:gd name="T21" fmla="*/ 5 h 15"/>
                <a:gd name="T22" fmla="*/ 0 w 14"/>
                <a:gd name="T23" fmla="*/ 4 h 15"/>
                <a:gd name="T24" fmla="*/ 1 w 14"/>
                <a:gd name="T25" fmla="*/ 3 h 15"/>
                <a:gd name="T26" fmla="*/ 2 w 14"/>
                <a:gd name="T27" fmla="*/ 2 h 15"/>
                <a:gd name="T28" fmla="*/ 2 w 14"/>
                <a:gd name="T29" fmla="*/ 1 h 15"/>
                <a:gd name="T30" fmla="*/ 3 w 14"/>
                <a:gd name="T31" fmla="*/ 1 h 15"/>
                <a:gd name="T32" fmla="*/ 5 w 14"/>
                <a:gd name="T33" fmla="*/ 1 h 15"/>
                <a:gd name="T34" fmla="*/ 7 w 14"/>
                <a:gd name="T35" fmla="*/ 0 h 15"/>
                <a:gd name="T36" fmla="*/ 7 w 14"/>
                <a:gd name="T37" fmla="*/ 1 h 15"/>
                <a:gd name="T38" fmla="*/ 9 w 14"/>
                <a:gd name="T39" fmla="*/ 1 h 15"/>
                <a:gd name="T40" fmla="*/ 10 w 14"/>
                <a:gd name="T41" fmla="*/ 1 h 15"/>
                <a:gd name="T42" fmla="*/ 10 w 14"/>
                <a:gd name="T43" fmla="*/ 2 h 15"/>
                <a:gd name="T44" fmla="*/ 11 w 14"/>
                <a:gd name="T45" fmla="*/ 3 h 15"/>
                <a:gd name="T46" fmla="*/ 11 w 14"/>
                <a:gd name="T47" fmla="*/ 4 h 15"/>
                <a:gd name="T48" fmla="*/ 11 w 14"/>
                <a:gd name="T49" fmla="*/ 5 h 15"/>
                <a:gd name="T50" fmla="*/ 13 w 14"/>
                <a:gd name="T51" fmla="*/ 7 h 15"/>
                <a:gd name="T52" fmla="*/ 11 w 14"/>
                <a:gd name="T53" fmla="*/ 9 h 15"/>
                <a:gd name="T54" fmla="*/ 11 w 14"/>
                <a:gd name="T55" fmla="*/ 10 h 15"/>
                <a:gd name="T56" fmla="*/ 11 w 14"/>
                <a:gd name="T57" fmla="*/ 11 h 15"/>
                <a:gd name="T58" fmla="*/ 10 w 14"/>
                <a:gd name="T59" fmla="*/ 12 h 15"/>
                <a:gd name="T60" fmla="*/ 10 w 14"/>
                <a:gd name="T61" fmla="*/ 14 h 15"/>
                <a:gd name="T62" fmla="*/ 9 w 14"/>
                <a:gd name="T63" fmla="*/ 14 h 15"/>
                <a:gd name="T64" fmla="*/ 7 w 14"/>
                <a:gd name="T65"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15">
                  <a:moveTo>
                    <a:pt x="7" y="14"/>
                  </a:moveTo>
                  <a:lnTo>
                    <a:pt x="5" y="14"/>
                  </a:lnTo>
                  <a:lnTo>
                    <a:pt x="3" y="14"/>
                  </a:lnTo>
                  <a:lnTo>
                    <a:pt x="2" y="14"/>
                  </a:lnTo>
                  <a:lnTo>
                    <a:pt x="2" y="12"/>
                  </a:lnTo>
                  <a:lnTo>
                    <a:pt x="1" y="11"/>
                  </a:lnTo>
                  <a:lnTo>
                    <a:pt x="0" y="11"/>
                  </a:lnTo>
                  <a:lnTo>
                    <a:pt x="0" y="10"/>
                  </a:lnTo>
                  <a:lnTo>
                    <a:pt x="0" y="9"/>
                  </a:lnTo>
                  <a:lnTo>
                    <a:pt x="0" y="7"/>
                  </a:lnTo>
                  <a:lnTo>
                    <a:pt x="0" y="5"/>
                  </a:lnTo>
                  <a:lnTo>
                    <a:pt x="0" y="4"/>
                  </a:lnTo>
                  <a:lnTo>
                    <a:pt x="1" y="3"/>
                  </a:lnTo>
                  <a:lnTo>
                    <a:pt x="2" y="2"/>
                  </a:lnTo>
                  <a:lnTo>
                    <a:pt x="2" y="1"/>
                  </a:lnTo>
                  <a:lnTo>
                    <a:pt x="3" y="1"/>
                  </a:lnTo>
                  <a:lnTo>
                    <a:pt x="5" y="1"/>
                  </a:lnTo>
                  <a:lnTo>
                    <a:pt x="7" y="0"/>
                  </a:lnTo>
                  <a:lnTo>
                    <a:pt x="7" y="1"/>
                  </a:lnTo>
                  <a:lnTo>
                    <a:pt x="9" y="1"/>
                  </a:lnTo>
                  <a:lnTo>
                    <a:pt x="10" y="1"/>
                  </a:lnTo>
                  <a:lnTo>
                    <a:pt x="10" y="2"/>
                  </a:lnTo>
                  <a:lnTo>
                    <a:pt x="11" y="3"/>
                  </a:lnTo>
                  <a:lnTo>
                    <a:pt x="11" y="4"/>
                  </a:lnTo>
                  <a:lnTo>
                    <a:pt x="11" y="5"/>
                  </a:lnTo>
                  <a:lnTo>
                    <a:pt x="13" y="7"/>
                  </a:lnTo>
                  <a:lnTo>
                    <a:pt x="11" y="9"/>
                  </a:lnTo>
                  <a:lnTo>
                    <a:pt x="11" y="10"/>
                  </a:lnTo>
                  <a:lnTo>
                    <a:pt x="11" y="11"/>
                  </a:lnTo>
                  <a:lnTo>
                    <a:pt x="10" y="12"/>
                  </a:lnTo>
                  <a:lnTo>
                    <a:pt x="10" y="14"/>
                  </a:lnTo>
                  <a:lnTo>
                    <a:pt x="9" y="14"/>
                  </a:lnTo>
                  <a:lnTo>
                    <a:pt x="7" y="14"/>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74" name="Freeform 135">
              <a:extLst>
                <a:ext uri="{FF2B5EF4-FFF2-40B4-BE49-F238E27FC236}">
                  <a16:creationId xmlns:a16="http://schemas.microsoft.com/office/drawing/2014/main" id="{36E2DC96-11F3-40EB-AEB0-E17CEC35C538}"/>
                </a:ext>
              </a:extLst>
            </p:cNvPr>
            <p:cNvSpPr>
              <a:spLocks/>
            </p:cNvSpPr>
            <p:nvPr/>
          </p:nvSpPr>
          <p:spPr bwMode="auto">
            <a:xfrm>
              <a:off x="5649780" y="4304183"/>
              <a:ext cx="766793" cy="655239"/>
            </a:xfrm>
            <a:custGeom>
              <a:avLst/>
              <a:gdLst>
                <a:gd name="T0" fmla="*/ 296 w 575"/>
                <a:gd name="T1" fmla="*/ 33 h 491"/>
                <a:gd name="T2" fmla="*/ 258 w 575"/>
                <a:gd name="T3" fmla="*/ 51 h 491"/>
                <a:gd name="T4" fmla="*/ 254 w 575"/>
                <a:gd name="T5" fmla="*/ 74 h 491"/>
                <a:gd name="T6" fmla="*/ 230 w 575"/>
                <a:gd name="T7" fmla="*/ 66 h 491"/>
                <a:gd name="T8" fmla="*/ 199 w 575"/>
                <a:gd name="T9" fmla="*/ 60 h 491"/>
                <a:gd name="T10" fmla="*/ 184 w 575"/>
                <a:gd name="T11" fmla="*/ 85 h 491"/>
                <a:gd name="T12" fmla="*/ 164 w 575"/>
                <a:gd name="T13" fmla="*/ 102 h 491"/>
                <a:gd name="T14" fmla="*/ 156 w 575"/>
                <a:gd name="T15" fmla="*/ 113 h 491"/>
                <a:gd name="T16" fmla="*/ 145 w 575"/>
                <a:gd name="T17" fmla="*/ 127 h 491"/>
                <a:gd name="T18" fmla="*/ 104 w 575"/>
                <a:gd name="T19" fmla="*/ 161 h 491"/>
                <a:gd name="T20" fmla="*/ 31 w 575"/>
                <a:gd name="T21" fmla="*/ 199 h 491"/>
                <a:gd name="T22" fmla="*/ 9 w 575"/>
                <a:gd name="T23" fmla="*/ 248 h 491"/>
                <a:gd name="T24" fmla="*/ 17 w 575"/>
                <a:gd name="T25" fmla="*/ 265 h 491"/>
                <a:gd name="T26" fmla="*/ 0 w 575"/>
                <a:gd name="T27" fmla="*/ 270 h 491"/>
                <a:gd name="T28" fmla="*/ 17 w 575"/>
                <a:gd name="T29" fmla="*/ 312 h 491"/>
                <a:gd name="T30" fmla="*/ 17 w 575"/>
                <a:gd name="T31" fmla="*/ 344 h 491"/>
                <a:gd name="T32" fmla="*/ 25 w 575"/>
                <a:gd name="T33" fmla="*/ 377 h 491"/>
                <a:gd name="T34" fmla="*/ 12 w 575"/>
                <a:gd name="T35" fmla="*/ 389 h 491"/>
                <a:gd name="T36" fmla="*/ 35 w 575"/>
                <a:gd name="T37" fmla="*/ 424 h 491"/>
                <a:gd name="T38" fmla="*/ 53 w 575"/>
                <a:gd name="T39" fmla="*/ 420 h 491"/>
                <a:gd name="T40" fmla="*/ 83 w 575"/>
                <a:gd name="T41" fmla="*/ 412 h 491"/>
                <a:gd name="T42" fmla="*/ 142 w 575"/>
                <a:gd name="T43" fmla="*/ 391 h 491"/>
                <a:gd name="T44" fmla="*/ 204 w 575"/>
                <a:gd name="T45" fmla="*/ 375 h 491"/>
                <a:gd name="T46" fmla="*/ 231 w 575"/>
                <a:gd name="T47" fmla="*/ 365 h 491"/>
                <a:gd name="T48" fmla="*/ 245 w 575"/>
                <a:gd name="T49" fmla="*/ 369 h 491"/>
                <a:gd name="T50" fmla="*/ 278 w 575"/>
                <a:gd name="T51" fmla="*/ 383 h 491"/>
                <a:gd name="T52" fmla="*/ 290 w 575"/>
                <a:gd name="T53" fmla="*/ 418 h 491"/>
                <a:gd name="T54" fmla="*/ 310 w 575"/>
                <a:gd name="T55" fmla="*/ 409 h 491"/>
                <a:gd name="T56" fmla="*/ 330 w 575"/>
                <a:gd name="T57" fmla="*/ 383 h 491"/>
                <a:gd name="T58" fmla="*/ 326 w 575"/>
                <a:gd name="T59" fmla="*/ 409 h 491"/>
                <a:gd name="T60" fmla="*/ 328 w 575"/>
                <a:gd name="T61" fmla="*/ 422 h 491"/>
                <a:gd name="T62" fmla="*/ 337 w 575"/>
                <a:gd name="T63" fmla="*/ 405 h 491"/>
                <a:gd name="T64" fmla="*/ 339 w 575"/>
                <a:gd name="T65" fmla="*/ 422 h 491"/>
                <a:gd name="T66" fmla="*/ 349 w 575"/>
                <a:gd name="T67" fmla="*/ 442 h 491"/>
                <a:gd name="T68" fmla="*/ 358 w 575"/>
                <a:gd name="T69" fmla="*/ 471 h 491"/>
                <a:gd name="T70" fmla="*/ 425 w 575"/>
                <a:gd name="T71" fmla="*/ 490 h 491"/>
                <a:gd name="T72" fmla="*/ 491 w 575"/>
                <a:gd name="T73" fmla="*/ 460 h 491"/>
                <a:gd name="T74" fmla="*/ 521 w 575"/>
                <a:gd name="T75" fmla="*/ 415 h 491"/>
                <a:gd name="T76" fmla="*/ 558 w 575"/>
                <a:gd name="T77" fmla="*/ 366 h 491"/>
                <a:gd name="T78" fmla="*/ 565 w 575"/>
                <a:gd name="T79" fmla="*/ 316 h 491"/>
                <a:gd name="T80" fmla="*/ 572 w 575"/>
                <a:gd name="T81" fmla="*/ 251 h 491"/>
                <a:gd name="T82" fmla="*/ 546 w 575"/>
                <a:gd name="T83" fmla="*/ 201 h 491"/>
                <a:gd name="T84" fmla="*/ 523 w 575"/>
                <a:gd name="T85" fmla="*/ 165 h 491"/>
                <a:gd name="T86" fmla="*/ 493 w 575"/>
                <a:gd name="T87" fmla="*/ 117 h 491"/>
                <a:gd name="T88" fmla="*/ 465 w 575"/>
                <a:gd name="T89" fmla="*/ 60 h 491"/>
                <a:gd name="T90" fmla="*/ 463 w 575"/>
                <a:gd name="T91" fmla="*/ 19 h 491"/>
                <a:gd name="T92" fmla="*/ 437 w 575"/>
                <a:gd name="T93" fmla="*/ 19 h 491"/>
                <a:gd name="T94" fmla="*/ 430 w 575"/>
                <a:gd name="T95" fmla="*/ 89 h 491"/>
                <a:gd name="T96" fmla="*/ 416 w 575"/>
                <a:gd name="T97" fmla="*/ 113 h 491"/>
                <a:gd name="T98" fmla="*/ 384 w 575"/>
                <a:gd name="T99" fmla="*/ 100 h 491"/>
                <a:gd name="T100" fmla="*/ 353 w 575"/>
                <a:gd name="T101" fmla="*/ 81 h 491"/>
                <a:gd name="T102" fmla="*/ 348 w 575"/>
                <a:gd name="T103" fmla="*/ 62 h 491"/>
                <a:gd name="T104" fmla="*/ 360 w 575"/>
                <a:gd name="T105" fmla="*/ 46 h 491"/>
                <a:gd name="T106" fmla="*/ 347 w 575"/>
                <a:gd name="T107" fmla="*/ 25 h 491"/>
                <a:gd name="T108" fmla="*/ 307 w 575"/>
                <a:gd name="T109" fmla="*/ 12 h 491"/>
                <a:gd name="T110" fmla="*/ 282 w 575"/>
                <a:gd name="T111" fmla="*/ 15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5" h="491">
                  <a:moveTo>
                    <a:pt x="293" y="20"/>
                  </a:moveTo>
                  <a:lnTo>
                    <a:pt x="296" y="33"/>
                  </a:lnTo>
                  <a:lnTo>
                    <a:pt x="269" y="37"/>
                  </a:lnTo>
                  <a:lnTo>
                    <a:pt x="258" y="51"/>
                  </a:lnTo>
                  <a:lnTo>
                    <a:pt x="256" y="59"/>
                  </a:lnTo>
                  <a:lnTo>
                    <a:pt x="254" y="74"/>
                  </a:lnTo>
                  <a:lnTo>
                    <a:pt x="237" y="78"/>
                  </a:lnTo>
                  <a:lnTo>
                    <a:pt x="230" y="66"/>
                  </a:lnTo>
                  <a:lnTo>
                    <a:pt x="221" y="55"/>
                  </a:lnTo>
                  <a:lnTo>
                    <a:pt x="199" y="60"/>
                  </a:lnTo>
                  <a:lnTo>
                    <a:pt x="195" y="74"/>
                  </a:lnTo>
                  <a:lnTo>
                    <a:pt x="184" y="85"/>
                  </a:lnTo>
                  <a:lnTo>
                    <a:pt x="171" y="91"/>
                  </a:lnTo>
                  <a:lnTo>
                    <a:pt x="164" y="102"/>
                  </a:lnTo>
                  <a:lnTo>
                    <a:pt x="164" y="113"/>
                  </a:lnTo>
                  <a:lnTo>
                    <a:pt x="156" y="113"/>
                  </a:lnTo>
                  <a:lnTo>
                    <a:pt x="149" y="102"/>
                  </a:lnTo>
                  <a:lnTo>
                    <a:pt x="145" y="127"/>
                  </a:lnTo>
                  <a:lnTo>
                    <a:pt x="124" y="153"/>
                  </a:lnTo>
                  <a:lnTo>
                    <a:pt x="104" y="161"/>
                  </a:lnTo>
                  <a:lnTo>
                    <a:pt x="53" y="176"/>
                  </a:lnTo>
                  <a:lnTo>
                    <a:pt x="31" y="199"/>
                  </a:lnTo>
                  <a:lnTo>
                    <a:pt x="6" y="201"/>
                  </a:lnTo>
                  <a:lnTo>
                    <a:pt x="9" y="248"/>
                  </a:lnTo>
                  <a:lnTo>
                    <a:pt x="20" y="255"/>
                  </a:lnTo>
                  <a:lnTo>
                    <a:pt x="17" y="265"/>
                  </a:lnTo>
                  <a:lnTo>
                    <a:pt x="2" y="255"/>
                  </a:lnTo>
                  <a:lnTo>
                    <a:pt x="0" y="270"/>
                  </a:lnTo>
                  <a:lnTo>
                    <a:pt x="8" y="296"/>
                  </a:lnTo>
                  <a:lnTo>
                    <a:pt x="17" y="312"/>
                  </a:lnTo>
                  <a:lnTo>
                    <a:pt x="17" y="331"/>
                  </a:lnTo>
                  <a:lnTo>
                    <a:pt x="17" y="344"/>
                  </a:lnTo>
                  <a:lnTo>
                    <a:pt x="24" y="349"/>
                  </a:lnTo>
                  <a:lnTo>
                    <a:pt x="25" y="377"/>
                  </a:lnTo>
                  <a:lnTo>
                    <a:pt x="17" y="378"/>
                  </a:lnTo>
                  <a:lnTo>
                    <a:pt x="12" y="389"/>
                  </a:lnTo>
                  <a:lnTo>
                    <a:pt x="6" y="398"/>
                  </a:lnTo>
                  <a:lnTo>
                    <a:pt x="35" y="424"/>
                  </a:lnTo>
                  <a:lnTo>
                    <a:pt x="47" y="427"/>
                  </a:lnTo>
                  <a:lnTo>
                    <a:pt x="53" y="420"/>
                  </a:lnTo>
                  <a:lnTo>
                    <a:pt x="59" y="409"/>
                  </a:lnTo>
                  <a:lnTo>
                    <a:pt x="83" y="412"/>
                  </a:lnTo>
                  <a:lnTo>
                    <a:pt x="133" y="405"/>
                  </a:lnTo>
                  <a:lnTo>
                    <a:pt x="142" y="391"/>
                  </a:lnTo>
                  <a:lnTo>
                    <a:pt x="158" y="380"/>
                  </a:lnTo>
                  <a:lnTo>
                    <a:pt x="204" y="375"/>
                  </a:lnTo>
                  <a:lnTo>
                    <a:pt x="213" y="366"/>
                  </a:lnTo>
                  <a:lnTo>
                    <a:pt x="231" y="365"/>
                  </a:lnTo>
                  <a:lnTo>
                    <a:pt x="244" y="361"/>
                  </a:lnTo>
                  <a:lnTo>
                    <a:pt x="245" y="369"/>
                  </a:lnTo>
                  <a:lnTo>
                    <a:pt x="267" y="371"/>
                  </a:lnTo>
                  <a:lnTo>
                    <a:pt x="278" y="383"/>
                  </a:lnTo>
                  <a:lnTo>
                    <a:pt x="289" y="399"/>
                  </a:lnTo>
                  <a:lnTo>
                    <a:pt x="290" y="418"/>
                  </a:lnTo>
                  <a:lnTo>
                    <a:pt x="299" y="416"/>
                  </a:lnTo>
                  <a:lnTo>
                    <a:pt x="310" y="409"/>
                  </a:lnTo>
                  <a:lnTo>
                    <a:pt x="322" y="397"/>
                  </a:lnTo>
                  <a:lnTo>
                    <a:pt x="330" y="383"/>
                  </a:lnTo>
                  <a:lnTo>
                    <a:pt x="332" y="394"/>
                  </a:lnTo>
                  <a:lnTo>
                    <a:pt x="326" y="409"/>
                  </a:lnTo>
                  <a:lnTo>
                    <a:pt x="318" y="420"/>
                  </a:lnTo>
                  <a:lnTo>
                    <a:pt x="328" y="422"/>
                  </a:lnTo>
                  <a:lnTo>
                    <a:pt x="332" y="412"/>
                  </a:lnTo>
                  <a:lnTo>
                    <a:pt x="337" y="405"/>
                  </a:lnTo>
                  <a:lnTo>
                    <a:pt x="337" y="412"/>
                  </a:lnTo>
                  <a:lnTo>
                    <a:pt x="339" y="422"/>
                  </a:lnTo>
                  <a:lnTo>
                    <a:pt x="348" y="431"/>
                  </a:lnTo>
                  <a:lnTo>
                    <a:pt x="349" y="442"/>
                  </a:lnTo>
                  <a:lnTo>
                    <a:pt x="344" y="456"/>
                  </a:lnTo>
                  <a:lnTo>
                    <a:pt x="358" y="471"/>
                  </a:lnTo>
                  <a:lnTo>
                    <a:pt x="389" y="482"/>
                  </a:lnTo>
                  <a:lnTo>
                    <a:pt x="425" y="490"/>
                  </a:lnTo>
                  <a:lnTo>
                    <a:pt x="450" y="481"/>
                  </a:lnTo>
                  <a:lnTo>
                    <a:pt x="491" y="460"/>
                  </a:lnTo>
                  <a:lnTo>
                    <a:pt x="503" y="429"/>
                  </a:lnTo>
                  <a:lnTo>
                    <a:pt x="521" y="415"/>
                  </a:lnTo>
                  <a:lnTo>
                    <a:pt x="534" y="388"/>
                  </a:lnTo>
                  <a:lnTo>
                    <a:pt x="558" y="366"/>
                  </a:lnTo>
                  <a:lnTo>
                    <a:pt x="565" y="355"/>
                  </a:lnTo>
                  <a:lnTo>
                    <a:pt x="565" y="316"/>
                  </a:lnTo>
                  <a:lnTo>
                    <a:pt x="574" y="263"/>
                  </a:lnTo>
                  <a:lnTo>
                    <a:pt x="572" y="251"/>
                  </a:lnTo>
                  <a:lnTo>
                    <a:pt x="555" y="228"/>
                  </a:lnTo>
                  <a:lnTo>
                    <a:pt x="546" y="201"/>
                  </a:lnTo>
                  <a:lnTo>
                    <a:pt x="527" y="191"/>
                  </a:lnTo>
                  <a:lnTo>
                    <a:pt x="523" y="165"/>
                  </a:lnTo>
                  <a:lnTo>
                    <a:pt x="494" y="150"/>
                  </a:lnTo>
                  <a:lnTo>
                    <a:pt x="493" y="117"/>
                  </a:lnTo>
                  <a:lnTo>
                    <a:pt x="483" y="80"/>
                  </a:lnTo>
                  <a:lnTo>
                    <a:pt x="465" y="60"/>
                  </a:lnTo>
                  <a:lnTo>
                    <a:pt x="455" y="33"/>
                  </a:lnTo>
                  <a:lnTo>
                    <a:pt x="463" y="19"/>
                  </a:lnTo>
                  <a:lnTo>
                    <a:pt x="448" y="0"/>
                  </a:lnTo>
                  <a:lnTo>
                    <a:pt x="437" y="19"/>
                  </a:lnTo>
                  <a:lnTo>
                    <a:pt x="429" y="30"/>
                  </a:lnTo>
                  <a:lnTo>
                    <a:pt x="430" y="89"/>
                  </a:lnTo>
                  <a:lnTo>
                    <a:pt x="421" y="104"/>
                  </a:lnTo>
                  <a:lnTo>
                    <a:pt x="416" y="113"/>
                  </a:lnTo>
                  <a:lnTo>
                    <a:pt x="399" y="113"/>
                  </a:lnTo>
                  <a:lnTo>
                    <a:pt x="384" y="100"/>
                  </a:lnTo>
                  <a:lnTo>
                    <a:pt x="365" y="93"/>
                  </a:lnTo>
                  <a:lnTo>
                    <a:pt x="353" y="81"/>
                  </a:lnTo>
                  <a:lnTo>
                    <a:pt x="342" y="77"/>
                  </a:lnTo>
                  <a:lnTo>
                    <a:pt x="348" y="62"/>
                  </a:lnTo>
                  <a:lnTo>
                    <a:pt x="351" y="49"/>
                  </a:lnTo>
                  <a:lnTo>
                    <a:pt x="360" y="46"/>
                  </a:lnTo>
                  <a:lnTo>
                    <a:pt x="366" y="28"/>
                  </a:lnTo>
                  <a:lnTo>
                    <a:pt x="347" y="25"/>
                  </a:lnTo>
                  <a:lnTo>
                    <a:pt x="328" y="23"/>
                  </a:lnTo>
                  <a:lnTo>
                    <a:pt x="307" y="12"/>
                  </a:lnTo>
                  <a:lnTo>
                    <a:pt x="284" y="9"/>
                  </a:lnTo>
                  <a:lnTo>
                    <a:pt x="282" y="15"/>
                  </a:lnTo>
                  <a:lnTo>
                    <a:pt x="293" y="2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75" name="Freeform 136">
              <a:extLst>
                <a:ext uri="{FF2B5EF4-FFF2-40B4-BE49-F238E27FC236}">
                  <a16:creationId xmlns:a16="http://schemas.microsoft.com/office/drawing/2014/main" id="{A6B969C4-E363-4F2A-ACA0-24EF4D1290BA}"/>
                </a:ext>
              </a:extLst>
            </p:cNvPr>
            <p:cNvSpPr>
              <a:spLocks/>
            </p:cNvSpPr>
            <p:nvPr/>
          </p:nvSpPr>
          <p:spPr bwMode="auto">
            <a:xfrm>
              <a:off x="6187130" y="5009368"/>
              <a:ext cx="67763" cy="72540"/>
            </a:xfrm>
            <a:custGeom>
              <a:avLst/>
              <a:gdLst>
                <a:gd name="T0" fmla="*/ 3 w 52"/>
                <a:gd name="T1" fmla="*/ 0 h 53"/>
                <a:gd name="T2" fmla="*/ 22 w 52"/>
                <a:gd name="T3" fmla="*/ 4 h 53"/>
                <a:gd name="T4" fmla="*/ 51 w 52"/>
                <a:gd name="T5" fmla="*/ 4 h 53"/>
                <a:gd name="T6" fmla="*/ 49 w 52"/>
                <a:gd name="T7" fmla="*/ 21 h 53"/>
                <a:gd name="T8" fmla="*/ 40 w 52"/>
                <a:gd name="T9" fmla="*/ 34 h 53"/>
                <a:gd name="T10" fmla="*/ 38 w 52"/>
                <a:gd name="T11" fmla="*/ 47 h 53"/>
                <a:gd name="T12" fmla="*/ 22 w 52"/>
                <a:gd name="T13" fmla="*/ 50 h 53"/>
                <a:gd name="T14" fmla="*/ 11 w 52"/>
                <a:gd name="T15" fmla="*/ 52 h 53"/>
                <a:gd name="T16" fmla="*/ 0 w 52"/>
                <a:gd name="T17" fmla="*/ 45 h 53"/>
                <a:gd name="T18" fmla="*/ 3 w 52"/>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3">
                  <a:moveTo>
                    <a:pt x="3" y="0"/>
                  </a:moveTo>
                  <a:lnTo>
                    <a:pt x="22" y="4"/>
                  </a:lnTo>
                  <a:lnTo>
                    <a:pt x="51" y="4"/>
                  </a:lnTo>
                  <a:lnTo>
                    <a:pt x="49" y="21"/>
                  </a:lnTo>
                  <a:lnTo>
                    <a:pt x="40" y="34"/>
                  </a:lnTo>
                  <a:lnTo>
                    <a:pt x="38" y="47"/>
                  </a:lnTo>
                  <a:lnTo>
                    <a:pt x="22" y="50"/>
                  </a:lnTo>
                  <a:lnTo>
                    <a:pt x="11" y="52"/>
                  </a:lnTo>
                  <a:lnTo>
                    <a:pt x="0" y="45"/>
                  </a:lnTo>
                  <a:lnTo>
                    <a:pt x="3"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76" name="Freeform 137">
              <a:extLst>
                <a:ext uri="{FF2B5EF4-FFF2-40B4-BE49-F238E27FC236}">
                  <a16:creationId xmlns:a16="http://schemas.microsoft.com/office/drawing/2014/main" id="{C24DDA97-7DF1-4B3E-878C-8B7C64A7034E}"/>
                </a:ext>
              </a:extLst>
            </p:cNvPr>
            <p:cNvSpPr>
              <a:spLocks/>
            </p:cNvSpPr>
            <p:nvPr/>
          </p:nvSpPr>
          <p:spPr bwMode="auto">
            <a:xfrm>
              <a:off x="6640073" y="4532506"/>
              <a:ext cx="48742" cy="39243"/>
            </a:xfrm>
            <a:custGeom>
              <a:avLst/>
              <a:gdLst>
                <a:gd name="T0" fmla="*/ 11 w 37"/>
                <a:gd name="T1" fmla="*/ 0 h 29"/>
                <a:gd name="T2" fmla="*/ 0 w 37"/>
                <a:gd name="T3" fmla="*/ 5 h 29"/>
                <a:gd name="T4" fmla="*/ 8 w 37"/>
                <a:gd name="T5" fmla="*/ 13 h 29"/>
                <a:gd name="T6" fmla="*/ 18 w 37"/>
                <a:gd name="T7" fmla="*/ 22 h 29"/>
                <a:gd name="T8" fmla="*/ 32 w 37"/>
                <a:gd name="T9" fmla="*/ 28 h 29"/>
                <a:gd name="T10" fmla="*/ 36 w 37"/>
                <a:gd name="T11" fmla="*/ 20 h 29"/>
                <a:gd name="T12" fmla="*/ 26 w 37"/>
                <a:gd name="T13" fmla="*/ 5 h 29"/>
                <a:gd name="T14" fmla="*/ 11 w 37"/>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9">
                  <a:moveTo>
                    <a:pt x="11" y="0"/>
                  </a:moveTo>
                  <a:lnTo>
                    <a:pt x="0" y="5"/>
                  </a:lnTo>
                  <a:lnTo>
                    <a:pt x="8" y="13"/>
                  </a:lnTo>
                  <a:lnTo>
                    <a:pt x="18" y="22"/>
                  </a:lnTo>
                  <a:lnTo>
                    <a:pt x="32" y="28"/>
                  </a:lnTo>
                  <a:lnTo>
                    <a:pt x="36" y="20"/>
                  </a:lnTo>
                  <a:lnTo>
                    <a:pt x="26" y="5"/>
                  </a:lnTo>
                  <a:lnTo>
                    <a:pt x="11"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77" name="Freeform 138">
              <a:extLst>
                <a:ext uri="{FF2B5EF4-FFF2-40B4-BE49-F238E27FC236}">
                  <a16:creationId xmlns:a16="http://schemas.microsoft.com/office/drawing/2014/main" id="{893B217D-0809-47A5-8FE8-6BD53BE150E5}"/>
                </a:ext>
              </a:extLst>
            </p:cNvPr>
            <p:cNvSpPr>
              <a:spLocks/>
            </p:cNvSpPr>
            <p:nvPr/>
          </p:nvSpPr>
          <p:spPr bwMode="auto">
            <a:xfrm>
              <a:off x="6421328" y="4107968"/>
              <a:ext cx="38042" cy="57081"/>
            </a:xfrm>
            <a:custGeom>
              <a:avLst/>
              <a:gdLst>
                <a:gd name="T0" fmla="*/ 0 w 28"/>
                <a:gd name="T1" fmla="*/ 0 h 42"/>
                <a:gd name="T2" fmla="*/ 10 w 28"/>
                <a:gd name="T3" fmla="*/ 20 h 42"/>
                <a:gd name="T4" fmla="*/ 23 w 28"/>
                <a:gd name="T5" fmla="*/ 41 h 42"/>
                <a:gd name="T6" fmla="*/ 27 w 28"/>
                <a:gd name="T7" fmla="*/ 15 h 42"/>
                <a:gd name="T8" fmla="*/ 0 w 28"/>
                <a:gd name="T9" fmla="*/ 0 h 42"/>
              </a:gdLst>
              <a:ahLst/>
              <a:cxnLst>
                <a:cxn ang="0">
                  <a:pos x="T0" y="T1"/>
                </a:cxn>
                <a:cxn ang="0">
                  <a:pos x="T2" y="T3"/>
                </a:cxn>
                <a:cxn ang="0">
                  <a:pos x="T4" y="T5"/>
                </a:cxn>
                <a:cxn ang="0">
                  <a:pos x="T6" y="T7"/>
                </a:cxn>
                <a:cxn ang="0">
                  <a:pos x="T8" y="T9"/>
                </a:cxn>
              </a:cxnLst>
              <a:rect l="0" t="0" r="r" b="b"/>
              <a:pathLst>
                <a:path w="28" h="42">
                  <a:moveTo>
                    <a:pt x="0" y="0"/>
                  </a:moveTo>
                  <a:lnTo>
                    <a:pt x="10" y="20"/>
                  </a:lnTo>
                  <a:lnTo>
                    <a:pt x="23" y="41"/>
                  </a:lnTo>
                  <a:lnTo>
                    <a:pt x="27" y="15"/>
                  </a:lnTo>
                  <a:lnTo>
                    <a:pt x="0"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78" name="Freeform 139">
              <a:extLst>
                <a:ext uri="{FF2B5EF4-FFF2-40B4-BE49-F238E27FC236}">
                  <a16:creationId xmlns:a16="http://schemas.microsoft.com/office/drawing/2014/main" id="{7A6CD468-12BD-4B05-BF4C-B72DA6EECDCA}"/>
                </a:ext>
              </a:extLst>
            </p:cNvPr>
            <p:cNvSpPr>
              <a:spLocks/>
            </p:cNvSpPr>
            <p:nvPr/>
          </p:nvSpPr>
          <p:spPr bwMode="auto">
            <a:xfrm>
              <a:off x="6245382" y="4138886"/>
              <a:ext cx="160492" cy="167675"/>
            </a:xfrm>
            <a:custGeom>
              <a:avLst/>
              <a:gdLst>
                <a:gd name="T0" fmla="*/ 19 w 119"/>
                <a:gd name="T1" fmla="*/ 74 h 125"/>
                <a:gd name="T2" fmla="*/ 0 w 119"/>
                <a:gd name="T3" fmla="*/ 0 h 125"/>
                <a:gd name="T4" fmla="*/ 16 w 119"/>
                <a:gd name="T5" fmla="*/ 6 h 125"/>
                <a:gd name="T6" fmla="*/ 40 w 119"/>
                <a:gd name="T7" fmla="*/ 5 h 125"/>
                <a:gd name="T8" fmla="*/ 40 w 119"/>
                <a:gd name="T9" fmla="*/ 25 h 125"/>
                <a:gd name="T10" fmla="*/ 55 w 119"/>
                <a:gd name="T11" fmla="*/ 30 h 125"/>
                <a:gd name="T12" fmla="*/ 59 w 119"/>
                <a:gd name="T13" fmla="*/ 40 h 125"/>
                <a:gd name="T14" fmla="*/ 70 w 119"/>
                <a:gd name="T15" fmla="*/ 51 h 125"/>
                <a:gd name="T16" fmla="*/ 78 w 119"/>
                <a:gd name="T17" fmla="*/ 59 h 125"/>
                <a:gd name="T18" fmla="*/ 76 w 119"/>
                <a:gd name="T19" fmla="*/ 76 h 125"/>
                <a:gd name="T20" fmla="*/ 87 w 119"/>
                <a:gd name="T21" fmla="*/ 95 h 125"/>
                <a:gd name="T22" fmla="*/ 107 w 119"/>
                <a:gd name="T23" fmla="*/ 101 h 125"/>
                <a:gd name="T24" fmla="*/ 118 w 119"/>
                <a:gd name="T25" fmla="*/ 120 h 125"/>
                <a:gd name="T26" fmla="*/ 116 w 119"/>
                <a:gd name="T27" fmla="*/ 120 h 125"/>
                <a:gd name="T28" fmla="*/ 115 w 119"/>
                <a:gd name="T29" fmla="*/ 121 h 125"/>
                <a:gd name="T30" fmla="*/ 113 w 119"/>
                <a:gd name="T31" fmla="*/ 121 h 125"/>
                <a:gd name="T32" fmla="*/ 110 w 119"/>
                <a:gd name="T33" fmla="*/ 121 h 125"/>
                <a:gd name="T34" fmla="*/ 108 w 119"/>
                <a:gd name="T35" fmla="*/ 122 h 125"/>
                <a:gd name="T36" fmla="*/ 106 w 119"/>
                <a:gd name="T37" fmla="*/ 123 h 125"/>
                <a:gd name="T38" fmla="*/ 103 w 119"/>
                <a:gd name="T39" fmla="*/ 123 h 125"/>
                <a:gd name="T40" fmla="*/ 101 w 119"/>
                <a:gd name="T41" fmla="*/ 124 h 125"/>
                <a:gd name="T42" fmla="*/ 99 w 119"/>
                <a:gd name="T43" fmla="*/ 124 h 125"/>
                <a:gd name="T44" fmla="*/ 97 w 119"/>
                <a:gd name="T45" fmla="*/ 124 h 125"/>
                <a:gd name="T46" fmla="*/ 96 w 119"/>
                <a:gd name="T47" fmla="*/ 124 h 125"/>
                <a:gd name="T48" fmla="*/ 95 w 119"/>
                <a:gd name="T49" fmla="*/ 122 h 125"/>
                <a:gd name="T50" fmla="*/ 93 w 119"/>
                <a:gd name="T51" fmla="*/ 121 h 125"/>
                <a:gd name="T52" fmla="*/ 91 w 119"/>
                <a:gd name="T53" fmla="*/ 121 h 125"/>
                <a:gd name="T54" fmla="*/ 88 w 119"/>
                <a:gd name="T55" fmla="*/ 121 h 125"/>
                <a:gd name="T56" fmla="*/ 86 w 119"/>
                <a:gd name="T57" fmla="*/ 120 h 125"/>
                <a:gd name="T58" fmla="*/ 83 w 119"/>
                <a:gd name="T59" fmla="*/ 119 h 125"/>
                <a:gd name="T60" fmla="*/ 81 w 119"/>
                <a:gd name="T61" fmla="*/ 118 h 125"/>
                <a:gd name="T62" fmla="*/ 78 w 119"/>
                <a:gd name="T63" fmla="*/ 117 h 125"/>
                <a:gd name="T64" fmla="*/ 76 w 119"/>
                <a:gd name="T65" fmla="*/ 117 h 125"/>
                <a:gd name="T66" fmla="*/ 75 w 119"/>
                <a:gd name="T67" fmla="*/ 117 h 125"/>
                <a:gd name="T68" fmla="*/ 74 w 119"/>
                <a:gd name="T69" fmla="*/ 117 h 125"/>
                <a:gd name="T70" fmla="*/ 55 w 119"/>
                <a:gd name="T71" fmla="*/ 97 h 125"/>
                <a:gd name="T72" fmla="*/ 41 w 119"/>
                <a:gd name="T73" fmla="*/ 78 h 125"/>
                <a:gd name="T74" fmla="*/ 19 w 119"/>
                <a:gd name="T75" fmla="*/ 7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125">
                  <a:moveTo>
                    <a:pt x="19" y="74"/>
                  </a:moveTo>
                  <a:lnTo>
                    <a:pt x="0" y="0"/>
                  </a:lnTo>
                  <a:lnTo>
                    <a:pt x="16" y="6"/>
                  </a:lnTo>
                  <a:lnTo>
                    <a:pt x="40" y="5"/>
                  </a:lnTo>
                  <a:lnTo>
                    <a:pt x="40" y="25"/>
                  </a:lnTo>
                  <a:lnTo>
                    <a:pt x="55" y="30"/>
                  </a:lnTo>
                  <a:lnTo>
                    <a:pt x="59" y="40"/>
                  </a:lnTo>
                  <a:lnTo>
                    <a:pt x="70" y="51"/>
                  </a:lnTo>
                  <a:lnTo>
                    <a:pt x="78" y="59"/>
                  </a:lnTo>
                  <a:lnTo>
                    <a:pt x="76" y="76"/>
                  </a:lnTo>
                  <a:lnTo>
                    <a:pt x="87" y="95"/>
                  </a:lnTo>
                  <a:lnTo>
                    <a:pt x="107" y="101"/>
                  </a:lnTo>
                  <a:lnTo>
                    <a:pt x="118" y="120"/>
                  </a:lnTo>
                  <a:lnTo>
                    <a:pt x="116" y="120"/>
                  </a:lnTo>
                  <a:lnTo>
                    <a:pt x="115" y="121"/>
                  </a:lnTo>
                  <a:lnTo>
                    <a:pt x="113" y="121"/>
                  </a:lnTo>
                  <a:lnTo>
                    <a:pt x="110" y="121"/>
                  </a:lnTo>
                  <a:lnTo>
                    <a:pt x="108" y="122"/>
                  </a:lnTo>
                  <a:lnTo>
                    <a:pt x="106" y="123"/>
                  </a:lnTo>
                  <a:lnTo>
                    <a:pt x="103" y="123"/>
                  </a:lnTo>
                  <a:lnTo>
                    <a:pt x="101" y="124"/>
                  </a:lnTo>
                  <a:lnTo>
                    <a:pt x="99" y="124"/>
                  </a:lnTo>
                  <a:lnTo>
                    <a:pt x="97" y="124"/>
                  </a:lnTo>
                  <a:lnTo>
                    <a:pt x="96" y="124"/>
                  </a:lnTo>
                  <a:lnTo>
                    <a:pt x="95" y="122"/>
                  </a:lnTo>
                  <a:lnTo>
                    <a:pt x="93" y="121"/>
                  </a:lnTo>
                  <a:lnTo>
                    <a:pt x="91" y="121"/>
                  </a:lnTo>
                  <a:lnTo>
                    <a:pt x="88" y="121"/>
                  </a:lnTo>
                  <a:lnTo>
                    <a:pt x="86" y="120"/>
                  </a:lnTo>
                  <a:lnTo>
                    <a:pt x="83" y="119"/>
                  </a:lnTo>
                  <a:lnTo>
                    <a:pt x="81" y="118"/>
                  </a:lnTo>
                  <a:lnTo>
                    <a:pt x="78" y="117"/>
                  </a:lnTo>
                  <a:lnTo>
                    <a:pt x="76" y="117"/>
                  </a:lnTo>
                  <a:lnTo>
                    <a:pt x="75" y="117"/>
                  </a:lnTo>
                  <a:lnTo>
                    <a:pt x="74" y="117"/>
                  </a:lnTo>
                  <a:lnTo>
                    <a:pt x="55" y="97"/>
                  </a:lnTo>
                  <a:lnTo>
                    <a:pt x="41" y="78"/>
                  </a:lnTo>
                  <a:lnTo>
                    <a:pt x="19" y="74"/>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79" name="Freeform 140">
              <a:extLst>
                <a:ext uri="{FF2B5EF4-FFF2-40B4-BE49-F238E27FC236}">
                  <a16:creationId xmlns:a16="http://schemas.microsoft.com/office/drawing/2014/main" id="{332E61EC-8941-4128-9082-0D0087463EF6}"/>
                </a:ext>
              </a:extLst>
            </p:cNvPr>
            <p:cNvSpPr>
              <a:spLocks/>
            </p:cNvSpPr>
            <p:nvPr/>
          </p:nvSpPr>
          <p:spPr bwMode="auto">
            <a:xfrm>
              <a:off x="6374964" y="4169805"/>
              <a:ext cx="54686" cy="44000"/>
            </a:xfrm>
            <a:custGeom>
              <a:avLst/>
              <a:gdLst>
                <a:gd name="T0" fmla="*/ 2 w 41"/>
                <a:gd name="T1" fmla="*/ 16 h 33"/>
                <a:gd name="T2" fmla="*/ 0 w 41"/>
                <a:gd name="T3" fmla="*/ 28 h 33"/>
                <a:gd name="T4" fmla="*/ 16 w 41"/>
                <a:gd name="T5" fmla="*/ 32 h 33"/>
                <a:gd name="T6" fmla="*/ 32 w 41"/>
                <a:gd name="T7" fmla="*/ 22 h 33"/>
                <a:gd name="T8" fmla="*/ 40 w 41"/>
                <a:gd name="T9" fmla="*/ 11 h 33"/>
                <a:gd name="T10" fmla="*/ 38 w 41"/>
                <a:gd name="T11" fmla="*/ 0 h 33"/>
                <a:gd name="T12" fmla="*/ 26 w 41"/>
                <a:gd name="T13" fmla="*/ 1 h 33"/>
                <a:gd name="T14" fmla="*/ 24 w 41"/>
                <a:gd name="T15" fmla="*/ 11 h 33"/>
                <a:gd name="T16" fmla="*/ 2 w 41"/>
                <a:gd name="T17"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3">
                  <a:moveTo>
                    <a:pt x="2" y="16"/>
                  </a:moveTo>
                  <a:lnTo>
                    <a:pt x="0" y="28"/>
                  </a:lnTo>
                  <a:lnTo>
                    <a:pt x="16" y="32"/>
                  </a:lnTo>
                  <a:lnTo>
                    <a:pt x="32" y="22"/>
                  </a:lnTo>
                  <a:lnTo>
                    <a:pt x="40" y="11"/>
                  </a:lnTo>
                  <a:lnTo>
                    <a:pt x="38" y="0"/>
                  </a:lnTo>
                  <a:lnTo>
                    <a:pt x="26" y="1"/>
                  </a:lnTo>
                  <a:lnTo>
                    <a:pt x="24" y="11"/>
                  </a:lnTo>
                  <a:lnTo>
                    <a:pt x="2" y="16"/>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80" name="Freeform 141">
              <a:extLst>
                <a:ext uri="{FF2B5EF4-FFF2-40B4-BE49-F238E27FC236}">
                  <a16:creationId xmlns:a16="http://schemas.microsoft.com/office/drawing/2014/main" id="{366F33C5-3555-4D7F-9F45-9099A70FD2C1}"/>
                </a:ext>
              </a:extLst>
            </p:cNvPr>
            <p:cNvSpPr>
              <a:spLocks/>
            </p:cNvSpPr>
            <p:nvPr/>
          </p:nvSpPr>
          <p:spPr bwMode="auto">
            <a:xfrm>
              <a:off x="6464126" y="4181697"/>
              <a:ext cx="27343" cy="21405"/>
            </a:xfrm>
            <a:custGeom>
              <a:avLst/>
              <a:gdLst>
                <a:gd name="T0" fmla="*/ 10 w 21"/>
                <a:gd name="T1" fmla="*/ 15 h 16"/>
                <a:gd name="T2" fmla="*/ 11 w 21"/>
                <a:gd name="T3" fmla="*/ 14 h 16"/>
                <a:gd name="T4" fmla="*/ 13 w 21"/>
                <a:gd name="T5" fmla="*/ 14 h 16"/>
                <a:gd name="T6" fmla="*/ 15 w 21"/>
                <a:gd name="T7" fmla="*/ 13 h 16"/>
                <a:gd name="T8" fmla="*/ 16 w 21"/>
                <a:gd name="T9" fmla="*/ 13 h 16"/>
                <a:gd name="T10" fmla="*/ 17 w 21"/>
                <a:gd name="T11" fmla="*/ 12 h 16"/>
                <a:gd name="T12" fmla="*/ 18 w 21"/>
                <a:gd name="T13" fmla="*/ 11 h 16"/>
                <a:gd name="T14" fmla="*/ 19 w 21"/>
                <a:gd name="T15" fmla="*/ 11 h 16"/>
                <a:gd name="T16" fmla="*/ 20 w 21"/>
                <a:gd name="T17" fmla="*/ 9 h 16"/>
                <a:gd name="T18" fmla="*/ 20 w 21"/>
                <a:gd name="T19" fmla="*/ 8 h 16"/>
                <a:gd name="T20" fmla="*/ 20 w 21"/>
                <a:gd name="T21" fmla="*/ 7 h 16"/>
                <a:gd name="T22" fmla="*/ 20 w 21"/>
                <a:gd name="T23" fmla="*/ 6 h 16"/>
                <a:gd name="T24" fmla="*/ 20 w 21"/>
                <a:gd name="T25" fmla="*/ 5 h 16"/>
                <a:gd name="T26" fmla="*/ 19 w 21"/>
                <a:gd name="T27" fmla="*/ 4 h 16"/>
                <a:gd name="T28" fmla="*/ 18 w 21"/>
                <a:gd name="T29" fmla="*/ 4 h 16"/>
                <a:gd name="T30" fmla="*/ 18 w 21"/>
                <a:gd name="T31" fmla="*/ 3 h 16"/>
                <a:gd name="T32" fmla="*/ 17 w 21"/>
                <a:gd name="T33" fmla="*/ 2 h 16"/>
                <a:gd name="T34" fmla="*/ 16 w 21"/>
                <a:gd name="T35" fmla="*/ 1 h 16"/>
                <a:gd name="T36" fmla="*/ 15 w 21"/>
                <a:gd name="T37" fmla="*/ 1 h 16"/>
                <a:gd name="T38" fmla="*/ 13 w 21"/>
                <a:gd name="T39" fmla="*/ 0 h 16"/>
                <a:gd name="T40" fmla="*/ 11 w 21"/>
                <a:gd name="T41" fmla="*/ 0 h 16"/>
                <a:gd name="T42" fmla="*/ 10 w 21"/>
                <a:gd name="T43" fmla="*/ 0 h 16"/>
                <a:gd name="T44" fmla="*/ 8 w 21"/>
                <a:gd name="T45" fmla="*/ 0 h 16"/>
                <a:gd name="T46" fmla="*/ 7 w 21"/>
                <a:gd name="T47" fmla="*/ 0 h 16"/>
                <a:gd name="T48" fmla="*/ 5 w 21"/>
                <a:gd name="T49" fmla="*/ 0 h 16"/>
                <a:gd name="T50" fmla="*/ 5 w 21"/>
                <a:gd name="T51" fmla="*/ 1 h 16"/>
                <a:gd name="T52" fmla="*/ 3 w 21"/>
                <a:gd name="T53" fmla="*/ 1 h 16"/>
                <a:gd name="T54" fmla="*/ 3 w 21"/>
                <a:gd name="T55" fmla="*/ 2 h 16"/>
                <a:gd name="T56" fmla="*/ 2 w 21"/>
                <a:gd name="T57" fmla="*/ 3 h 16"/>
                <a:gd name="T58" fmla="*/ 1 w 21"/>
                <a:gd name="T59" fmla="*/ 4 h 16"/>
                <a:gd name="T60" fmla="*/ 0 w 21"/>
                <a:gd name="T61" fmla="*/ 5 h 16"/>
                <a:gd name="T62" fmla="*/ 0 w 21"/>
                <a:gd name="T63" fmla="*/ 6 h 16"/>
                <a:gd name="T64" fmla="*/ 0 w 21"/>
                <a:gd name="T65" fmla="*/ 7 h 16"/>
                <a:gd name="T66" fmla="*/ 0 w 21"/>
                <a:gd name="T67" fmla="*/ 8 h 16"/>
                <a:gd name="T68" fmla="*/ 0 w 21"/>
                <a:gd name="T69" fmla="*/ 9 h 16"/>
                <a:gd name="T70" fmla="*/ 1 w 21"/>
                <a:gd name="T71" fmla="*/ 11 h 16"/>
                <a:gd name="T72" fmla="*/ 2 w 21"/>
                <a:gd name="T73" fmla="*/ 11 h 16"/>
                <a:gd name="T74" fmla="*/ 3 w 21"/>
                <a:gd name="T75" fmla="*/ 12 h 16"/>
                <a:gd name="T76" fmla="*/ 3 w 21"/>
                <a:gd name="T77" fmla="*/ 13 h 16"/>
                <a:gd name="T78" fmla="*/ 5 w 21"/>
                <a:gd name="T79" fmla="*/ 13 h 16"/>
                <a:gd name="T80" fmla="*/ 5 w 21"/>
                <a:gd name="T81" fmla="*/ 14 h 16"/>
                <a:gd name="T82" fmla="*/ 7 w 21"/>
                <a:gd name="T83" fmla="*/ 14 h 16"/>
                <a:gd name="T84" fmla="*/ 8 w 21"/>
                <a:gd name="T85" fmla="*/ 14 h 16"/>
                <a:gd name="T86" fmla="*/ 10 w 21"/>
                <a:gd name="T8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 h="16">
                  <a:moveTo>
                    <a:pt x="10" y="15"/>
                  </a:moveTo>
                  <a:lnTo>
                    <a:pt x="11" y="14"/>
                  </a:lnTo>
                  <a:lnTo>
                    <a:pt x="13" y="14"/>
                  </a:lnTo>
                  <a:lnTo>
                    <a:pt x="15" y="13"/>
                  </a:lnTo>
                  <a:lnTo>
                    <a:pt x="16" y="13"/>
                  </a:lnTo>
                  <a:lnTo>
                    <a:pt x="17" y="12"/>
                  </a:lnTo>
                  <a:lnTo>
                    <a:pt x="18" y="11"/>
                  </a:lnTo>
                  <a:lnTo>
                    <a:pt x="19" y="11"/>
                  </a:lnTo>
                  <a:lnTo>
                    <a:pt x="20" y="9"/>
                  </a:lnTo>
                  <a:lnTo>
                    <a:pt x="20" y="8"/>
                  </a:lnTo>
                  <a:lnTo>
                    <a:pt x="20" y="7"/>
                  </a:lnTo>
                  <a:lnTo>
                    <a:pt x="20" y="6"/>
                  </a:lnTo>
                  <a:lnTo>
                    <a:pt x="20" y="5"/>
                  </a:lnTo>
                  <a:lnTo>
                    <a:pt x="19" y="4"/>
                  </a:lnTo>
                  <a:lnTo>
                    <a:pt x="18" y="4"/>
                  </a:lnTo>
                  <a:lnTo>
                    <a:pt x="18" y="3"/>
                  </a:lnTo>
                  <a:lnTo>
                    <a:pt x="17" y="2"/>
                  </a:lnTo>
                  <a:lnTo>
                    <a:pt x="16" y="1"/>
                  </a:lnTo>
                  <a:lnTo>
                    <a:pt x="15" y="1"/>
                  </a:lnTo>
                  <a:lnTo>
                    <a:pt x="13" y="0"/>
                  </a:lnTo>
                  <a:lnTo>
                    <a:pt x="11" y="0"/>
                  </a:lnTo>
                  <a:lnTo>
                    <a:pt x="10" y="0"/>
                  </a:lnTo>
                  <a:lnTo>
                    <a:pt x="8" y="0"/>
                  </a:lnTo>
                  <a:lnTo>
                    <a:pt x="7" y="0"/>
                  </a:lnTo>
                  <a:lnTo>
                    <a:pt x="5" y="0"/>
                  </a:lnTo>
                  <a:lnTo>
                    <a:pt x="5" y="1"/>
                  </a:lnTo>
                  <a:lnTo>
                    <a:pt x="3" y="1"/>
                  </a:lnTo>
                  <a:lnTo>
                    <a:pt x="3" y="2"/>
                  </a:lnTo>
                  <a:lnTo>
                    <a:pt x="2" y="3"/>
                  </a:lnTo>
                  <a:lnTo>
                    <a:pt x="1" y="4"/>
                  </a:lnTo>
                  <a:lnTo>
                    <a:pt x="0" y="5"/>
                  </a:lnTo>
                  <a:lnTo>
                    <a:pt x="0" y="6"/>
                  </a:lnTo>
                  <a:lnTo>
                    <a:pt x="0" y="7"/>
                  </a:lnTo>
                  <a:lnTo>
                    <a:pt x="0" y="8"/>
                  </a:lnTo>
                  <a:lnTo>
                    <a:pt x="0" y="9"/>
                  </a:lnTo>
                  <a:lnTo>
                    <a:pt x="1" y="11"/>
                  </a:lnTo>
                  <a:lnTo>
                    <a:pt x="2" y="11"/>
                  </a:lnTo>
                  <a:lnTo>
                    <a:pt x="3" y="12"/>
                  </a:lnTo>
                  <a:lnTo>
                    <a:pt x="3" y="13"/>
                  </a:lnTo>
                  <a:lnTo>
                    <a:pt x="5" y="13"/>
                  </a:lnTo>
                  <a:lnTo>
                    <a:pt x="5" y="14"/>
                  </a:lnTo>
                  <a:lnTo>
                    <a:pt x="7" y="14"/>
                  </a:lnTo>
                  <a:lnTo>
                    <a:pt x="8" y="14"/>
                  </a:lnTo>
                  <a:lnTo>
                    <a:pt x="10" y="15"/>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81" name="Freeform 142">
              <a:extLst>
                <a:ext uri="{FF2B5EF4-FFF2-40B4-BE49-F238E27FC236}">
                  <a16:creationId xmlns:a16="http://schemas.microsoft.com/office/drawing/2014/main" id="{18066EA6-BB79-4B67-AF14-71F2724E4330}"/>
                </a:ext>
              </a:extLst>
            </p:cNvPr>
            <p:cNvSpPr>
              <a:spLocks/>
            </p:cNvSpPr>
            <p:nvPr/>
          </p:nvSpPr>
          <p:spPr bwMode="auto">
            <a:xfrm>
              <a:off x="5961253" y="4109157"/>
              <a:ext cx="24965" cy="21405"/>
            </a:xfrm>
            <a:custGeom>
              <a:avLst/>
              <a:gdLst>
                <a:gd name="T0" fmla="*/ 9 w 19"/>
                <a:gd name="T1" fmla="*/ 14 h 15"/>
                <a:gd name="T2" fmla="*/ 8 w 19"/>
                <a:gd name="T3" fmla="*/ 14 h 15"/>
                <a:gd name="T4" fmla="*/ 6 w 19"/>
                <a:gd name="T5" fmla="*/ 14 h 15"/>
                <a:gd name="T6" fmla="*/ 5 w 19"/>
                <a:gd name="T7" fmla="*/ 14 h 15"/>
                <a:gd name="T8" fmla="*/ 4 w 19"/>
                <a:gd name="T9" fmla="*/ 14 h 15"/>
                <a:gd name="T10" fmla="*/ 3 w 19"/>
                <a:gd name="T11" fmla="*/ 12 h 15"/>
                <a:gd name="T12" fmla="*/ 2 w 19"/>
                <a:gd name="T13" fmla="*/ 12 h 15"/>
                <a:gd name="T14" fmla="*/ 1 w 19"/>
                <a:gd name="T15" fmla="*/ 12 h 15"/>
                <a:gd name="T16" fmla="*/ 0 w 19"/>
                <a:gd name="T17" fmla="*/ 12 h 15"/>
                <a:gd name="T18" fmla="*/ 0 w 19"/>
                <a:gd name="T19" fmla="*/ 11 h 15"/>
                <a:gd name="T20" fmla="*/ 0 w 19"/>
                <a:gd name="T21" fmla="*/ 9 h 15"/>
                <a:gd name="T22" fmla="*/ 0 w 19"/>
                <a:gd name="T23" fmla="*/ 7 h 15"/>
                <a:gd name="T24" fmla="*/ 0 w 19"/>
                <a:gd name="T25" fmla="*/ 6 h 15"/>
                <a:gd name="T26" fmla="*/ 0 w 19"/>
                <a:gd name="T27" fmla="*/ 4 h 15"/>
                <a:gd name="T28" fmla="*/ 1 w 19"/>
                <a:gd name="T29" fmla="*/ 4 h 15"/>
                <a:gd name="T30" fmla="*/ 2 w 19"/>
                <a:gd name="T31" fmla="*/ 3 h 15"/>
                <a:gd name="T32" fmla="*/ 3 w 19"/>
                <a:gd name="T33" fmla="*/ 3 h 15"/>
                <a:gd name="T34" fmla="*/ 4 w 19"/>
                <a:gd name="T35" fmla="*/ 1 h 15"/>
                <a:gd name="T36" fmla="*/ 5 w 19"/>
                <a:gd name="T37" fmla="*/ 1 h 15"/>
                <a:gd name="T38" fmla="*/ 6 w 19"/>
                <a:gd name="T39" fmla="*/ 1 h 15"/>
                <a:gd name="T40" fmla="*/ 8 w 19"/>
                <a:gd name="T41" fmla="*/ 1 h 15"/>
                <a:gd name="T42" fmla="*/ 9 w 19"/>
                <a:gd name="T43" fmla="*/ 0 h 15"/>
                <a:gd name="T44" fmla="*/ 9 w 19"/>
                <a:gd name="T45" fmla="*/ 1 h 15"/>
                <a:gd name="T46" fmla="*/ 11 w 19"/>
                <a:gd name="T47" fmla="*/ 1 h 15"/>
                <a:gd name="T48" fmla="*/ 13 w 19"/>
                <a:gd name="T49" fmla="*/ 1 h 15"/>
                <a:gd name="T50" fmla="*/ 14 w 19"/>
                <a:gd name="T51" fmla="*/ 3 h 15"/>
                <a:gd name="T52" fmla="*/ 15 w 19"/>
                <a:gd name="T53" fmla="*/ 3 h 15"/>
                <a:gd name="T54" fmla="*/ 15 w 19"/>
                <a:gd name="T55" fmla="*/ 4 h 15"/>
                <a:gd name="T56" fmla="*/ 16 w 19"/>
                <a:gd name="T57" fmla="*/ 4 h 15"/>
                <a:gd name="T58" fmla="*/ 17 w 19"/>
                <a:gd name="T59" fmla="*/ 6 h 15"/>
                <a:gd name="T60" fmla="*/ 17 w 19"/>
                <a:gd name="T61" fmla="*/ 7 h 15"/>
                <a:gd name="T62" fmla="*/ 18 w 19"/>
                <a:gd name="T63" fmla="*/ 7 h 15"/>
                <a:gd name="T64" fmla="*/ 17 w 19"/>
                <a:gd name="T65" fmla="*/ 9 h 15"/>
                <a:gd name="T66" fmla="*/ 17 w 19"/>
                <a:gd name="T67" fmla="*/ 11 h 15"/>
                <a:gd name="T68" fmla="*/ 16 w 19"/>
                <a:gd name="T69" fmla="*/ 11 h 15"/>
                <a:gd name="T70" fmla="*/ 16 w 19"/>
                <a:gd name="T71" fmla="*/ 12 h 15"/>
                <a:gd name="T72" fmla="*/ 15 w 19"/>
                <a:gd name="T73" fmla="*/ 12 h 15"/>
                <a:gd name="T74" fmla="*/ 14 w 19"/>
                <a:gd name="T75" fmla="*/ 12 h 15"/>
                <a:gd name="T76" fmla="*/ 13 w 19"/>
                <a:gd name="T77" fmla="*/ 14 h 15"/>
                <a:gd name="T78" fmla="*/ 11 w 19"/>
                <a:gd name="T79" fmla="*/ 14 h 15"/>
                <a:gd name="T80" fmla="*/ 9 w 19"/>
                <a:gd name="T81"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15">
                  <a:moveTo>
                    <a:pt x="9" y="14"/>
                  </a:moveTo>
                  <a:lnTo>
                    <a:pt x="8" y="14"/>
                  </a:lnTo>
                  <a:lnTo>
                    <a:pt x="6" y="14"/>
                  </a:lnTo>
                  <a:lnTo>
                    <a:pt x="5" y="14"/>
                  </a:lnTo>
                  <a:lnTo>
                    <a:pt x="4" y="14"/>
                  </a:lnTo>
                  <a:lnTo>
                    <a:pt x="3" y="12"/>
                  </a:lnTo>
                  <a:lnTo>
                    <a:pt x="2" y="12"/>
                  </a:lnTo>
                  <a:lnTo>
                    <a:pt x="1" y="12"/>
                  </a:lnTo>
                  <a:lnTo>
                    <a:pt x="0" y="12"/>
                  </a:lnTo>
                  <a:lnTo>
                    <a:pt x="0" y="11"/>
                  </a:lnTo>
                  <a:lnTo>
                    <a:pt x="0" y="9"/>
                  </a:lnTo>
                  <a:lnTo>
                    <a:pt x="0" y="7"/>
                  </a:lnTo>
                  <a:lnTo>
                    <a:pt x="0" y="6"/>
                  </a:lnTo>
                  <a:lnTo>
                    <a:pt x="0" y="4"/>
                  </a:lnTo>
                  <a:lnTo>
                    <a:pt x="1" y="4"/>
                  </a:lnTo>
                  <a:lnTo>
                    <a:pt x="2" y="3"/>
                  </a:lnTo>
                  <a:lnTo>
                    <a:pt x="3" y="3"/>
                  </a:lnTo>
                  <a:lnTo>
                    <a:pt x="4" y="1"/>
                  </a:lnTo>
                  <a:lnTo>
                    <a:pt x="5" y="1"/>
                  </a:lnTo>
                  <a:lnTo>
                    <a:pt x="6" y="1"/>
                  </a:lnTo>
                  <a:lnTo>
                    <a:pt x="8" y="1"/>
                  </a:lnTo>
                  <a:lnTo>
                    <a:pt x="9" y="0"/>
                  </a:lnTo>
                  <a:lnTo>
                    <a:pt x="9" y="1"/>
                  </a:lnTo>
                  <a:lnTo>
                    <a:pt x="11" y="1"/>
                  </a:lnTo>
                  <a:lnTo>
                    <a:pt x="13" y="1"/>
                  </a:lnTo>
                  <a:lnTo>
                    <a:pt x="14" y="3"/>
                  </a:lnTo>
                  <a:lnTo>
                    <a:pt x="15" y="3"/>
                  </a:lnTo>
                  <a:lnTo>
                    <a:pt x="15" y="4"/>
                  </a:lnTo>
                  <a:lnTo>
                    <a:pt x="16" y="4"/>
                  </a:lnTo>
                  <a:lnTo>
                    <a:pt x="17" y="6"/>
                  </a:lnTo>
                  <a:lnTo>
                    <a:pt x="17" y="7"/>
                  </a:lnTo>
                  <a:lnTo>
                    <a:pt x="18" y="7"/>
                  </a:lnTo>
                  <a:lnTo>
                    <a:pt x="17" y="9"/>
                  </a:lnTo>
                  <a:lnTo>
                    <a:pt x="17" y="11"/>
                  </a:lnTo>
                  <a:lnTo>
                    <a:pt x="16" y="11"/>
                  </a:lnTo>
                  <a:lnTo>
                    <a:pt x="16" y="12"/>
                  </a:lnTo>
                  <a:lnTo>
                    <a:pt x="15" y="12"/>
                  </a:lnTo>
                  <a:lnTo>
                    <a:pt x="14" y="12"/>
                  </a:lnTo>
                  <a:lnTo>
                    <a:pt x="13" y="14"/>
                  </a:lnTo>
                  <a:lnTo>
                    <a:pt x="11" y="14"/>
                  </a:lnTo>
                  <a:lnTo>
                    <a:pt x="9" y="14"/>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82" name="Freeform 143">
              <a:extLst>
                <a:ext uri="{FF2B5EF4-FFF2-40B4-BE49-F238E27FC236}">
                  <a16:creationId xmlns:a16="http://schemas.microsoft.com/office/drawing/2014/main" id="{17DBB1F9-6F05-48DF-AE55-65EE9AD4FAA0}"/>
                </a:ext>
              </a:extLst>
            </p:cNvPr>
            <p:cNvSpPr>
              <a:spLocks/>
            </p:cNvSpPr>
            <p:nvPr/>
          </p:nvSpPr>
          <p:spPr bwMode="auto">
            <a:xfrm>
              <a:off x="5540408" y="4203102"/>
              <a:ext cx="181890" cy="61837"/>
            </a:xfrm>
            <a:custGeom>
              <a:avLst/>
              <a:gdLst>
                <a:gd name="T0" fmla="*/ 19 w 135"/>
                <a:gd name="T1" fmla="*/ 2 h 46"/>
                <a:gd name="T2" fmla="*/ 8 w 135"/>
                <a:gd name="T3" fmla="*/ 7 h 46"/>
                <a:gd name="T4" fmla="*/ 0 w 135"/>
                <a:gd name="T5" fmla="*/ 17 h 46"/>
                <a:gd name="T6" fmla="*/ 8 w 135"/>
                <a:gd name="T7" fmla="*/ 31 h 46"/>
                <a:gd name="T8" fmla="*/ 35 w 135"/>
                <a:gd name="T9" fmla="*/ 31 h 46"/>
                <a:gd name="T10" fmla="*/ 45 w 135"/>
                <a:gd name="T11" fmla="*/ 36 h 46"/>
                <a:gd name="T12" fmla="*/ 68 w 135"/>
                <a:gd name="T13" fmla="*/ 36 h 46"/>
                <a:gd name="T14" fmla="*/ 70 w 135"/>
                <a:gd name="T15" fmla="*/ 45 h 46"/>
                <a:gd name="T16" fmla="*/ 112 w 135"/>
                <a:gd name="T17" fmla="*/ 45 h 46"/>
                <a:gd name="T18" fmla="*/ 123 w 135"/>
                <a:gd name="T19" fmla="*/ 45 h 46"/>
                <a:gd name="T20" fmla="*/ 133 w 135"/>
                <a:gd name="T21" fmla="*/ 45 h 46"/>
                <a:gd name="T22" fmla="*/ 134 w 135"/>
                <a:gd name="T23" fmla="*/ 34 h 46"/>
                <a:gd name="T24" fmla="*/ 121 w 135"/>
                <a:gd name="T25" fmla="*/ 28 h 46"/>
                <a:gd name="T26" fmla="*/ 123 w 135"/>
                <a:gd name="T27" fmla="*/ 17 h 46"/>
                <a:gd name="T28" fmla="*/ 110 w 135"/>
                <a:gd name="T29" fmla="*/ 18 h 46"/>
                <a:gd name="T30" fmla="*/ 94 w 135"/>
                <a:gd name="T31" fmla="*/ 17 h 46"/>
                <a:gd name="T32" fmla="*/ 82 w 135"/>
                <a:gd name="T33" fmla="*/ 9 h 46"/>
                <a:gd name="T34" fmla="*/ 61 w 135"/>
                <a:gd name="T35" fmla="*/ 8 h 46"/>
                <a:gd name="T36" fmla="*/ 40 w 135"/>
                <a:gd name="T37" fmla="*/ 0 h 46"/>
                <a:gd name="T38" fmla="*/ 19 w 135"/>
                <a:gd name="T39"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5" h="46">
                  <a:moveTo>
                    <a:pt x="19" y="2"/>
                  </a:moveTo>
                  <a:lnTo>
                    <a:pt x="8" y="7"/>
                  </a:lnTo>
                  <a:lnTo>
                    <a:pt x="0" y="17"/>
                  </a:lnTo>
                  <a:lnTo>
                    <a:pt x="8" y="31"/>
                  </a:lnTo>
                  <a:lnTo>
                    <a:pt x="35" y="31"/>
                  </a:lnTo>
                  <a:lnTo>
                    <a:pt x="45" y="36"/>
                  </a:lnTo>
                  <a:lnTo>
                    <a:pt x="68" y="36"/>
                  </a:lnTo>
                  <a:lnTo>
                    <a:pt x="70" y="45"/>
                  </a:lnTo>
                  <a:lnTo>
                    <a:pt x="112" y="45"/>
                  </a:lnTo>
                  <a:lnTo>
                    <a:pt x="123" y="45"/>
                  </a:lnTo>
                  <a:lnTo>
                    <a:pt x="133" y="45"/>
                  </a:lnTo>
                  <a:lnTo>
                    <a:pt x="134" y="34"/>
                  </a:lnTo>
                  <a:lnTo>
                    <a:pt x="121" y="28"/>
                  </a:lnTo>
                  <a:lnTo>
                    <a:pt x="123" y="17"/>
                  </a:lnTo>
                  <a:lnTo>
                    <a:pt x="110" y="18"/>
                  </a:lnTo>
                  <a:lnTo>
                    <a:pt x="94" y="17"/>
                  </a:lnTo>
                  <a:lnTo>
                    <a:pt x="82" y="9"/>
                  </a:lnTo>
                  <a:lnTo>
                    <a:pt x="61" y="8"/>
                  </a:lnTo>
                  <a:lnTo>
                    <a:pt x="40" y="0"/>
                  </a:lnTo>
                  <a:lnTo>
                    <a:pt x="19" y="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83" name="Freeform 144">
              <a:extLst>
                <a:ext uri="{FF2B5EF4-FFF2-40B4-BE49-F238E27FC236}">
                  <a16:creationId xmlns:a16="http://schemas.microsoft.com/office/drawing/2014/main" id="{F1C1A3B6-BACA-41A4-8DAB-0ED7D1BC0757}"/>
                </a:ext>
              </a:extLst>
            </p:cNvPr>
            <p:cNvSpPr>
              <a:spLocks/>
            </p:cNvSpPr>
            <p:nvPr/>
          </p:nvSpPr>
          <p:spPr bwMode="auto">
            <a:xfrm>
              <a:off x="5755586" y="4257804"/>
              <a:ext cx="20210" cy="17838"/>
            </a:xfrm>
            <a:custGeom>
              <a:avLst/>
              <a:gdLst>
                <a:gd name="T0" fmla="*/ 7 w 15"/>
                <a:gd name="T1" fmla="*/ 12 h 13"/>
                <a:gd name="T2" fmla="*/ 4 w 15"/>
                <a:gd name="T3" fmla="*/ 11 h 13"/>
                <a:gd name="T4" fmla="*/ 2 w 15"/>
                <a:gd name="T5" fmla="*/ 11 h 13"/>
                <a:gd name="T6" fmla="*/ 0 w 15"/>
                <a:gd name="T7" fmla="*/ 10 h 13"/>
                <a:gd name="T8" fmla="*/ 0 w 15"/>
                <a:gd name="T9" fmla="*/ 8 h 13"/>
                <a:gd name="T10" fmla="*/ 0 w 15"/>
                <a:gd name="T11" fmla="*/ 6 h 13"/>
                <a:gd name="T12" fmla="*/ 0 w 15"/>
                <a:gd name="T13" fmla="*/ 5 h 13"/>
                <a:gd name="T14" fmla="*/ 0 w 15"/>
                <a:gd name="T15" fmla="*/ 4 h 13"/>
                <a:gd name="T16" fmla="*/ 0 w 15"/>
                <a:gd name="T17" fmla="*/ 3 h 13"/>
                <a:gd name="T18" fmla="*/ 0 w 15"/>
                <a:gd name="T19" fmla="*/ 2 h 13"/>
                <a:gd name="T20" fmla="*/ 0 w 15"/>
                <a:gd name="T21" fmla="*/ 1 h 13"/>
                <a:gd name="T22" fmla="*/ 2 w 15"/>
                <a:gd name="T23" fmla="*/ 0 h 13"/>
                <a:gd name="T24" fmla="*/ 4 w 15"/>
                <a:gd name="T25" fmla="*/ 0 h 13"/>
                <a:gd name="T26" fmla="*/ 7 w 15"/>
                <a:gd name="T27" fmla="*/ 0 h 13"/>
                <a:gd name="T28" fmla="*/ 9 w 15"/>
                <a:gd name="T29" fmla="*/ 0 h 13"/>
                <a:gd name="T30" fmla="*/ 11 w 15"/>
                <a:gd name="T31" fmla="*/ 1 h 13"/>
                <a:gd name="T32" fmla="*/ 11 w 15"/>
                <a:gd name="T33" fmla="*/ 2 h 13"/>
                <a:gd name="T34" fmla="*/ 11 w 15"/>
                <a:gd name="T35" fmla="*/ 3 h 13"/>
                <a:gd name="T36" fmla="*/ 11 w 15"/>
                <a:gd name="T37" fmla="*/ 4 h 13"/>
                <a:gd name="T38" fmla="*/ 14 w 15"/>
                <a:gd name="T39" fmla="*/ 5 h 13"/>
                <a:gd name="T40" fmla="*/ 11 w 15"/>
                <a:gd name="T41" fmla="*/ 5 h 13"/>
                <a:gd name="T42" fmla="*/ 11 w 15"/>
                <a:gd name="T43" fmla="*/ 6 h 13"/>
                <a:gd name="T44" fmla="*/ 11 w 15"/>
                <a:gd name="T45" fmla="*/ 8 h 13"/>
                <a:gd name="T46" fmla="*/ 11 w 15"/>
                <a:gd name="T47" fmla="*/ 10 h 13"/>
                <a:gd name="T48" fmla="*/ 9 w 15"/>
                <a:gd name="T49" fmla="*/ 11 h 13"/>
                <a:gd name="T50" fmla="*/ 7 w 15"/>
                <a:gd name="T51" fmla="*/ 11 h 13"/>
                <a:gd name="T52" fmla="*/ 7 w 15"/>
                <a:gd name="T53"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 h="13">
                  <a:moveTo>
                    <a:pt x="7" y="12"/>
                  </a:moveTo>
                  <a:lnTo>
                    <a:pt x="4" y="11"/>
                  </a:lnTo>
                  <a:lnTo>
                    <a:pt x="2" y="11"/>
                  </a:lnTo>
                  <a:lnTo>
                    <a:pt x="0" y="10"/>
                  </a:lnTo>
                  <a:lnTo>
                    <a:pt x="0" y="8"/>
                  </a:lnTo>
                  <a:lnTo>
                    <a:pt x="0" y="6"/>
                  </a:lnTo>
                  <a:lnTo>
                    <a:pt x="0" y="5"/>
                  </a:lnTo>
                  <a:lnTo>
                    <a:pt x="0" y="4"/>
                  </a:lnTo>
                  <a:lnTo>
                    <a:pt x="0" y="3"/>
                  </a:lnTo>
                  <a:lnTo>
                    <a:pt x="0" y="2"/>
                  </a:lnTo>
                  <a:lnTo>
                    <a:pt x="0" y="1"/>
                  </a:lnTo>
                  <a:lnTo>
                    <a:pt x="2" y="0"/>
                  </a:lnTo>
                  <a:lnTo>
                    <a:pt x="4" y="0"/>
                  </a:lnTo>
                  <a:lnTo>
                    <a:pt x="7" y="0"/>
                  </a:lnTo>
                  <a:lnTo>
                    <a:pt x="9" y="0"/>
                  </a:lnTo>
                  <a:lnTo>
                    <a:pt x="11" y="1"/>
                  </a:lnTo>
                  <a:lnTo>
                    <a:pt x="11" y="2"/>
                  </a:lnTo>
                  <a:lnTo>
                    <a:pt x="11" y="3"/>
                  </a:lnTo>
                  <a:lnTo>
                    <a:pt x="11" y="4"/>
                  </a:lnTo>
                  <a:lnTo>
                    <a:pt x="14" y="5"/>
                  </a:lnTo>
                  <a:lnTo>
                    <a:pt x="11" y="5"/>
                  </a:lnTo>
                  <a:lnTo>
                    <a:pt x="11" y="6"/>
                  </a:lnTo>
                  <a:lnTo>
                    <a:pt x="11" y="8"/>
                  </a:lnTo>
                  <a:lnTo>
                    <a:pt x="11" y="10"/>
                  </a:lnTo>
                  <a:lnTo>
                    <a:pt x="9" y="11"/>
                  </a:lnTo>
                  <a:lnTo>
                    <a:pt x="7" y="11"/>
                  </a:lnTo>
                  <a:lnTo>
                    <a:pt x="7" y="1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84" name="Freeform 145">
              <a:extLst>
                <a:ext uri="{FF2B5EF4-FFF2-40B4-BE49-F238E27FC236}">
                  <a16:creationId xmlns:a16="http://schemas.microsoft.com/office/drawing/2014/main" id="{159E5433-4EA7-4760-95C9-A23A890BEA75}"/>
                </a:ext>
              </a:extLst>
            </p:cNvPr>
            <p:cNvSpPr>
              <a:spLocks/>
            </p:cNvSpPr>
            <p:nvPr/>
          </p:nvSpPr>
          <p:spPr bwMode="auto">
            <a:xfrm>
              <a:off x="5820971" y="4260183"/>
              <a:ext cx="43987" cy="19027"/>
            </a:xfrm>
            <a:custGeom>
              <a:avLst/>
              <a:gdLst>
                <a:gd name="T0" fmla="*/ 0 w 33"/>
                <a:gd name="T1" fmla="*/ 2 h 15"/>
                <a:gd name="T2" fmla="*/ 17 w 33"/>
                <a:gd name="T3" fmla="*/ 0 h 15"/>
                <a:gd name="T4" fmla="*/ 32 w 33"/>
                <a:gd name="T5" fmla="*/ 6 h 15"/>
                <a:gd name="T6" fmla="*/ 21 w 33"/>
                <a:gd name="T7" fmla="*/ 14 h 15"/>
                <a:gd name="T8" fmla="*/ 3 w 33"/>
                <a:gd name="T9" fmla="*/ 11 h 15"/>
                <a:gd name="T10" fmla="*/ 0 w 33"/>
                <a:gd name="T11" fmla="*/ 2 h 15"/>
              </a:gdLst>
              <a:ahLst/>
              <a:cxnLst>
                <a:cxn ang="0">
                  <a:pos x="T0" y="T1"/>
                </a:cxn>
                <a:cxn ang="0">
                  <a:pos x="T2" y="T3"/>
                </a:cxn>
                <a:cxn ang="0">
                  <a:pos x="T4" y="T5"/>
                </a:cxn>
                <a:cxn ang="0">
                  <a:pos x="T6" y="T7"/>
                </a:cxn>
                <a:cxn ang="0">
                  <a:pos x="T8" y="T9"/>
                </a:cxn>
                <a:cxn ang="0">
                  <a:pos x="T10" y="T11"/>
                </a:cxn>
              </a:cxnLst>
              <a:rect l="0" t="0" r="r" b="b"/>
              <a:pathLst>
                <a:path w="33" h="15">
                  <a:moveTo>
                    <a:pt x="0" y="2"/>
                  </a:moveTo>
                  <a:lnTo>
                    <a:pt x="17" y="0"/>
                  </a:lnTo>
                  <a:lnTo>
                    <a:pt x="32" y="6"/>
                  </a:lnTo>
                  <a:lnTo>
                    <a:pt x="21" y="14"/>
                  </a:lnTo>
                  <a:lnTo>
                    <a:pt x="3" y="11"/>
                  </a:lnTo>
                  <a:lnTo>
                    <a:pt x="0" y="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85" name="Freeform 146">
              <a:extLst>
                <a:ext uri="{FF2B5EF4-FFF2-40B4-BE49-F238E27FC236}">
                  <a16:creationId xmlns:a16="http://schemas.microsoft.com/office/drawing/2014/main" id="{89346338-A59E-44FB-87DF-7A590EAE218E}"/>
                </a:ext>
              </a:extLst>
            </p:cNvPr>
            <p:cNvSpPr>
              <a:spLocks/>
            </p:cNvSpPr>
            <p:nvPr/>
          </p:nvSpPr>
          <p:spPr bwMode="auto">
            <a:xfrm>
              <a:off x="5878035" y="4285156"/>
              <a:ext cx="23777" cy="21405"/>
            </a:xfrm>
            <a:custGeom>
              <a:avLst/>
              <a:gdLst>
                <a:gd name="T0" fmla="*/ 16 w 17"/>
                <a:gd name="T1" fmla="*/ 0 h 15"/>
                <a:gd name="T2" fmla="*/ 6 w 17"/>
                <a:gd name="T3" fmla="*/ 2 h 15"/>
                <a:gd name="T4" fmla="*/ 0 w 17"/>
                <a:gd name="T5" fmla="*/ 14 h 15"/>
                <a:gd name="T6" fmla="*/ 8 w 17"/>
                <a:gd name="T7" fmla="*/ 14 h 15"/>
                <a:gd name="T8" fmla="*/ 16 w 17"/>
                <a:gd name="T9" fmla="*/ 5 h 15"/>
                <a:gd name="T10" fmla="*/ 16 w 17"/>
                <a:gd name="T11" fmla="*/ 0 h 15"/>
              </a:gdLst>
              <a:ahLst/>
              <a:cxnLst>
                <a:cxn ang="0">
                  <a:pos x="T0" y="T1"/>
                </a:cxn>
                <a:cxn ang="0">
                  <a:pos x="T2" y="T3"/>
                </a:cxn>
                <a:cxn ang="0">
                  <a:pos x="T4" y="T5"/>
                </a:cxn>
                <a:cxn ang="0">
                  <a:pos x="T6" y="T7"/>
                </a:cxn>
                <a:cxn ang="0">
                  <a:pos x="T8" y="T9"/>
                </a:cxn>
                <a:cxn ang="0">
                  <a:pos x="T10" y="T11"/>
                </a:cxn>
              </a:cxnLst>
              <a:rect l="0" t="0" r="r" b="b"/>
              <a:pathLst>
                <a:path w="17" h="15">
                  <a:moveTo>
                    <a:pt x="16" y="0"/>
                  </a:moveTo>
                  <a:lnTo>
                    <a:pt x="6" y="2"/>
                  </a:lnTo>
                  <a:lnTo>
                    <a:pt x="0" y="14"/>
                  </a:lnTo>
                  <a:lnTo>
                    <a:pt x="8" y="14"/>
                  </a:lnTo>
                  <a:lnTo>
                    <a:pt x="16" y="5"/>
                  </a:lnTo>
                  <a:lnTo>
                    <a:pt x="16"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86" name="Freeform 147">
              <a:extLst>
                <a:ext uri="{FF2B5EF4-FFF2-40B4-BE49-F238E27FC236}">
                  <a16:creationId xmlns:a16="http://schemas.microsoft.com/office/drawing/2014/main" id="{22BDD18C-1585-425B-9D77-20FBCE09CC94}"/>
                </a:ext>
              </a:extLst>
            </p:cNvPr>
            <p:cNvSpPr>
              <a:spLocks/>
            </p:cNvSpPr>
            <p:nvPr/>
          </p:nvSpPr>
          <p:spPr bwMode="auto">
            <a:xfrm>
              <a:off x="5788873" y="4036617"/>
              <a:ext cx="128393" cy="166486"/>
            </a:xfrm>
            <a:custGeom>
              <a:avLst/>
              <a:gdLst>
                <a:gd name="T0" fmla="*/ 24 w 97"/>
                <a:gd name="T1" fmla="*/ 17 h 124"/>
                <a:gd name="T2" fmla="*/ 21 w 97"/>
                <a:gd name="T3" fmla="*/ 36 h 124"/>
                <a:gd name="T4" fmla="*/ 14 w 97"/>
                <a:gd name="T5" fmla="*/ 46 h 124"/>
                <a:gd name="T6" fmla="*/ 11 w 97"/>
                <a:gd name="T7" fmla="*/ 60 h 124"/>
                <a:gd name="T8" fmla="*/ 0 w 97"/>
                <a:gd name="T9" fmla="*/ 68 h 124"/>
                <a:gd name="T10" fmla="*/ 0 w 97"/>
                <a:gd name="T11" fmla="*/ 94 h 124"/>
                <a:gd name="T12" fmla="*/ 13 w 97"/>
                <a:gd name="T13" fmla="*/ 100 h 124"/>
                <a:gd name="T14" fmla="*/ 15 w 97"/>
                <a:gd name="T15" fmla="*/ 118 h 124"/>
                <a:gd name="T16" fmla="*/ 27 w 97"/>
                <a:gd name="T17" fmla="*/ 120 h 124"/>
                <a:gd name="T18" fmla="*/ 32 w 97"/>
                <a:gd name="T19" fmla="*/ 92 h 124"/>
                <a:gd name="T20" fmla="*/ 42 w 97"/>
                <a:gd name="T21" fmla="*/ 89 h 124"/>
                <a:gd name="T22" fmla="*/ 42 w 97"/>
                <a:gd name="T23" fmla="*/ 112 h 124"/>
                <a:gd name="T24" fmla="*/ 53 w 97"/>
                <a:gd name="T25" fmla="*/ 115 h 124"/>
                <a:gd name="T26" fmla="*/ 56 w 97"/>
                <a:gd name="T27" fmla="*/ 123 h 124"/>
                <a:gd name="T28" fmla="*/ 69 w 97"/>
                <a:gd name="T29" fmla="*/ 120 h 124"/>
                <a:gd name="T30" fmla="*/ 68 w 97"/>
                <a:gd name="T31" fmla="*/ 104 h 124"/>
                <a:gd name="T32" fmla="*/ 49 w 97"/>
                <a:gd name="T33" fmla="*/ 72 h 124"/>
                <a:gd name="T34" fmla="*/ 59 w 97"/>
                <a:gd name="T35" fmla="*/ 64 h 124"/>
                <a:gd name="T36" fmla="*/ 68 w 97"/>
                <a:gd name="T37" fmla="*/ 48 h 124"/>
                <a:gd name="T38" fmla="*/ 61 w 97"/>
                <a:gd name="T39" fmla="*/ 42 h 124"/>
                <a:gd name="T40" fmla="*/ 51 w 97"/>
                <a:gd name="T41" fmla="*/ 47 h 124"/>
                <a:gd name="T42" fmla="*/ 42 w 97"/>
                <a:gd name="T43" fmla="*/ 52 h 124"/>
                <a:gd name="T44" fmla="*/ 35 w 97"/>
                <a:gd name="T45" fmla="*/ 33 h 124"/>
                <a:gd name="T46" fmla="*/ 32 w 97"/>
                <a:gd name="T47" fmla="*/ 15 h 124"/>
                <a:gd name="T48" fmla="*/ 40 w 97"/>
                <a:gd name="T49" fmla="*/ 18 h 124"/>
                <a:gd name="T50" fmla="*/ 49 w 97"/>
                <a:gd name="T51" fmla="*/ 25 h 124"/>
                <a:gd name="T52" fmla="*/ 64 w 97"/>
                <a:gd name="T53" fmla="*/ 21 h 124"/>
                <a:gd name="T54" fmla="*/ 71 w 97"/>
                <a:gd name="T55" fmla="*/ 26 h 124"/>
                <a:gd name="T56" fmla="*/ 88 w 97"/>
                <a:gd name="T57" fmla="*/ 21 h 124"/>
                <a:gd name="T58" fmla="*/ 96 w 97"/>
                <a:gd name="T59" fmla="*/ 17 h 124"/>
                <a:gd name="T60" fmla="*/ 93 w 97"/>
                <a:gd name="T61" fmla="*/ 0 h 124"/>
                <a:gd name="T62" fmla="*/ 83 w 97"/>
                <a:gd name="T63" fmla="*/ 0 h 124"/>
                <a:gd name="T64" fmla="*/ 77 w 97"/>
                <a:gd name="T65" fmla="*/ 12 h 124"/>
                <a:gd name="T66" fmla="*/ 45 w 97"/>
                <a:gd name="T67" fmla="*/ 9 h 124"/>
                <a:gd name="T68" fmla="*/ 26 w 97"/>
                <a:gd name="T69" fmla="*/ 10 h 124"/>
                <a:gd name="T70" fmla="*/ 24 w 97"/>
                <a:gd name="T71" fmla="*/ 1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24">
                  <a:moveTo>
                    <a:pt x="24" y="17"/>
                  </a:moveTo>
                  <a:lnTo>
                    <a:pt x="21" y="36"/>
                  </a:lnTo>
                  <a:lnTo>
                    <a:pt x="14" y="46"/>
                  </a:lnTo>
                  <a:lnTo>
                    <a:pt x="11" y="60"/>
                  </a:lnTo>
                  <a:lnTo>
                    <a:pt x="0" y="68"/>
                  </a:lnTo>
                  <a:lnTo>
                    <a:pt x="0" y="94"/>
                  </a:lnTo>
                  <a:lnTo>
                    <a:pt x="13" y="100"/>
                  </a:lnTo>
                  <a:lnTo>
                    <a:pt x="15" y="118"/>
                  </a:lnTo>
                  <a:lnTo>
                    <a:pt x="27" y="120"/>
                  </a:lnTo>
                  <a:lnTo>
                    <a:pt x="32" y="92"/>
                  </a:lnTo>
                  <a:lnTo>
                    <a:pt x="42" y="89"/>
                  </a:lnTo>
                  <a:lnTo>
                    <a:pt x="42" y="112"/>
                  </a:lnTo>
                  <a:lnTo>
                    <a:pt x="53" y="115"/>
                  </a:lnTo>
                  <a:lnTo>
                    <a:pt x="56" y="123"/>
                  </a:lnTo>
                  <a:lnTo>
                    <a:pt x="69" y="120"/>
                  </a:lnTo>
                  <a:lnTo>
                    <a:pt x="68" y="104"/>
                  </a:lnTo>
                  <a:lnTo>
                    <a:pt x="49" y="72"/>
                  </a:lnTo>
                  <a:lnTo>
                    <a:pt x="59" y="64"/>
                  </a:lnTo>
                  <a:lnTo>
                    <a:pt x="68" y="48"/>
                  </a:lnTo>
                  <a:lnTo>
                    <a:pt x="61" y="42"/>
                  </a:lnTo>
                  <a:lnTo>
                    <a:pt x="51" y="47"/>
                  </a:lnTo>
                  <a:lnTo>
                    <a:pt x="42" y="52"/>
                  </a:lnTo>
                  <a:lnTo>
                    <a:pt x="35" y="33"/>
                  </a:lnTo>
                  <a:lnTo>
                    <a:pt x="32" y="15"/>
                  </a:lnTo>
                  <a:lnTo>
                    <a:pt x="40" y="18"/>
                  </a:lnTo>
                  <a:lnTo>
                    <a:pt x="49" y="25"/>
                  </a:lnTo>
                  <a:lnTo>
                    <a:pt x="64" y="21"/>
                  </a:lnTo>
                  <a:lnTo>
                    <a:pt x="71" y="26"/>
                  </a:lnTo>
                  <a:lnTo>
                    <a:pt x="88" y="21"/>
                  </a:lnTo>
                  <a:lnTo>
                    <a:pt x="96" y="17"/>
                  </a:lnTo>
                  <a:lnTo>
                    <a:pt x="93" y="0"/>
                  </a:lnTo>
                  <a:lnTo>
                    <a:pt x="83" y="0"/>
                  </a:lnTo>
                  <a:lnTo>
                    <a:pt x="77" y="12"/>
                  </a:lnTo>
                  <a:lnTo>
                    <a:pt x="45" y="9"/>
                  </a:lnTo>
                  <a:lnTo>
                    <a:pt x="26" y="10"/>
                  </a:lnTo>
                  <a:lnTo>
                    <a:pt x="24" y="17"/>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87" name="Freeform 148">
              <a:extLst>
                <a:ext uri="{FF2B5EF4-FFF2-40B4-BE49-F238E27FC236}">
                  <a16:creationId xmlns:a16="http://schemas.microsoft.com/office/drawing/2014/main" id="{46A3EA62-F76E-427D-A981-84009DC98F81}"/>
                </a:ext>
              </a:extLst>
            </p:cNvPr>
            <p:cNvSpPr>
              <a:spLocks/>
            </p:cNvSpPr>
            <p:nvPr/>
          </p:nvSpPr>
          <p:spPr bwMode="auto">
            <a:xfrm>
              <a:off x="5460757" y="3757159"/>
              <a:ext cx="109372" cy="95135"/>
            </a:xfrm>
            <a:custGeom>
              <a:avLst/>
              <a:gdLst>
                <a:gd name="T0" fmla="*/ 34 w 83"/>
                <a:gd name="T1" fmla="*/ 60 h 71"/>
                <a:gd name="T2" fmla="*/ 15 w 83"/>
                <a:gd name="T3" fmla="*/ 64 h 71"/>
                <a:gd name="T4" fmla="*/ 13 w 83"/>
                <a:gd name="T5" fmla="*/ 41 h 71"/>
                <a:gd name="T6" fmla="*/ 0 w 83"/>
                <a:gd name="T7" fmla="*/ 30 h 71"/>
                <a:gd name="T8" fmla="*/ 6 w 83"/>
                <a:gd name="T9" fmla="*/ 13 h 71"/>
                <a:gd name="T10" fmla="*/ 21 w 83"/>
                <a:gd name="T11" fmla="*/ 0 h 71"/>
                <a:gd name="T12" fmla="*/ 34 w 83"/>
                <a:gd name="T13" fmla="*/ 8 h 71"/>
                <a:gd name="T14" fmla="*/ 50 w 83"/>
                <a:gd name="T15" fmla="*/ 6 h 71"/>
                <a:gd name="T16" fmla="*/ 60 w 83"/>
                <a:gd name="T17" fmla="*/ 17 h 71"/>
                <a:gd name="T18" fmla="*/ 74 w 83"/>
                <a:gd name="T19" fmla="*/ 6 h 71"/>
                <a:gd name="T20" fmla="*/ 80 w 83"/>
                <a:gd name="T21" fmla="*/ 11 h 71"/>
                <a:gd name="T22" fmla="*/ 82 w 83"/>
                <a:gd name="T23" fmla="*/ 38 h 71"/>
                <a:gd name="T24" fmla="*/ 73 w 83"/>
                <a:gd name="T25" fmla="*/ 46 h 71"/>
                <a:gd name="T26" fmla="*/ 58 w 83"/>
                <a:gd name="T27" fmla="*/ 60 h 71"/>
                <a:gd name="T28" fmla="*/ 44 w 83"/>
                <a:gd name="T29" fmla="*/ 70 h 71"/>
                <a:gd name="T30" fmla="*/ 34 w 83"/>
                <a:gd name="T31"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3" h="71">
                  <a:moveTo>
                    <a:pt x="34" y="60"/>
                  </a:moveTo>
                  <a:lnTo>
                    <a:pt x="15" y="64"/>
                  </a:lnTo>
                  <a:lnTo>
                    <a:pt x="13" y="41"/>
                  </a:lnTo>
                  <a:lnTo>
                    <a:pt x="0" y="30"/>
                  </a:lnTo>
                  <a:lnTo>
                    <a:pt x="6" y="13"/>
                  </a:lnTo>
                  <a:lnTo>
                    <a:pt x="21" y="0"/>
                  </a:lnTo>
                  <a:lnTo>
                    <a:pt x="34" y="8"/>
                  </a:lnTo>
                  <a:lnTo>
                    <a:pt x="50" y="6"/>
                  </a:lnTo>
                  <a:lnTo>
                    <a:pt x="60" y="17"/>
                  </a:lnTo>
                  <a:lnTo>
                    <a:pt x="74" y="6"/>
                  </a:lnTo>
                  <a:lnTo>
                    <a:pt x="80" y="11"/>
                  </a:lnTo>
                  <a:lnTo>
                    <a:pt x="82" y="38"/>
                  </a:lnTo>
                  <a:lnTo>
                    <a:pt x="73" y="46"/>
                  </a:lnTo>
                  <a:lnTo>
                    <a:pt x="58" y="60"/>
                  </a:lnTo>
                  <a:lnTo>
                    <a:pt x="44" y="70"/>
                  </a:lnTo>
                  <a:lnTo>
                    <a:pt x="34" y="6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88" name="Freeform 150">
              <a:extLst>
                <a:ext uri="{FF2B5EF4-FFF2-40B4-BE49-F238E27FC236}">
                  <a16:creationId xmlns:a16="http://schemas.microsoft.com/office/drawing/2014/main" id="{CBB57E79-01DC-4595-8166-77A0BF78138F}"/>
                </a:ext>
              </a:extLst>
            </p:cNvPr>
            <p:cNvSpPr>
              <a:spLocks/>
            </p:cNvSpPr>
            <p:nvPr/>
          </p:nvSpPr>
          <p:spPr bwMode="auto">
            <a:xfrm>
              <a:off x="5952931" y="4015211"/>
              <a:ext cx="34476" cy="71351"/>
            </a:xfrm>
            <a:custGeom>
              <a:avLst/>
              <a:gdLst>
                <a:gd name="T0" fmla="*/ 13 w 26"/>
                <a:gd name="T1" fmla="*/ 21 h 54"/>
                <a:gd name="T2" fmla="*/ 0 w 26"/>
                <a:gd name="T3" fmla="*/ 27 h 54"/>
                <a:gd name="T4" fmla="*/ 4 w 26"/>
                <a:gd name="T5" fmla="*/ 43 h 54"/>
                <a:gd name="T6" fmla="*/ 19 w 26"/>
                <a:gd name="T7" fmla="*/ 53 h 54"/>
                <a:gd name="T8" fmla="*/ 24 w 26"/>
                <a:gd name="T9" fmla="*/ 32 h 54"/>
                <a:gd name="T10" fmla="*/ 25 w 26"/>
                <a:gd name="T11" fmla="*/ 14 h 54"/>
                <a:gd name="T12" fmla="*/ 20 w 26"/>
                <a:gd name="T13" fmla="*/ 0 h 54"/>
                <a:gd name="T14" fmla="*/ 13 w 26"/>
                <a:gd name="T15" fmla="*/ 6 h 54"/>
                <a:gd name="T16" fmla="*/ 13 w 26"/>
                <a:gd name="T17"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54">
                  <a:moveTo>
                    <a:pt x="13" y="21"/>
                  </a:moveTo>
                  <a:lnTo>
                    <a:pt x="0" y="27"/>
                  </a:lnTo>
                  <a:lnTo>
                    <a:pt x="4" y="43"/>
                  </a:lnTo>
                  <a:lnTo>
                    <a:pt x="19" y="53"/>
                  </a:lnTo>
                  <a:lnTo>
                    <a:pt x="24" y="32"/>
                  </a:lnTo>
                  <a:lnTo>
                    <a:pt x="25" y="14"/>
                  </a:lnTo>
                  <a:lnTo>
                    <a:pt x="20" y="0"/>
                  </a:lnTo>
                  <a:lnTo>
                    <a:pt x="13" y="6"/>
                  </a:lnTo>
                  <a:lnTo>
                    <a:pt x="13" y="21"/>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89" name="Freeform 151">
              <a:extLst>
                <a:ext uri="{FF2B5EF4-FFF2-40B4-BE49-F238E27FC236}">
                  <a16:creationId xmlns:a16="http://schemas.microsoft.com/office/drawing/2014/main" id="{C73B31B5-698A-491E-B2D5-E9940C2AEE71}"/>
                </a:ext>
              </a:extLst>
            </p:cNvPr>
            <p:cNvSpPr>
              <a:spLocks/>
            </p:cNvSpPr>
            <p:nvPr/>
          </p:nvSpPr>
          <p:spPr bwMode="auto">
            <a:xfrm>
              <a:off x="5981463" y="4134130"/>
              <a:ext cx="47553" cy="22594"/>
            </a:xfrm>
            <a:custGeom>
              <a:avLst/>
              <a:gdLst>
                <a:gd name="T0" fmla="*/ 4 w 35"/>
                <a:gd name="T1" fmla="*/ 3 h 18"/>
                <a:gd name="T2" fmla="*/ 16 w 35"/>
                <a:gd name="T3" fmla="*/ 0 h 18"/>
                <a:gd name="T4" fmla="*/ 27 w 35"/>
                <a:gd name="T5" fmla="*/ 0 h 18"/>
                <a:gd name="T6" fmla="*/ 33 w 35"/>
                <a:gd name="T7" fmla="*/ 9 h 18"/>
                <a:gd name="T8" fmla="*/ 34 w 35"/>
                <a:gd name="T9" fmla="*/ 17 h 18"/>
                <a:gd name="T10" fmla="*/ 23 w 35"/>
                <a:gd name="T11" fmla="*/ 12 h 18"/>
                <a:gd name="T12" fmla="*/ 12 w 35"/>
                <a:gd name="T13" fmla="*/ 9 h 18"/>
                <a:gd name="T14" fmla="*/ 0 w 35"/>
                <a:gd name="T15" fmla="*/ 12 h 18"/>
                <a:gd name="T16" fmla="*/ 4 w 35"/>
                <a:gd name="T17"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8">
                  <a:moveTo>
                    <a:pt x="4" y="3"/>
                  </a:moveTo>
                  <a:lnTo>
                    <a:pt x="16" y="0"/>
                  </a:lnTo>
                  <a:lnTo>
                    <a:pt x="27" y="0"/>
                  </a:lnTo>
                  <a:lnTo>
                    <a:pt x="33" y="9"/>
                  </a:lnTo>
                  <a:lnTo>
                    <a:pt x="34" y="17"/>
                  </a:lnTo>
                  <a:lnTo>
                    <a:pt x="23" y="12"/>
                  </a:lnTo>
                  <a:lnTo>
                    <a:pt x="12" y="9"/>
                  </a:lnTo>
                  <a:lnTo>
                    <a:pt x="0" y="12"/>
                  </a:lnTo>
                  <a:lnTo>
                    <a:pt x="4" y="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90" name="Freeform 195">
              <a:extLst>
                <a:ext uri="{FF2B5EF4-FFF2-40B4-BE49-F238E27FC236}">
                  <a16:creationId xmlns:a16="http://schemas.microsoft.com/office/drawing/2014/main" id="{585E4BF8-0F43-4AD8-AAEA-3AD0AF82DDC5}"/>
                </a:ext>
              </a:extLst>
            </p:cNvPr>
            <p:cNvSpPr>
              <a:spLocks/>
            </p:cNvSpPr>
            <p:nvPr/>
          </p:nvSpPr>
          <p:spPr bwMode="auto">
            <a:xfrm>
              <a:off x="5422714" y="3857050"/>
              <a:ext cx="96295" cy="184323"/>
            </a:xfrm>
            <a:custGeom>
              <a:avLst/>
              <a:gdLst>
                <a:gd name="T0" fmla="*/ 46 w 73"/>
                <a:gd name="T1" fmla="*/ 46 h 138"/>
                <a:gd name="T2" fmla="*/ 25 w 73"/>
                <a:gd name="T3" fmla="*/ 35 h 138"/>
                <a:gd name="T4" fmla="*/ 13 w 73"/>
                <a:gd name="T5" fmla="*/ 0 h 138"/>
                <a:gd name="T6" fmla="*/ 0 w 73"/>
                <a:gd name="T7" fmla="*/ 13 h 138"/>
                <a:gd name="T8" fmla="*/ 2 w 73"/>
                <a:gd name="T9" fmla="*/ 36 h 138"/>
                <a:gd name="T10" fmla="*/ 8 w 73"/>
                <a:gd name="T11" fmla="*/ 91 h 138"/>
                <a:gd name="T12" fmla="*/ 26 w 73"/>
                <a:gd name="T13" fmla="*/ 116 h 138"/>
                <a:gd name="T14" fmla="*/ 41 w 73"/>
                <a:gd name="T15" fmla="*/ 133 h 138"/>
                <a:gd name="T16" fmla="*/ 70 w 73"/>
                <a:gd name="T17" fmla="*/ 137 h 138"/>
                <a:gd name="T18" fmla="*/ 72 w 73"/>
                <a:gd name="T19" fmla="*/ 127 h 138"/>
                <a:gd name="T20" fmla="*/ 68 w 73"/>
                <a:gd name="T21" fmla="*/ 78 h 138"/>
                <a:gd name="T22" fmla="*/ 46 w 73"/>
                <a:gd name="T23" fmla="*/ 4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138">
                  <a:moveTo>
                    <a:pt x="46" y="46"/>
                  </a:moveTo>
                  <a:lnTo>
                    <a:pt x="25" y="35"/>
                  </a:lnTo>
                  <a:lnTo>
                    <a:pt x="13" y="0"/>
                  </a:lnTo>
                  <a:lnTo>
                    <a:pt x="0" y="13"/>
                  </a:lnTo>
                  <a:lnTo>
                    <a:pt x="2" y="36"/>
                  </a:lnTo>
                  <a:lnTo>
                    <a:pt x="8" y="91"/>
                  </a:lnTo>
                  <a:lnTo>
                    <a:pt x="26" y="116"/>
                  </a:lnTo>
                  <a:lnTo>
                    <a:pt x="41" y="133"/>
                  </a:lnTo>
                  <a:lnTo>
                    <a:pt x="70" y="137"/>
                  </a:lnTo>
                  <a:lnTo>
                    <a:pt x="72" y="127"/>
                  </a:lnTo>
                  <a:lnTo>
                    <a:pt x="68" y="78"/>
                  </a:lnTo>
                  <a:lnTo>
                    <a:pt x="46" y="46"/>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91" name="Freeform 202">
              <a:extLst>
                <a:ext uri="{FF2B5EF4-FFF2-40B4-BE49-F238E27FC236}">
                  <a16:creationId xmlns:a16="http://schemas.microsoft.com/office/drawing/2014/main" id="{D11B3447-C36A-4F95-A1A1-746893C2007E}"/>
                </a:ext>
              </a:extLst>
            </p:cNvPr>
            <p:cNvSpPr>
              <a:spLocks/>
            </p:cNvSpPr>
            <p:nvPr/>
          </p:nvSpPr>
          <p:spPr bwMode="auto">
            <a:xfrm>
              <a:off x="5326419" y="3959320"/>
              <a:ext cx="225877" cy="249728"/>
            </a:xfrm>
            <a:custGeom>
              <a:avLst/>
              <a:gdLst>
                <a:gd name="T0" fmla="*/ 65 w 170"/>
                <a:gd name="T1" fmla="*/ 29 h 187"/>
                <a:gd name="T2" fmla="*/ 43 w 170"/>
                <a:gd name="T3" fmla="*/ 20 h 187"/>
                <a:gd name="T4" fmla="*/ 25 w 170"/>
                <a:gd name="T5" fmla="*/ 0 h 187"/>
                <a:gd name="T6" fmla="*/ 3 w 170"/>
                <a:gd name="T7" fmla="*/ 3 h 187"/>
                <a:gd name="T8" fmla="*/ 0 w 170"/>
                <a:gd name="T9" fmla="*/ 11 h 187"/>
                <a:gd name="T10" fmla="*/ 26 w 170"/>
                <a:gd name="T11" fmla="*/ 29 h 187"/>
                <a:gd name="T12" fmla="*/ 49 w 170"/>
                <a:gd name="T13" fmla="*/ 49 h 187"/>
                <a:gd name="T14" fmla="*/ 65 w 170"/>
                <a:gd name="T15" fmla="*/ 63 h 187"/>
                <a:gd name="T16" fmla="*/ 69 w 170"/>
                <a:gd name="T17" fmla="*/ 84 h 187"/>
                <a:gd name="T18" fmla="*/ 78 w 170"/>
                <a:gd name="T19" fmla="*/ 103 h 187"/>
                <a:gd name="T20" fmla="*/ 108 w 170"/>
                <a:gd name="T21" fmla="*/ 143 h 187"/>
                <a:gd name="T22" fmla="*/ 134 w 170"/>
                <a:gd name="T23" fmla="*/ 174 h 187"/>
                <a:gd name="T24" fmla="*/ 143 w 170"/>
                <a:gd name="T25" fmla="*/ 186 h 187"/>
                <a:gd name="T26" fmla="*/ 169 w 170"/>
                <a:gd name="T27" fmla="*/ 174 h 187"/>
                <a:gd name="T28" fmla="*/ 166 w 170"/>
                <a:gd name="T29" fmla="*/ 158 h 187"/>
                <a:gd name="T30" fmla="*/ 166 w 170"/>
                <a:gd name="T31" fmla="*/ 138 h 187"/>
                <a:gd name="T32" fmla="*/ 158 w 170"/>
                <a:gd name="T33" fmla="*/ 127 h 187"/>
                <a:gd name="T34" fmla="*/ 135 w 170"/>
                <a:gd name="T35" fmla="*/ 119 h 187"/>
                <a:gd name="T36" fmla="*/ 135 w 170"/>
                <a:gd name="T37" fmla="*/ 110 h 187"/>
                <a:gd name="T38" fmla="*/ 127 w 170"/>
                <a:gd name="T39" fmla="*/ 97 h 187"/>
                <a:gd name="T40" fmla="*/ 127 w 170"/>
                <a:gd name="T41" fmla="*/ 79 h 187"/>
                <a:gd name="T42" fmla="*/ 112 w 170"/>
                <a:gd name="T43" fmla="*/ 65 h 187"/>
                <a:gd name="T44" fmla="*/ 92 w 170"/>
                <a:gd name="T45" fmla="*/ 53 h 187"/>
                <a:gd name="T46" fmla="*/ 65 w 170"/>
                <a:gd name="T47" fmla="*/ 2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0" h="187">
                  <a:moveTo>
                    <a:pt x="65" y="29"/>
                  </a:moveTo>
                  <a:lnTo>
                    <a:pt x="43" y="20"/>
                  </a:lnTo>
                  <a:lnTo>
                    <a:pt x="25" y="0"/>
                  </a:lnTo>
                  <a:lnTo>
                    <a:pt x="3" y="3"/>
                  </a:lnTo>
                  <a:lnTo>
                    <a:pt x="0" y="11"/>
                  </a:lnTo>
                  <a:lnTo>
                    <a:pt x="26" y="29"/>
                  </a:lnTo>
                  <a:lnTo>
                    <a:pt x="49" y="49"/>
                  </a:lnTo>
                  <a:lnTo>
                    <a:pt x="65" y="63"/>
                  </a:lnTo>
                  <a:lnTo>
                    <a:pt x="69" y="84"/>
                  </a:lnTo>
                  <a:lnTo>
                    <a:pt x="78" y="103"/>
                  </a:lnTo>
                  <a:lnTo>
                    <a:pt x="108" y="143"/>
                  </a:lnTo>
                  <a:lnTo>
                    <a:pt x="134" y="174"/>
                  </a:lnTo>
                  <a:lnTo>
                    <a:pt x="143" y="186"/>
                  </a:lnTo>
                  <a:lnTo>
                    <a:pt x="169" y="174"/>
                  </a:lnTo>
                  <a:lnTo>
                    <a:pt x="166" y="158"/>
                  </a:lnTo>
                  <a:lnTo>
                    <a:pt x="166" y="138"/>
                  </a:lnTo>
                  <a:lnTo>
                    <a:pt x="158" y="127"/>
                  </a:lnTo>
                  <a:lnTo>
                    <a:pt x="135" y="119"/>
                  </a:lnTo>
                  <a:lnTo>
                    <a:pt x="135" y="110"/>
                  </a:lnTo>
                  <a:lnTo>
                    <a:pt x="127" y="97"/>
                  </a:lnTo>
                  <a:lnTo>
                    <a:pt x="127" y="79"/>
                  </a:lnTo>
                  <a:lnTo>
                    <a:pt x="112" y="65"/>
                  </a:lnTo>
                  <a:lnTo>
                    <a:pt x="92" y="53"/>
                  </a:lnTo>
                  <a:lnTo>
                    <a:pt x="65" y="2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92" name="Freeform 203">
              <a:extLst>
                <a:ext uri="{FF2B5EF4-FFF2-40B4-BE49-F238E27FC236}">
                  <a16:creationId xmlns:a16="http://schemas.microsoft.com/office/drawing/2014/main" id="{63CF068A-4372-4DE7-A09E-94A3CB177353}"/>
                </a:ext>
              </a:extLst>
            </p:cNvPr>
            <p:cNvSpPr>
              <a:spLocks/>
            </p:cNvSpPr>
            <p:nvPr/>
          </p:nvSpPr>
          <p:spPr bwMode="auto">
            <a:xfrm>
              <a:off x="5593905" y="3924833"/>
              <a:ext cx="217555" cy="244972"/>
            </a:xfrm>
            <a:custGeom>
              <a:avLst/>
              <a:gdLst>
                <a:gd name="T0" fmla="*/ 35 w 163"/>
                <a:gd name="T1" fmla="*/ 89 h 184"/>
                <a:gd name="T2" fmla="*/ 4 w 163"/>
                <a:gd name="T3" fmla="*/ 89 h 184"/>
                <a:gd name="T4" fmla="*/ 0 w 163"/>
                <a:gd name="T5" fmla="*/ 112 h 184"/>
                <a:gd name="T6" fmla="*/ 11 w 163"/>
                <a:gd name="T7" fmla="*/ 118 h 184"/>
                <a:gd name="T8" fmla="*/ 12 w 163"/>
                <a:gd name="T9" fmla="*/ 136 h 184"/>
                <a:gd name="T10" fmla="*/ 25 w 163"/>
                <a:gd name="T11" fmla="*/ 139 h 184"/>
                <a:gd name="T12" fmla="*/ 26 w 163"/>
                <a:gd name="T13" fmla="*/ 160 h 184"/>
                <a:gd name="T14" fmla="*/ 34 w 163"/>
                <a:gd name="T15" fmla="*/ 161 h 184"/>
                <a:gd name="T16" fmla="*/ 41 w 163"/>
                <a:gd name="T17" fmla="*/ 170 h 184"/>
                <a:gd name="T18" fmla="*/ 62 w 163"/>
                <a:gd name="T19" fmla="*/ 175 h 184"/>
                <a:gd name="T20" fmla="*/ 70 w 163"/>
                <a:gd name="T21" fmla="*/ 164 h 184"/>
                <a:gd name="T22" fmla="*/ 81 w 163"/>
                <a:gd name="T23" fmla="*/ 168 h 184"/>
                <a:gd name="T24" fmla="*/ 89 w 163"/>
                <a:gd name="T25" fmla="*/ 183 h 184"/>
                <a:gd name="T26" fmla="*/ 108 w 163"/>
                <a:gd name="T27" fmla="*/ 181 h 184"/>
                <a:gd name="T28" fmla="*/ 112 w 163"/>
                <a:gd name="T29" fmla="*/ 169 h 184"/>
                <a:gd name="T30" fmla="*/ 120 w 163"/>
                <a:gd name="T31" fmla="*/ 157 h 184"/>
                <a:gd name="T32" fmla="*/ 120 w 163"/>
                <a:gd name="T33" fmla="*/ 142 h 184"/>
                <a:gd name="T34" fmla="*/ 132 w 163"/>
                <a:gd name="T35" fmla="*/ 131 h 184"/>
                <a:gd name="T36" fmla="*/ 138 w 163"/>
                <a:gd name="T37" fmla="*/ 107 h 184"/>
                <a:gd name="T38" fmla="*/ 151 w 163"/>
                <a:gd name="T39" fmla="*/ 102 h 184"/>
                <a:gd name="T40" fmla="*/ 151 w 163"/>
                <a:gd name="T41" fmla="*/ 88 h 184"/>
                <a:gd name="T42" fmla="*/ 137 w 163"/>
                <a:gd name="T43" fmla="*/ 77 h 184"/>
                <a:gd name="T44" fmla="*/ 137 w 163"/>
                <a:gd name="T45" fmla="*/ 52 h 184"/>
                <a:gd name="T46" fmla="*/ 148 w 163"/>
                <a:gd name="T47" fmla="*/ 43 h 184"/>
                <a:gd name="T48" fmla="*/ 162 w 163"/>
                <a:gd name="T49" fmla="*/ 32 h 184"/>
                <a:gd name="T50" fmla="*/ 159 w 163"/>
                <a:gd name="T51" fmla="*/ 17 h 184"/>
                <a:gd name="T52" fmla="*/ 141 w 163"/>
                <a:gd name="T53" fmla="*/ 13 h 184"/>
                <a:gd name="T54" fmla="*/ 131 w 163"/>
                <a:gd name="T55" fmla="*/ 9 h 184"/>
                <a:gd name="T56" fmla="*/ 114 w 163"/>
                <a:gd name="T57" fmla="*/ 0 h 184"/>
                <a:gd name="T58" fmla="*/ 110 w 163"/>
                <a:gd name="T59" fmla="*/ 14 h 184"/>
                <a:gd name="T60" fmla="*/ 99 w 163"/>
                <a:gd name="T61" fmla="*/ 20 h 184"/>
                <a:gd name="T62" fmla="*/ 96 w 163"/>
                <a:gd name="T63" fmla="*/ 37 h 184"/>
                <a:gd name="T64" fmla="*/ 84 w 163"/>
                <a:gd name="T65" fmla="*/ 43 h 184"/>
                <a:gd name="T66" fmla="*/ 70 w 163"/>
                <a:gd name="T67" fmla="*/ 53 h 184"/>
                <a:gd name="T68" fmla="*/ 63 w 163"/>
                <a:gd name="T69" fmla="*/ 68 h 184"/>
                <a:gd name="T70" fmla="*/ 44 w 163"/>
                <a:gd name="T71" fmla="*/ 66 h 184"/>
                <a:gd name="T72" fmla="*/ 41 w 163"/>
                <a:gd name="T73" fmla="*/ 80 h 184"/>
                <a:gd name="T74" fmla="*/ 35 w 163"/>
                <a:gd name="T75" fmla="*/ 8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3" h="184">
                  <a:moveTo>
                    <a:pt x="35" y="89"/>
                  </a:moveTo>
                  <a:lnTo>
                    <a:pt x="4" y="89"/>
                  </a:lnTo>
                  <a:lnTo>
                    <a:pt x="0" y="112"/>
                  </a:lnTo>
                  <a:lnTo>
                    <a:pt x="11" y="118"/>
                  </a:lnTo>
                  <a:lnTo>
                    <a:pt x="12" y="136"/>
                  </a:lnTo>
                  <a:lnTo>
                    <a:pt x="25" y="139"/>
                  </a:lnTo>
                  <a:lnTo>
                    <a:pt x="26" y="160"/>
                  </a:lnTo>
                  <a:lnTo>
                    <a:pt x="34" y="161"/>
                  </a:lnTo>
                  <a:lnTo>
                    <a:pt x="41" y="170"/>
                  </a:lnTo>
                  <a:lnTo>
                    <a:pt x="62" y="175"/>
                  </a:lnTo>
                  <a:lnTo>
                    <a:pt x="70" y="164"/>
                  </a:lnTo>
                  <a:lnTo>
                    <a:pt x="81" y="168"/>
                  </a:lnTo>
                  <a:lnTo>
                    <a:pt x="89" y="183"/>
                  </a:lnTo>
                  <a:lnTo>
                    <a:pt x="108" y="181"/>
                  </a:lnTo>
                  <a:lnTo>
                    <a:pt x="112" y="169"/>
                  </a:lnTo>
                  <a:lnTo>
                    <a:pt x="120" y="157"/>
                  </a:lnTo>
                  <a:lnTo>
                    <a:pt x="120" y="142"/>
                  </a:lnTo>
                  <a:lnTo>
                    <a:pt x="132" y="131"/>
                  </a:lnTo>
                  <a:lnTo>
                    <a:pt x="138" y="107"/>
                  </a:lnTo>
                  <a:lnTo>
                    <a:pt x="151" y="102"/>
                  </a:lnTo>
                  <a:lnTo>
                    <a:pt x="151" y="88"/>
                  </a:lnTo>
                  <a:lnTo>
                    <a:pt x="137" y="77"/>
                  </a:lnTo>
                  <a:lnTo>
                    <a:pt x="137" y="52"/>
                  </a:lnTo>
                  <a:lnTo>
                    <a:pt x="148" y="43"/>
                  </a:lnTo>
                  <a:lnTo>
                    <a:pt x="162" y="32"/>
                  </a:lnTo>
                  <a:lnTo>
                    <a:pt x="159" y="17"/>
                  </a:lnTo>
                  <a:lnTo>
                    <a:pt x="141" y="13"/>
                  </a:lnTo>
                  <a:lnTo>
                    <a:pt x="131" y="9"/>
                  </a:lnTo>
                  <a:lnTo>
                    <a:pt x="114" y="0"/>
                  </a:lnTo>
                  <a:lnTo>
                    <a:pt x="110" y="14"/>
                  </a:lnTo>
                  <a:lnTo>
                    <a:pt x="99" y="20"/>
                  </a:lnTo>
                  <a:lnTo>
                    <a:pt x="96" y="37"/>
                  </a:lnTo>
                  <a:lnTo>
                    <a:pt x="84" y="43"/>
                  </a:lnTo>
                  <a:lnTo>
                    <a:pt x="70" y="53"/>
                  </a:lnTo>
                  <a:lnTo>
                    <a:pt x="63" y="68"/>
                  </a:lnTo>
                  <a:lnTo>
                    <a:pt x="44" y="66"/>
                  </a:lnTo>
                  <a:lnTo>
                    <a:pt x="41" y="80"/>
                  </a:lnTo>
                  <a:lnTo>
                    <a:pt x="35" y="8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93" name="Freeform 205">
              <a:extLst>
                <a:ext uri="{FF2B5EF4-FFF2-40B4-BE49-F238E27FC236}">
                  <a16:creationId xmlns:a16="http://schemas.microsoft.com/office/drawing/2014/main" id="{EBAACED4-91E1-4C0E-A9FC-277D27C5E065}"/>
                </a:ext>
              </a:extLst>
            </p:cNvPr>
            <p:cNvSpPr>
              <a:spLocks/>
            </p:cNvSpPr>
            <p:nvPr/>
          </p:nvSpPr>
          <p:spPr bwMode="auto">
            <a:xfrm>
              <a:off x="6081324" y="4109157"/>
              <a:ext cx="191401" cy="170053"/>
            </a:xfrm>
            <a:custGeom>
              <a:avLst/>
              <a:gdLst>
                <a:gd name="T0" fmla="*/ 124 w 144"/>
                <a:gd name="T1" fmla="*/ 24 h 128"/>
                <a:gd name="T2" fmla="*/ 110 w 144"/>
                <a:gd name="T3" fmla="*/ 19 h 128"/>
                <a:gd name="T4" fmla="*/ 80 w 144"/>
                <a:gd name="T5" fmla="*/ 6 h 128"/>
                <a:gd name="T6" fmla="*/ 71 w 144"/>
                <a:gd name="T7" fmla="*/ 0 h 128"/>
                <a:gd name="T8" fmla="*/ 55 w 144"/>
                <a:gd name="T9" fmla="*/ 3 h 128"/>
                <a:gd name="T10" fmla="*/ 40 w 144"/>
                <a:gd name="T11" fmla="*/ 19 h 128"/>
                <a:gd name="T12" fmla="*/ 22 w 144"/>
                <a:gd name="T13" fmla="*/ 29 h 128"/>
                <a:gd name="T14" fmla="*/ 6 w 144"/>
                <a:gd name="T15" fmla="*/ 32 h 128"/>
                <a:gd name="T16" fmla="*/ 0 w 144"/>
                <a:gd name="T17" fmla="*/ 34 h 128"/>
                <a:gd name="T18" fmla="*/ 6 w 144"/>
                <a:gd name="T19" fmla="*/ 45 h 128"/>
                <a:gd name="T20" fmla="*/ 21 w 144"/>
                <a:gd name="T21" fmla="*/ 43 h 128"/>
                <a:gd name="T22" fmla="*/ 41 w 144"/>
                <a:gd name="T23" fmla="*/ 54 h 128"/>
                <a:gd name="T24" fmla="*/ 55 w 144"/>
                <a:gd name="T25" fmla="*/ 62 h 128"/>
                <a:gd name="T26" fmla="*/ 69 w 144"/>
                <a:gd name="T27" fmla="*/ 75 h 128"/>
                <a:gd name="T28" fmla="*/ 69 w 144"/>
                <a:gd name="T29" fmla="*/ 92 h 128"/>
                <a:gd name="T30" fmla="*/ 66 w 144"/>
                <a:gd name="T31" fmla="*/ 98 h 128"/>
                <a:gd name="T32" fmla="*/ 53 w 144"/>
                <a:gd name="T33" fmla="*/ 103 h 128"/>
                <a:gd name="T34" fmla="*/ 56 w 144"/>
                <a:gd name="T35" fmla="*/ 116 h 128"/>
                <a:gd name="T36" fmla="*/ 74 w 144"/>
                <a:gd name="T37" fmla="*/ 114 h 128"/>
                <a:gd name="T38" fmla="*/ 92 w 144"/>
                <a:gd name="T39" fmla="*/ 114 h 128"/>
                <a:gd name="T40" fmla="*/ 99 w 144"/>
                <a:gd name="T41" fmla="*/ 122 h 128"/>
                <a:gd name="T42" fmla="*/ 111 w 144"/>
                <a:gd name="T43" fmla="*/ 127 h 128"/>
                <a:gd name="T44" fmla="*/ 128 w 144"/>
                <a:gd name="T45" fmla="*/ 120 h 128"/>
                <a:gd name="T46" fmla="*/ 135 w 144"/>
                <a:gd name="T47" fmla="*/ 107 h 128"/>
                <a:gd name="T48" fmla="*/ 143 w 144"/>
                <a:gd name="T49" fmla="*/ 97 h 128"/>
                <a:gd name="T50" fmla="*/ 124 w 144"/>
                <a:gd name="T51" fmla="*/ 2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128">
                  <a:moveTo>
                    <a:pt x="124" y="24"/>
                  </a:moveTo>
                  <a:lnTo>
                    <a:pt x="110" y="19"/>
                  </a:lnTo>
                  <a:lnTo>
                    <a:pt x="80" y="6"/>
                  </a:lnTo>
                  <a:lnTo>
                    <a:pt x="71" y="0"/>
                  </a:lnTo>
                  <a:lnTo>
                    <a:pt x="55" y="3"/>
                  </a:lnTo>
                  <a:lnTo>
                    <a:pt x="40" y="19"/>
                  </a:lnTo>
                  <a:lnTo>
                    <a:pt x="22" y="29"/>
                  </a:lnTo>
                  <a:lnTo>
                    <a:pt x="6" y="32"/>
                  </a:lnTo>
                  <a:lnTo>
                    <a:pt x="0" y="34"/>
                  </a:lnTo>
                  <a:lnTo>
                    <a:pt x="6" y="45"/>
                  </a:lnTo>
                  <a:lnTo>
                    <a:pt x="21" y="43"/>
                  </a:lnTo>
                  <a:lnTo>
                    <a:pt x="41" y="54"/>
                  </a:lnTo>
                  <a:lnTo>
                    <a:pt x="55" y="62"/>
                  </a:lnTo>
                  <a:lnTo>
                    <a:pt x="69" y="75"/>
                  </a:lnTo>
                  <a:lnTo>
                    <a:pt x="69" y="92"/>
                  </a:lnTo>
                  <a:lnTo>
                    <a:pt x="66" y="98"/>
                  </a:lnTo>
                  <a:lnTo>
                    <a:pt x="53" y="103"/>
                  </a:lnTo>
                  <a:lnTo>
                    <a:pt x="56" y="116"/>
                  </a:lnTo>
                  <a:lnTo>
                    <a:pt x="74" y="114"/>
                  </a:lnTo>
                  <a:lnTo>
                    <a:pt x="92" y="114"/>
                  </a:lnTo>
                  <a:lnTo>
                    <a:pt x="99" y="122"/>
                  </a:lnTo>
                  <a:lnTo>
                    <a:pt x="111" y="127"/>
                  </a:lnTo>
                  <a:lnTo>
                    <a:pt x="128" y="120"/>
                  </a:lnTo>
                  <a:lnTo>
                    <a:pt x="135" y="107"/>
                  </a:lnTo>
                  <a:lnTo>
                    <a:pt x="143" y="97"/>
                  </a:lnTo>
                  <a:lnTo>
                    <a:pt x="124" y="24"/>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94" name="Freeform 206">
              <a:extLst>
                <a:ext uri="{FF2B5EF4-FFF2-40B4-BE49-F238E27FC236}">
                  <a16:creationId xmlns:a16="http://schemas.microsoft.com/office/drawing/2014/main" id="{E2D6C1EF-D9A9-4FDD-A716-8630F96B580C}"/>
                </a:ext>
              </a:extLst>
            </p:cNvPr>
            <p:cNvSpPr>
              <a:spLocks/>
            </p:cNvSpPr>
            <p:nvPr/>
          </p:nvSpPr>
          <p:spPr bwMode="auto">
            <a:xfrm>
              <a:off x="6088457" y="4091319"/>
              <a:ext cx="51120" cy="34486"/>
            </a:xfrm>
            <a:custGeom>
              <a:avLst/>
              <a:gdLst>
                <a:gd name="T0" fmla="*/ 14 w 38"/>
                <a:gd name="T1" fmla="*/ 24 h 26"/>
                <a:gd name="T2" fmla="*/ 0 w 38"/>
                <a:gd name="T3" fmla="*/ 25 h 26"/>
                <a:gd name="T4" fmla="*/ 3 w 38"/>
                <a:gd name="T5" fmla="*/ 13 h 26"/>
                <a:gd name="T6" fmla="*/ 9 w 38"/>
                <a:gd name="T7" fmla="*/ 0 h 26"/>
                <a:gd name="T8" fmla="*/ 24 w 38"/>
                <a:gd name="T9" fmla="*/ 3 h 26"/>
                <a:gd name="T10" fmla="*/ 37 w 38"/>
                <a:gd name="T11" fmla="*/ 6 h 26"/>
                <a:gd name="T12" fmla="*/ 33 w 38"/>
                <a:gd name="T13" fmla="*/ 16 h 26"/>
                <a:gd name="T14" fmla="*/ 23 w 38"/>
                <a:gd name="T15" fmla="*/ 25 h 26"/>
                <a:gd name="T16" fmla="*/ 14 w 38"/>
                <a:gd name="T1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6">
                  <a:moveTo>
                    <a:pt x="14" y="24"/>
                  </a:moveTo>
                  <a:lnTo>
                    <a:pt x="0" y="25"/>
                  </a:lnTo>
                  <a:lnTo>
                    <a:pt x="3" y="13"/>
                  </a:lnTo>
                  <a:lnTo>
                    <a:pt x="9" y="0"/>
                  </a:lnTo>
                  <a:lnTo>
                    <a:pt x="24" y="3"/>
                  </a:lnTo>
                  <a:lnTo>
                    <a:pt x="37" y="6"/>
                  </a:lnTo>
                  <a:lnTo>
                    <a:pt x="33" y="16"/>
                  </a:lnTo>
                  <a:lnTo>
                    <a:pt x="23" y="25"/>
                  </a:lnTo>
                  <a:lnTo>
                    <a:pt x="14" y="24"/>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95" name="Freeform 220">
              <a:extLst>
                <a:ext uri="{FF2B5EF4-FFF2-40B4-BE49-F238E27FC236}">
                  <a16:creationId xmlns:a16="http://schemas.microsoft.com/office/drawing/2014/main" id="{C44CDD6D-B26E-49E5-A552-DA7890FB64DB}"/>
                </a:ext>
              </a:extLst>
            </p:cNvPr>
            <p:cNvSpPr>
              <a:spLocks/>
            </p:cNvSpPr>
            <p:nvPr/>
          </p:nvSpPr>
          <p:spPr bwMode="auto">
            <a:xfrm>
              <a:off x="5766285" y="3822564"/>
              <a:ext cx="41609" cy="79675"/>
            </a:xfrm>
            <a:custGeom>
              <a:avLst/>
              <a:gdLst>
                <a:gd name="T0" fmla="*/ 23 w 33"/>
                <a:gd name="T1" fmla="*/ 6 h 60"/>
                <a:gd name="T2" fmla="*/ 21 w 33"/>
                <a:gd name="T3" fmla="*/ 17 h 60"/>
                <a:gd name="T4" fmla="*/ 8 w 33"/>
                <a:gd name="T5" fmla="*/ 27 h 60"/>
                <a:gd name="T6" fmla="*/ 0 w 33"/>
                <a:gd name="T7" fmla="*/ 39 h 60"/>
                <a:gd name="T8" fmla="*/ 2 w 33"/>
                <a:gd name="T9" fmla="*/ 59 h 60"/>
                <a:gd name="T10" fmla="*/ 17 w 33"/>
                <a:gd name="T11" fmla="*/ 44 h 60"/>
                <a:gd name="T12" fmla="*/ 27 w 33"/>
                <a:gd name="T13" fmla="*/ 24 h 60"/>
                <a:gd name="T14" fmla="*/ 32 w 33"/>
                <a:gd name="T15" fmla="*/ 11 h 60"/>
                <a:gd name="T16" fmla="*/ 27 w 33"/>
                <a:gd name="T17" fmla="*/ 0 h 60"/>
                <a:gd name="T18" fmla="*/ 23 w 33"/>
                <a:gd name="T19" fmla="*/ 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60">
                  <a:moveTo>
                    <a:pt x="23" y="6"/>
                  </a:moveTo>
                  <a:lnTo>
                    <a:pt x="21" y="17"/>
                  </a:lnTo>
                  <a:lnTo>
                    <a:pt x="8" y="27"/>
                  </a:lnTo>
                  <a:lnTo>
                    <a:pt x="0" y="39"/>
                  </a:lnTo>
                  <a:lnTo>
                    <a:pt x="2" y="59"/>
                  </a:lnTo>
                  <a:lnTo>
                    <a:pt x="17" y="44"/>
                  </a:lnTo>
                  <a:lnTo>
                    <a:pt x="27" y="24"/>
                  </a:lnTo>
                  <a:lnTo>
                    <a:pt x="32" y="11"/>
                  </a:lnTo>
                  <a:lnTo>
                    <a:pt x="27" y="0"/>
                  </a:lnTo>
                  <a:lnTo>
                    <a:pt x="23" y="6"/>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96" name="Freeform 221">
              <a:extLst>
                <a:ext uri="{FF2B5EF4-FFF2-40B4-BE49-F238E27FC236}">
                  <a16:creationId xmlns:a16="http://schemas.microsoft.com/office/drawing/2014/main" id="{94D8F999-23A3-45AD-8974-BBB95BCDEA03}"/>
                </a:ext>
              </a:extLst>
            </p:cNvPr>
            <p:cNvSpPr>
              <a:spLocks/>
            </p:cNvSpPr>
            <p:nvPr/>
          </p:nvSpPr>
          <p:spPr bwMode="auto">
            <a:xfrm>
              <a:off x="5792439" y="3660835"/>
              <a:ext cx="66574" cy="104648"/>
            </a:xfrm>
            <a:custGeom>
              <a:avLst/>
              <a:gdLst>
                <a:gd name="T0" fmla="*/ 24 w 51"/>
                <a:gd name="T1" fmla="*/ 0 h 78"/>
                <a:gd name="T2" fmla="*/ 14 w 51"/>
                <a:gd name="T3" fmla="*/ 16 h 78"/>
                <a:gd name="T4" fmla="*/ 10 w 51"/>
                <a:gd name="T5" fmla="*/ 37 h 78"/>
                <a:gd name="T6" fmla="*/ 0 w 51"/>
                <a:gd name="T7" fmla="*/ 46 h 78"/>
                <a:gd name="T8" fmla="*/ 3 w 51"/>
                <a:gd name="T9" fmla="*/ 66 h 78"/>
                <a:gd name="T10" fmla="*/ 14 w 51"/>
                <a:gd name="T11" fmla="*/ 69 h 78"/>
                <a:gd name="T12" fmla="*/ 20 w 51"/>
                <a:gd name="T13" fmla="*/ 77 h 78"/>
                <a:gd name="T14" fmla="*/ 36 w 51"/>
                <a:gd name="T15" fmla="*/ 76 h 78"/>
                <a:gd name="T16" fmla="*/ 50 w 51"/>
                <a:gd name="T17" fmla="*/ 71 h 78"/>
                <a:gd name="T18" fmla="*/ 45 w 51"/>
                <a:gd name="T19" fmla="*/ 52 h 78"/>
                <a:gd name="T20" fmla="*/ 47 w 51"/>
                <a:gd name="T21" fmla="*/ 37 h 78"/>
                <a:gd name="T22" fmla="*/ 47 w 51"/>
                <a:gd name="T23" fmla="*/ 27 h 78"/>
                <a:gd name="T24" fmla="*/ 42 w 51"/>
                <a:gd name="T25" fmla="*/ 10 h 78"/>
                <a:gd name="T26" fmla="*/ 39 w 51"/>
                <a:gd name="T27" fmla="*/ 1 h 78"/>
                <a:gd name="T28" fmla="*/ 24 w 51"/>
                <a:gd name="T2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 h="78">
                  <a:moveTo>
                    <a:pt x="24" y="0"/>
                  </a:moveTo>
                  <a:lnTo>
                    <a:pt x="14" y="16"/>
                  </a:lnTo>
                  <a:lnTo>
                    <a:pt x="10" y="37"/>
                  </a:lnTo>
                  <a:lnTo>
                    <a:pt x="0" y="46"/>
                  </a:lnTo>
                  <a:lnTo>
                    <a:pt x="3" y="66"/>
                  </a:lnTo>
                  <a:lnTo>
                    <a:pt x="14" y="69"/>
                  </a:lnTo>
                  <a:lnTo>
                    <a:pt x="20" y="77"/>
                  </a:lnTo>
                  <a:lnTo>
                    <a:pt x="36" y="76"/>
                  </a:lnTo>
                  <a:lnTo>
                    <a:pt x="50" y="71"/>
                  </a:lnTo>
                  <a:lnTo>
                    <a:pt x="45" y="52"/>
                  </a:lnTo>
                  <a:lnTo>
                    <a:pt x="47" y="37"/>
                  </a:lnTo>
                  <a:lnTo>
                    <a:pt x="47" y="27"/>
                  </a:lnTo>
                  <a:lnTo>
                    <a:pt x="42" y="10"/>
                  </a:lnTo>
                  <a:lnTo>
                    <a:pt x="39" y="1"/>
                  </a:lnTo>
                  <a:lnTo>
                    <a:pt x="24"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97" name="Freeform 222">
              <a:extLst>
                <a:ext uri="{FF2B5EF4-FFF2-40B4-BE49-F238E27FC236}">
                  <a16:creationId xmlns:a16="http://schemas.microsoft.com/office/drawing/2014/main" id="{75CA948D-0519-4153-A146-26D7445AF8E4}"/>
                </a:ext>
              </a:extLst>
            </p:cNvPr>
            <p:cNvSpPr>
              <a:spLocks/>
            </p:cNvSpPr>
            <p:nvPr/>
          </p:nvSpPr>
          <p:spPr bwMode="auto">
            <a:xfrm>
              <a:off x="5881601" y="3866564"/>
              <a:ext cx="64197" cy="86810"/>
            </a:xfrm>
            <a:custGeom>
              <a:avLst/>
              <a:gdLst>
                <a:gd name="T0" fmla="*/ 28 w 48"/>
                <a:gd name="T1" fmla="*/ 0 h 66"/>
                <a:gd name="T2" fmla="*/ 14 w 48"/>
                <a:gd name="T3" fmla="*/ 10 h 66"/>
                <a:gd name="T4" fmla="*/ 0 w 48"/>
                <a:gd name="T5" fmla="*/ 26 h 66"/>
                <a:gd name="T6" fmla="*/ 8 w 48"/>
                <a:gd name="T7" fmla="*/ 38 h 66"/>
                <a:gd name="T8" fmla="*/ 18 w 48"/>
                <a:gd name="T9" fmla="*/ 52 h 66"/>
                <a:gd name="T10" fmla="*/ 29 w 48"/>
                <a:gd name="T11" fmla="*/ 65 h 66"/>
                <a:gd name="T12" fmla="*/ 38 w 48"/>
                <a:gd name="T13" fmla="*/ 52 h 66"/>
                <a:gd name="T14" fmla="*/ 47 w 48"/>
                <a:gd name="T15" fmla="*/ 45 h 66"/>
                <a:gd name="T16" fmla="*/ 47 w 48"/>
                <a:gd name="T17" fmla="*/ 18 h 66"/>
                <a:gd name="T18" fmla="*/ 41 w 48"/>
                <a:gd name="T19" fmla="*/ 7 h 66"/>
                <a:gd name="T20" fmla="*/ 28 w 48"/>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66">
                  <a:moveTo>
                    <a:pt x="28" y="0"/>
                  </a:moveTo>
                  <a:lnTo>
                    <a:pt x="14" y="10"/>
                  </a:lnTo>
                  <a:lnTo>
                    <a:pt x="0" y="26"/>
                  </a:lnTo>
                  <a:lnTo>
                    <a:pt x="8" y="38"/>
                  </a:lnTo>
                  <a:lnTo>
                    <a:pt x="18" y="52"/>
                  </a:lnTo>
                  <a:lnTo>
                    <a:pt x="29" y="65"/>
                  </a:lnTo>
                  <a:lnTo>
                    <a:pt x="38" y="52"/>
                  </a:lnTo>
                  <a:lnTo>
                    <a:pt x="47" y="45"/>
                  </a:lnTo>
                  <a:lnTo>
                    <a:pt x="47" y="18"/>
                  </a:lnTo>
                  <a:lnTo>
                    <a:pt x="41" y="7"/>
                  </a:lnTo>
                  <a:lnTo>
                    <a:pt x="28"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grpSp>
      <p:grpSp>
        <p:nvGrpSpPr>
          <p:cNvPr id="18" name="Group 17">
            <a:extLst>
              <a:ext uri="{FF2B5EF4-FFF2-40B4-BE49-F238E27FC236}">
                <a16:creationId xmlns:a16="http://schemas.microsoft.com/office/drawing/2014/main" id="{EABD0FA5-3772-4A26-8CAE-81318B319289}"/>
              </a:ext>
            </a:extLst>
          </p:cNvPr>
          <p:cNvGrpSpPr/>
          <p:nvPr/>
        </p:nvGrpSpPr>
        <p:grpSpPr>
          <a:xfrm>
            <a:off x="7955438" y="620226"/>
            <a:ext cx="3191161" cy="2623901"/>
            <a:chOff x="3174643" y="1910359"/>
            <a:chExt cx="3599767" cy="2959874"/>
          </a:xfrm>
          <a:solidFill>
            <a:schemeClr val="tx2"/>
          </a:solidFill>
        </p:grpSpPr>
        <p:sp>
          <p:nvSpPr>
            <p:cNvPr id="19" name="Freeform 58">
              <a:extLst>
                <a:ext uri="{FF2B5EF4-FFF2-40B4-BE49-F238E27FC236}">
                  <a16:creationId xmlns:a16="http://schemas.microsoft.com/office/drawing/2014/main" id="{69BD8567-7E99-4C68-8A0D-269451FB27D5}"/>
                </a:ext>
              </a:extLst>
            </p:cNvPr>
            <p:cNvSpPr>
              <a:spLocks/>
            </p:cNvSpPr>
            <p:nvPr/>
          </p:nvSpPr>
          <p:spPr bwMode="auto">
            <a:xfrm>
              <a:off x="3683461" y="1975764"/>
              <a:ext cx="222311" cy="130810"/>
            </a:xfrm>
            <a:custGeom>
              <a:avLst/>
              <a:gdLst>
                <a:gd name="T0" fmla="*/ 65 w 167"/>
                <a:gd name="T1" fmla="*/ 3 h 99"/>
                <a:gd name="T2" fmla="*/ 60 w 167"/>
                <a:gd name="T3" fmla="*/ 23 h 99"/>
                <a:gd name="T4" fmla="*/ 42 w 167"/>
                <a:gd name="T5" fmla="*/ 11 h 99"/>
                <a:gd name="T6" fmla="*/ 27 w 167"/>
                <a:gd name="T7" fmla="*/ 20 h 99"/>
                <a:gd name="T8" fmla="*/ 20 w 167"/>
                <a:gd name="T9" fmla="*/ 3 h 99"/>
                <a:gd name="T10" fmla="*/ 0 w 167"/>
                <a:gd name="T11" fmla="*/ 19 h 99"/>
                <a:gd name="T12" fmla="*/ 4 w 167"/>
                <a:gd name="T13" fmla="*/ 28 h 99"/>
                <a:gd name="T14" fmla="*/ 8 w 167"/>
                <a:gd name="T15" fmla="*/ 45 h 99"/>
                <a:gd name="T16" fmla="*/ 30 w 167"/>
                <a:gd name="T17" fmla="*/ 47 h 99"/>
                <a:gd name="T18" fmla="*/ 42 w 167"/>
                <a:gd name="T19" fmla="*/ 35 h 99"/>
                <a:gd name="T20" fmla="*/ 53 w 167"/>
                <a:gd name="T21" fmla="*/ 38 h 99"/>
                <a:gd name="T22" fmla="*/ 48 w 167"/>
                <a:gd name="T23" fmla="*/ 52 h 99"/>
                <a:gd name="T24" fmla="*/ 45 w 167"/>
                <a:gd name="T25" fmla="*/ 65 h 99"/>
                <a:gd name="T26" fmla="*/ 57 w 167"/>
                <a:gd name="T27" fmla="*/ 75 h 99"/>
                <a:gd name="T28" fmla="*/ 68 w 167"/>
                <a:gd name="T29" fmla="*/ 92 h 99"/>
                <a:gd name="T30" fmla="*/ 82 w 167"/>
                <a:gd name="T31" fmla="*/ 98 h 99"/>
                <a:gd name="T32" fmla="*/ 88 w 167"/>
                <a:gd name="T33" fmla="*/ 73 h 99"/>
                <a:gd name="T34" fmla="*/ 109 w 167"/>
                <a:gd name="T35" fmla="*/ 51 h 99"/>
                <a:gd name="T36" fmla="*/ 121 w 167"/>
                <a:gd name="T37" fmla="*/ 58 h 99"/>
                <a:gd name="T38" fmla="*/ 121 w 167"/>
                <a:gd name="T39" fmla="*/ 75 h 99"/>
                <a:gd name="T40" fmla="*/ 145 w 167"/>
                <a:gd name="T41" fmla="*/ 73 h 99"/>
                <a:gd name="T42" fmla="*/ 157 w 167"/>
                <a:gd name="T43" fmla="*/ 78 h 99"/>
                <a:gd name="T44" fmla="*/ 166 w 167"/>
                <a:gd name="T45" fmla="*/ 60 h 99"/>
                <a:gd name="T46" fmla="*/ 109 w 167"/>
                <a:gd name="T47" fmla="*/ 30 h 99"/>
                <a:gd name="T48" fmla="*/ 90 w 167"/>
                <a:gd name="T49" fmla="*/ 0 h 99"/>
                <a:gd name="T50" fmla="*/ 65 w 167"/>
                <a:gd name="T51" fmla="*/ 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99">
                  <a:moveTo>
                    <a:pt x="65" y="3"/>
                  </a:moveTo>
                  <a:lnTo>
                    <a:pt x="60" y="23"/>
                  </a:lnTo>
                  <a:lnTo>
                    <a:pt x="42" y="11"/>
                  </a:lnTo>
                  <a:lnTo>
                    <a:pt x="27" y="20"/>
                  </a:lnTo>
                  <a:lnTo>
                    <a:pt x="20" y="3"/>
                  </a:lnTo>
                  <a:lnTo>
                    <a:pt x="0" y="19"/>
                  </a:lnTo>
                  <a:lnTo>
                    <a:pt x="4" y="28"/>
                  </a:lnTo>
                  <a:lnTo>
                    <a:pt x="8" y="45"/>
                  </a:lnTo>
                  <a:lnTo>
                    <a:pt x="30" y="47"/>
                  </a:lnTo>
                  <a:lnTo>
                    <a:pt x="42" y="35"/>
                  </a:lnTo>
                  <a:lnTo>
                    <a:pt x="53" y="38"/>
                  </a:lnTo>
                  <a:lnTo>
                    <a:pt x="48" y="52"/>
                  </a:lnTo>
                  <a:lnTo>
                    <a:pt x="45" y="65"/>
                  </a:lnTo>
                  <a:lnTo>
                    <a:pt x="57" y="75"/>
                  </a:lnTo>
                  <a:lnTo>
                    <a:pt x="68" y="92"/>
                  </a:lnTo>
                  <a:lnTo>
                    <a:pt x="82" y="98"/>
                  </a:lnTo>
                  <a:lnTo>
                    <a:pt x="88" y="73"/>
                  </a:lnTo>
                  <a:lnTo>
                    <a:pt x="109" y="51"/>
                  </a:lnTo>
                  <a:lnTo>
                    <a:pt x="121" y="58"/>
                  </a:lnTo>
                  <a:lnTo>
                    <a:pt x="121" y="75"/>
                  </a:lnTo>
                  <a:lnTo>
                    <a:pt x="145" y="73"/>
                  </a:lnTo>
                  <a:lnTo>
                    <a:pt x="157" y="78"/>
                  </a:lnTo>
                  <a:lnTo>
                    <a:pt x="166" y="60"/>
                  </a:lnTo>
                  <a:lnTo>
                    <a:pt x="109" y="30"/>
                  </a:lnTo>
                  <a:lnTo>
                    <a:pt x="90" y="0"/>
                  </a:lnTo>
                  <a:lnTo>
                    <a:pt x="65" y="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0" name="Freeform 59">
              <a:extLst>
                <a:ext uri="{FF2B5EF4-FFF2-40B4-BE49-F238E27FC236}">
                  <a16:creationId xmlns:a16="http://schemas.microsoft.com/office/drawing/2014/main" id="{0E78B31A-4346-4977-A38B-6D22360902F3}"/>
                </a:ext>
              </a:extLst>
            </p:cNvPr>
            <p:cNvSpPr>
              <a:spLocks/>
            </p:cNvSpPr>
            <p:nvPr/>
          </p:nvSpPr>
          <p:spPr bwMode="auto">
            <a:xfrm>
              <a:off x="3828498" y="1960304"/>
              <a:ext cx="127204" cy="49946"/>
            </a:xfrm>
            <a:custGeom>
              <a:avLst/>
              <a:gdLst>
                <a:gd name="T0" fmla="*/ 0 w 95"/>
                <a:gd name="T1" fmla="*/ 3 h 38"/>
                <a:gd name="T2" fmla="*/ 5 w 95"/>
                <a:gd name="T3" fmla="*/ 27 h 38"/>
                <a:gd name="T4" fmla="*/ 43 w 95"/>
                <a:gd name="T5" fmla="*/ 37 h 38"/>
                <a:gd name="T6" fmla="*/ 71 w 95"/>
                <a:gd name="T7" fmla="*/ 27 h 38"/>
                <a:gd name="T8" fmla="*/ 94 w 95"/>
                <a:gd name="T9" fmla="*/ 5 h 38"/>
                <a:gd name="T10" fmla="*/ 54 w 95"/>
                <a:gd name="T11" fmla="*/ 5 h 38"/>
                <a:gd name="T12" fmla="*/ 31 w 95"/>
                <a:gd name="T13" fmla="*/ 0 h 38"/>
                <a:gd name="T14" fmla="*/ 0 w 95"/>
                <a:gd name="T15" fmla="*/ 3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38">
                  <a:moveTo>
                    <a:pt x="0" y="3"/>
                  </a:moveTo>
                  <a:lnTo>
                    <a:pt x="5" y="27"/>
                  </a:lnTo>
                  <a:lnTo>
                    <a:pt x="43" y="37"/>
                  </a:lnTo>
                  <a:lnTo>
                    <a:pt x="71" y="27"/>
                  </a:lnTo>
                  <a:lnTo>
                    <a:pt x="94" y="5"/>
                  </a:lnTo>
                  <a:lnTo>
                    <a:pt x="54" y="5"/>
                  </a:lnTo>
                  <a:lnTo>
                    <a:pt x="31" y="0"/>
                  </a:lnTo>
                  <a:lnTo>
                    <a:pt x="0" y="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1" name="Freeform 96">
              <a:extLst>
                <a:ext uri="{FF2B5EF4-FFF2-40B4-BE49-F238E27FC236}">
                  <a16:creationId xmlns:a16="http://schemas.microsoft.com/office/drawing/2014/main" id="{B0C812FE-A0F8-4401-BD7D-ABBE5721BBB0}"/>
                </a:ext>
              </a:extLst>
            </p:cNvPr>
            <p:cNvSpPr>
              <a:spLocks/>
            </p:cNvSpPr>
            <p:nvPr/>
          </p:nvSpPr>
          <p:spPr bwMode="auto">
            <a:xfrm>
              <a:off x="3357722" y="2292086"/>
              <a:ext cx="30909" cy="39243"/>
            </a:xfrm>
            <a:custGeom>
              <a:avLst/>
              <a:gdLst>
                <a:gd name="T0" fmla="*/ 8 w 24"/>
                <a:gd name="T1" fmla="*/ 0 h 29"/>
                <a:gd name="T2" fmla="*/ 0 w 24"/>
                <a:gd name="T3" fmla="*/ 28 h 29"/>
                <a:gd name="T4" fmla="*/ 23 w 24"/>
                <a:gd name="T5" fmla="*/ 10 h 29"/>
                <a:gd name="T6" fmla="*/ 8 w 24"/>
                <a:gd name="T7" fmla="*/ 0 h 29"/>
              </a:gdLst>
              <a:ahLst/>
              <a:cxnLst>
                <a:cxn ang="0">
                  <a:pos x="T0" y="T1"/>
                </a:cxn>
                <a:cxn ang="0">
                  <a:pos x="T2" y="T3"/>
                </a:cxn>
                <a:cxn ang="0">
                  <a:pos x="T4" y="T5"/>
                </a:cxn>
                <a:cxn ang="0">
                  <a:pos x="T6" y="T7"/>
                </a:cxn>
              </a:cxnLst>
              <a:rect l="0" t="0" r="r" b="b"/>
              <a:pathLst>
                <a:path w="24" h="29">
                  <a:moveTo>
                    <a:pt x="8" y="0"/>
                  </a:moveTo>
                  <a:lnTo>
                    <a:pt x="0" y="28"/>
                  </a:lnTo>
                  <a:lnTo>
                    <a:pt x="23" y="10"/>
                  </a:lnTo>
                  <a:lnTo>
                    <a:pt x="8"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2" name="Freeform 104">
              <a:extLst>
                <a:ext uri="{FF2B5EF4-FFF2-40B4-BE49-F238E27FC236}">
                  <a16:creationId xmlns:a16="http://schemas.microsoft.com/office/drawing/2014/main" id="{9A269114-5691-46C9-A633-5050AA1DAA7D}"/>
                </a:ext>
              </a:extLst>
            </p:cNvPr>
            <p:cNvSpPr>
              <a:spLocks/>
            </p:cNvSpPr>
            <p:nvPr/>
          </p:nvSpPr>
          <p:spPr bwMode="auto">
            <a:xfrm>
              <a:off x="3672761" y="2689273"/>
              <a:ext cx="27343" cy="19027"/>
            </a:xfrm>
            <a:custGeom>
              <a:avLst/>
              <a:gdLst>
                <a:gd name="T0" fmla="*/ 0 w 20"/>
                <a:gd name="T1" fmla="*/ 14 h 15"/>
                <a:gd name="T2" fmla="*/ 4 w 20"/>
                <a:gd name="T3" fmla="*/ 0 h 15"/>
                <a:gd name="T4" fmla="*/ 13 w 20"/>
                <a:gd name="T5" fmla="*/ 0 h 15"/>
                <a:gd name="T6" fmla="*/ 19 w 20"/>
                <a:gd name="T7" fmla="*/ 0 h 15"/>
                <a:gd name="T8" fmla="*/ 0 w 20"/>
                <a:gd name="T9" fmla="*/ 14 h 15"/>
              </a:gdLst>
              <a:ahLst/>
              <a:cxnLst>
                <a:cxn ang="0">
                  <a:pos x="T0" y="T1"/>
                </a:cxn>
                <a:cxn ang="0">
                  <a:pos x="T2" y="T3"/>
                </a:cxn>
                <a:cxn ang="0">
                  <a:pos x="T4" y="T5"/>
                </a:cxn>
                <a:cxn ang="0">
                  <a:pos x="T6" y="T7"/>
                </a:cxn>
                <a:cxn ang="0">
                  <a:pos x="T8" y="T9"/>
                </a:cxn>
              </a:cxnLst>
              <a:rect l="0" t="0" r="r" b="b"/>
              <a:pathLst>
                <a:path w="20" h="15">
                  <a:moveTo>
                    <a:pt x="0" y="14"/>
                  </a:moveTo>
                  <a:lnTo>
                    <a:pt x="4" y="0"/>
                  </a:lnTo>
                  <a:lnTo>
                    <a:pt x="13" y="0"/>
                  </a:lnTo>
                  <a:lnTo>
                    <a:pt x="19" y="0"/>
                  </a:lnTo>
                  <a:lnTo>
                    <a:pt x="0" y="14"/>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3" name="Freeform 105">
              <a:extLst>
                <a:ext uri="{FF2B5EF4-FFF2-40B4-BE49-F238E27FC236}">
                  <a16:creationId xmlns:a16="http://schemas.microsoft.com/office/drawing/2014/main" id="{DE7E79EE-D982-4B2D-BD80-18CFD43F121E}"/>
                </a:ext>
              </a:extLst>
            </p:cNvPr>
            <p:cNvSpPr>
              <a:spLocks/>
            </p:cNvSpPr>
            <p:nvPr/>
          </p:nvSpPr>
          <p:spPr bwMode="auto">
            <a:xfrm>
              <a:off x="4317105" y="2334897"/>
              <a:ext cx="30909" cy="33297"/>
            </a:xfrm>
            <a:custGeom>
              <a:avLst/>
              <a:gdLst>
                <a:gd name="T0" fmla="*/ 11 w 23"/>
                <a:gd name="T1" fmla="*/ 0 h 25"/>
                <a:gd name="T2" fmla="*/ 0 w 23"/>
                <a:gd name="T3" fmla="*/ 12 h 25"/>
                <a:gd name="T4" fmla="*/ 5 w 23"/>
                <a:gd name="T5" fmla="*/ 24 h 25"/>
                <a:gd name="T6" fmla="*/ 14 w 23"/>
                <a:gd name="T7" fmla="*/ 22 h 25"/>
                <a:gd name="T8" fmla="*/ 22 w 23"/>
                <a:gd name="T9" fmla="*/ 9 h 25"/>
                <a:gd name="T10" fmla="*/ 11 w 23"/>
                <a:gd name="T11" fmla="*/ 0 h 25"/>
              </a:gdLst>
              <a:ahLst/>
              <a:cxnLst>
                <a:cxn ang="0">
                  <a:pos x="T0" y="T1"/>
                </a:cxn>
                <a:cxn ang="0">
                  <a:pos x="T2" y="T3"/>
                </a:cxn>
                <a:cxn ang="0">
                  <a:pos x="T4" y="T5"/>
                </a:cxn>
                <a:cxn ang="0">
                  <a:pos x="T6" y="T7"/>
                </a:cxn>
                <a:cxn ang="0">
                  <a:pos x="T8" y="T9"/>
                </a:cxn>
                <a:cxn ang="0">
                  <a:pos x="T10" y="T11"/>
                </a:cxn>
              </a:cxnLst>
              <a:rect l="0" t="0" r="r" b="b"/>
              <a:pathLst>
                <a:path w="23" h="25">
                  <a:moveTo>
                    <a:pt x="11" y="0"/>
                  </a:moveTo>
                  <a:lnTo>
                    <a:pt x="0" y="12"/>
                  </a:lnTo>
                  <a:lnTo>
                    <a:pt x="5" y="24"/>
                  </a:lnTo>
                  <a:lnTo>
                    <a:pt x="14" y="22"/>
                  </a:lnTo>
                  <a:lnTo>
                    <a:pt x="22" y="9"/>
                  </a:lnTo>
                  <a:lnTo>
                    <a:pt x="11"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 name="Freeform 106">
              <a:extLst>
                <a:ext uri="{FF2B5EF4-FFF2-40B4-BE49-F238E27FC236}">
                  <a16:creationId xmlns:a16="http://schemas.microsoft.com/office/drawing/2014/main" id="{BF639688-188C-4FC2-B467-1A815B4FEAF1}"/>
                </a:ext>
              </a:extLst>
            </p:cNvPr>
            <p:cNvSpPr>
              <a:spLocks/>
            </p:cNvSpPr>
            <p:nvPr/>
          </p:nvSpPr>
          <p:spPr bwMode="auto">
            <a:xfrm>
              <a:off x="4466897" y="2305167"/>
              <a:ext cx="43987" cy="23784"/>
            </a:xfrm>
            <a:custGeom>
              <a:avLst/>
              <a:gdLst>
                <a:gd name="T0" fmla="*/ 27 w 33"/>
                <a:gd name="T1" fmla="*/ 4 h 17"/>
                <a:gd name="T2" fmla="*/ 13 w 33"/>
                <a:gd name="T3" fmla="*/ 0 h 17"/>
                <a:gd name="T4" fmla="*/ 0 w 33"/>
                <a:gd name="T5" fmla="*/ 12 h 17"/>
                <a:gd name="T6" fmla="*/ 9 w 33"/>
                <a:gd name="T7" fmla="*/ 14 h 17"/>
                <a:gd name="T8" fmla="*/ 32 w 33"/>
                <a:gd name="T9" fmla="*/ 16 h 17"/>
                <a:gd name="T10" fmla="*/ 27 w 33"/>
                <a:gd name="T11" fmla="*/ 4 h 17"/>
              </a:gdLst>
              <a:ahLst/>
              <a:cxnLst>
                <a:cxn ang="0">
                  <a:pos x="T0" y="T1"/>
                </a:cxn>
                <a:cxn ang="0">
                  <a:pos x="T2" y="T3"/>
                </a:cxn>
                <a:cxn ang="0">
                  <a:pos x="T4" y="T5"/>
                </a:cxn>
                <a:cxn ang="0">
                  <a:pos x="T6" y="T7"/>
                </a:cxn>
                <a:cxn ang="0">
                  <a:pos x="T8" y="T9"/>
                </a:cxn>
                <a:cxn ang="0">
                  <a:pos x="T10" y="T11"/>
                </a:cxn>
              </a:cxnLst>
              <a:rect l="0" t="0" r="r" b="b"/>
              <a:pathLst>
                <a:path w="33" h="17">
                  <a:moveTo>
                    <a:pt x="27" y="4"/>
                  </a:moveTo>
                  <a:lnTo>
                    <a:pt x="13" y="0"/>
                  </a:lnTo>
                  <a:lnTo>
                    <a:pt x="0" y="12"/>
                  </a:lnTo>
                  <a:lnTo>
                    <a:pt x="9" y="14"/>
                  </a:lnTo>
                  <a:lnTo>
                    <a:pt x="32" y="16"/>
                  </a:lnTo>
                  <a:lnTo>
                    <a:pt x="27" y="4"/>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5" name="Freeform 107">
              <a:extLst>
                <a:ext uri="{FF2B5EF4-FFF2-40B4-BE49-F238E27FC236}">
                  <a16:creationId xmlns:a16="http://schemas.microsoft.com/office/drawing/2014/main" id="{CF4F90FF-0A5A-4BE3-9DB2-1215285F63B7}"/>
                </a:ext>
              </a:extLst>
            </p:cNvPr>
            <p:cNvSpPr>
              <a:spLocks/>
            </p:cNvSpPr>
            <p:nvPr/>
          </p:nvSpPr>
          <p:spPr bwMode="auto">
            <a:xfrm>
              <a:off x="4664243" y="2164844"/>
              <a:ext cx="17832" cy="21405"/>
            </a:xfrm>
            <a:custGeom>
              <a:avLst/>
              <a:gdLst>
                <a:gd name="T0" fmla="*/ 6 w 14"/>
                <a:gd name="T1" fmla="*/ 15 h 16"/>
                <a:gd name="T2" fmla="*/ 7 w 14"/>
                <a:gd name="T3" fmla="*/ 15 h 16"/>
                <a:gd name="T4" fmla="*/ 8 w 14"/>
                <a:gd name="T5" fmla="*/ 15 h 16"/>
                <a:gd name="T6" fmla="*/ 9 w 14"/>
                <a:gd name="T7" fmla="*/ 14 h 16"/>
                <a:gd name="T8" fmla="*/ 11 w 14"/>
                <a:gd name="T9" fmla="*/ 14 h 16"/>
                <a:gd name="T10" fmla="*/ 11 w 14"/>
                <a:gd name="T11" fmla="*/ 13 h 16"/>
                <a:gd name="T12" fmla="*/ 11 w 14"/>
                <a:gd name="T13" fmla="*/ 12 h 16"/>
                <a:gd name="T14" fmla="*/ 11 w 14"/>
                <a:gd name="T15" fmla="*/ 11 h 16"/>
                <a:gd name="T16" fmla="*/ 11 w 14"/>
                <a:gd name="T17" fmla="*/ 10 h 16"/>
                <a:gd name="T18" fmla="*/ 11 w 14"/>
                <a:gd name="T19" fmla="*/ 9 h 16"/>
                <a:gd name="T20" fmla="*/ 13 w 14"/>
                <a:gd name="T21" fmla="*/ 8 h 16"/>
                <a:gd name="T22" fmla="*/ 11 w 14"/>
                <a:gd name="T23" fmla="*/ 8 h 16"/>
                <a:gd name="T24" fmla="*/ 11 w 14"/>
                <a:gd name="T25" fmla="*/ 7 h 16"/>
                <a:gd name="T26" fmla="*/ 11 w 14"/>
                <a:gd name="T27" fmla="*/ 5 h 16"/>
                <a:gd name="T28" fmla="*/ 11 w 14"/>
                <a:gd name="T29" fmla="*/ 4 h 16"/>
                <a:gd name="T30" fmla="*/ 11 w 14"/>
                <a:gd name="T31" fmla="*/ 3 h 16"/>
                <a:gd name="T32" fmla="*/ 11 w 14"/>
                <a:gd name="T33" fmla="*/ 2 h 16"/>
                <a:gd name="T34" fmla="*/ 9 w 14"/>
                <a:gd name="T35" fmla="*/ 1 h 16"/>
                <a:gd name="T36" fmla="*/ 8 w 14"/>
                <a:gd name="T37" fmla="*/ 1 h 16"/>
                <a:gd name="T38" fmla="*/ 7 w 14"/>
                <a:gd name="T39" fmla="*/ 0 h 16"/>
                <a:gd name="T40" fmla="*/ 6 w 14"/>
                <a:gd name="T41" fmla="*/ 0 h 16"/>
                <a:gd name="T42" fmla="*/ 4 w 14"/>
                <a:gd name="T43" fmla="*/ 0 h 16"/>
                <a:gd name="T44" fmla="*/ 3 w 14"/>
                <a:gd name="T45" fmla="*/ 1 h 16"/>
                <a:gd name="T46" fmla="*/ 2 w 14"/>
                <a:gd name="T47" fmla="*/ 2 h 16"/>
                <a:gd name="T48" fmla="*/ 1 w 14"/>
                <a:gd name="T49" fmla="*/ 3 h 16"/>
                <a:gd name="T50" fmla="*/ 0 w 14"/>
                <a:gd name="T51" fmla="*/ 4 h 16"/>
                <a:gd name="T52" fmla="*/ 0 w 14"/>
                <a:gd name="T53" fmla="*/ 5 h 16"/>
                <a:gd name="T54" fmla="*/ 0 w 14"/>
                <a:gd name="T55" fmla="*/ 7 h 16"/>
                <a:gd name="T56" fmla="*/ 0 w 14"/>
                <a:gd name="T57" fmla="*/ 8 h 16"/>
                <a:gd name="T58" fmla="*/ 0 w 14"/>
                <a:gd name="T59" fmla="*/ 9 h 16"/>
                <a:gd name="T60" fmla="*/ 0 w 14"/>
                <a:gd name="T61" fmla="*/ 10 h 16"/>
                <a:gd name="T62" fmla="*/ 0 w 14"/>
                <a:gd name="T63" fmla="*/ 11 h 16"/>
                <a:gd name="T64" fmla="*/ 0 w 14"/>
                <a:gd name="T65" fmla="*/ 12 h 16"/>
                <a:gd name="T66" fmla="*/ 1 w 14"/>
                <a:gd name="T67" fmla="*/ 13 h 16"/>
                <a:gd name="T68" fmla="*/ 2 w 14"/>
                <a:gd name="T69" fmla="*/ 14 h 16"/>
                <a:gd name="T70" fmla="*/ 3 w 14"/>
                <a:gd name="T71" fmla="*/ 14 h 16"/>
                <a:gd name="T72" fmla="*/ 3 w 14"/>
                <a:gd name="T73" fmla="*/ 15 h 16"/>
                <a:gd name="T74" fmla="*/ 4 w 14"/>
                <a:gd name="T75" fmla="*/ 15 h 16"/>
                <a:gd name="T76" fmla="*/ 6 w 14"/>
                <a:gd name="T7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16">
                  <a:moveTo>
                    <a:pt x="6" y="15"/>
                  </a:moveTo>
                  <a:lnTo>
                    <a:pt x="7" y="15"/>
                  </a:lnTo>
                  <a:lnTo>
                    <a:pt x="8" y="15"/>
                  </a:lnTo>
                  <a:lnTo>
                    <a:pt x="9" y="14"/>
                  </a:lnTo>
                  <a:lnTo>
                    <a:pt x="11" y="14"/>
                  </a:lnTo>
                  <a:lnTo>
                    <a:pt x="11" y="13"/>
                  </a:lnTo>
                  <a:lnTo>
                    <a:pt x="11" y="12"/>
                  </a:lnTo>
                  <a:lnTo>
                    <a:pt x="11" y="11"/>
                  </a:lnTo>
                  <a:lnTo>
                    <a:pt x="11" y="10"/>
                  </a:lnTo>
                  <a:lnTo>
                    <a:pt x="11" y="9"/>
                  </a:lnTo>
                  <a:lnTo>
                    <a:pt x="13" y="8"/>
                  </a:lnTo>
                  <a:lnTo>
                    <a:pt x="11" y="8"/>
                  </a:lnTo>
                  <a:lnTo>
                    <a:pt x="11" y="7"/>
                  </a:lnTo>
                  <a:lnTo>
                    <a:pt x="11" y="5"/>
                  </a:lnTo>
                  <a:lnTo>
                    <a:pt x="11" y="4"/>
                  </a:lnTo>
                  <a:lnTo>
                    <a:pt x="11" y="3"/>
                  </a:lnTo>
                  <a:lnTo>
                    <a:pt x="11" y="2"/>
                  </a:lnTo>
                  <a:lnTo>
                    <a:pt x="9" y="1"/>
                  </a:lnTo>
                  <a:lnTo>
                    <a:pt x="8" y="1"/>
                  </a:lnTo>
                  <a:lnTo>
                    <a:pt x="7" y="0"/>
                  </a:lnTo>
                  <a:lnTo>
                    <a:pt x="6" y="0"/>
                  </a:lnTo>
                  <a:lnTo>
                    <a:pt x="4" y="0"/>
                  </a:lnTo>
                  <a:lnTo>
                    <a:pt x="3" y="1"/>
                  </a:lnTo>
                  <a:lnTo>
                    <a:pt x="2" y="2"/>
                  </a:lnTo>
                  <a:lnTo>
                    <a:pt x="1" y="3"/>
                  </a:lnTo>
                  <a:lnTo>
                    <a:pt x="0" y="4"/>
                  </a:lnTo>
                  <a:lnTo>
                    <a:pt x="0" y="5"/>
                  </a:lnTo>
                  <a:lnTo>
                    <a:pt x="0" y="7"/>
                  </a:lnTo>
                  <a:lnTo>
                    <a:pt x="0" y="8"/>
                  </a:lnTo>
                  <a:lnTo>
                    <a:pt x="0" y="9"/>
                  </a:lnTo>
                  <a:lnTo>
                    <a:pt x="0" y="10"/>
                  </a:lnTo>
                  <a:lnTo>
                    <a:pt x="0" y="11"/>
                  </a:lnTo>
                  <a:lnTo>
                    <a:pt x="0" y="12"/>
                  </a:lnTo>
                  <a:lnTo>
                    <a:pt x="1" y="13"/>
                  </a:lnTo>
                  <a:lnTo>
                    <a:pt x="2" y="14"/>
                  </a:lnTo>
                  <a:lnTo>
                    <a:pt x="3" y="14"/>
                  </a:lnTo>
                  <a:lnTo>
                    <a:pt x="3" y="15"/>
                  </a:lnTo>
                  <a:lnTo>
                    <a:pt x="4" y="15"/>
                  </a:lnTo>
                  <a:lnTo>
                    <a:pt x="6" y="15"/>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6" name="Freeform 108">
              <a:extLst>
                <a:ext uri="{FF2B5EF4-FFF2-40B4-BE49-F238E27FC236}">
                  <a16:creationId xmlns:a16="http://schemas.microsoft.com/office/drawing/2014/main" id="{98F2CA4B-3727-450F-93F9-8488D90A835B}"/>
                </a:ext>
              </a:extLst>
            </p:cNvPr>
            <p:cNvSpPr>
              <a:spLocks/>
            </p:cNvSpPr>
            <p:nvPr/>
          </p:nvSpPr>
          <p:spPr bwMode="auto">
            <a:xfrm>
              <a:off x="3751224" y="2346789"/>
              <a:ext cx="23777" cy="21405"/>
            </a:xfrm>
            <a:custGeom>
              <a:avLst/>
              <a:gdLst>
                <a:gd name="T0" fmla="*/ 6 w 18"/>
                <a:gd name="T1" fmla="*/ 0 h 16"/>
                <a:gd name="T2" fmla="*/ 0 w 18"/>
                <a:gd name="T3" fmla="*/ 11 h 16"/>
                <a:gd name="T4" fmla="*/ 12 w 18"/>
                <a:gd name="T5" fmla="*/ 15 h 16"/>
                <a:gd name="T6" fmla="*/ 17 w 18"/>
                <a:gd name="T7" fmla="*/ 0 h 16"/>
                <a:gd name="T8" fmla="*/ 6 w 18"/>
                <a:gd name="T9" fmla="*/ 0 h 16"/>
              </a:gdLst>
              <a:ahLst/>
              <a:cxnLst>
                <a:cxn ang="0">
                  <a:pos x="T0" y="T1"/>
                </a:cxn>
                <a:cxn ang="0">
                  <a:pos x="T2" y="T3"/>
                </a:cxn>
                <a:cxn ang="0">
                  <a:pos x="T4" y="T5"/>
                </a:cxn>
                <a:cxn ang="0">
                  <a:pos x="T6" y="T7"/>
                </a:cxn>
                <a:cxn ang="0">
                  <a:pos x="T8" y="T9"/>
                </a:cxn>
              </a:cxnLst>
              <a:rect l="0" t="0" r="r" b="b"/>
              <a:pathLst>
                <a:path w="18" h="16">
                  <a:moveTo>
                    <a:pt x="6" y="0"/>
                  </a:moveTo>
                  <a:lnTo>
                    <a:pt x="0" y="11"/>
                  </a:lnTo>
                  <a:lnTo>
                    <a:pt x="12" y="15"/>
                  </a:lnTo>
                  <a:lnTo>
                    <a:pt x="17" y="0"/>
                  </a:lnTo>
                  <a:lnTo>
                    <a:pt x="6"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7" name="Freeform 109">
              <a:extLst>
                <a:ext uri="{FF2B5EF4-FFF2-40B4-BE49-F238E27FC236}">
                  <a16:creationId xmlns:a16="http://schemas.microsoft.com/office/drawing/2014/main" id="{8BA8C667-552B-47EC-95DD-1AC33CCE461D}"/>
                </a:ext>
              </a:extLst>
            </p:cNvPr>
            <p:cNvSpPr>
              <a:spLocks/>
            </p:cNvSpPr>
            <p:nvPr/>
          </p:nvSpPr>
          <p:spPr bwMode="auto">
            <a:xfrm>
              <a:off x="3789266" y="2328951"/>
              <a:ext cx="21399" cy="44000"/>
            </a:xfrm>
            <a:custGeom>
              <a:avLst/>
              <a:gdLst>
                <a:gd name="T0" fmla="*/ 0 w 16"/>
                <a:gd name="T1" fmla="*/ 0 h 33"/>
                <a:gd name="T2" fmla="*/ 2 w 16"/>
                <a:gd name="T3" fmla="*/ 13 h 33"/>
                <a:gd name="T4" fmla="*/ 9 w 16"/>
                <a:gd name="T5" fmla="*/ 16 h 33"/>
                <a:gd name="T6" fmla="*/ 12 w 16"/>
                <a:gd name="T7" fmla="*/ 32 h 33"/>
                <a:gd name="T8" fmla="*/ 15 w 16"/>
                <a:gd name="T9" fmla="*/ 20 h 33"/>
                <a:gd name="T10" fmla="*/ 15 w 16"/>
                <a:gd name="T11" fmla="*/ 11 h 33"/>
                <a:gd name="T12" fmla="*/ 14 w 16"/>
                <a:gd name="T13" fmla="*/ 0 h 33"/>
                <a:gd name="T14" fmla="*/ 0 w 16"/>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3">
                  <a:moveTo>
                    <a:pt x="0" y="0"/>
                  </a:moveTo>
                  <a:lnTo>
                    <a:pt x="2" y="13"/>
                  </a:lnTo>
                  <a:lnTo>
                    <a:pt x="9" y="16"/>
                  </a:lnTo>
                  <a:lnTo>
                    <a:pt x="12" y="32"/>
                  </a:lnTo>
                  <a:lnTo>
                    <a:pt x="15" y="20"/>
                  </a:lnTo>
                  <a:lnTo>
                    <a:pt x="15" y="11"/>
                  </a:lnTo>
                  <a:lnTo>
                    <a:pt x="14" y="0"/>
                  </a:lnTo>
                  <a:lnTo>
                    <a:pt x="0"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8" name="Freeform 110">
              <a:extLst>
                <a:ext uri="{FF2B5EF4-FFF2-40B4-BE49-F238E27FC236}">
                  <a16:creationId xmlns:a16="http://schemas.microsoft.com/office/drawing/2014/main" id="{A5198751-FF5F-49AA-B59B-2778FF380593}"/>
                </a:ext>
              </a:extLst>
            </p:cNvPr>
            <p:cNvSpPr>
              <a:spLocks/>
            </p:cNvSpPr>
            <p:nvPr/>
          </p:nvSpPr>
          <p:spPr bwMode="auto">
            <a:xfrm>
              <a:off x="3822553" y="2331329"/>
              <a:ext cx="21399" cy="17838"/>
            </a:xfrm>
            <a:custGeom>
              <a:avLst/>
              <a:gdLst>
                <a:gd name="T0" fmla="*/ 0 w 15"/>
                <a:gd name="T1" fmla="*/ 4 h 14"/>
                <a:gd name="T2" fmla="*/ 7 w 15"/>
                <a:gd name="T3" fmla="*/ 13 h 14"/>
                <a:gd name="T4" fmla="*/ 14 w 15"/>
                <a:gd name="T5" fmla="*/ 0 h 14"/>
                <a:gd name="T6" fmla="*/ 0 w 15"/>
                <a:gd name="T7" fmla="*/ 4 h 14"/>
              </a:gdLst>
              <a:ahLst/>
              <a:cxnLst>
                <a:cxn ang="0">
                  <a:pos x="T0" y="T1"/>
                </a:cxn>
                <a:cxn ang="0">
                  <a:pos x="T2" y="T3"/>
                </a:cxn>
                <a:cxn ang="0">
                  <a:pos x="T4" y="T5"/>
                </a:cxn>
                <a:cxn ang="0">
                  <a:pos x="T6" y="T7"/>
                </a:cxn>
              </a:cxnLst>
              <a:rect l="0" t="0" r="r" b="b"/>
              <a:pathLst>
                <a:path w="15" h="14">
                  <a:moveTo>
                    <a:pt x="0" y="4"/>
                  </a:moveTo>
                  <a:lnTo>
                    <a:pt x="7" y="13"/>
                  </a:lnTo>
                  <a:lnTo>
                    <a:pt x="14" y="0"/>
                  </a:lnTo>
                  <a:lnTo>
                    <a:pt x="0" y="4"/>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9" name="Freeform 111">
              <a:extLst>
                <a:ext uri="{FF2B5EF4-FFF2-40B4-BE49-F238E27FC236}">
                  <a16:creationId xmlns:a16="http://schemas.microsoft.com/office/drawing/2014/main" id="{AF39D037-4B40-417D-BB4D-75AC0B0C0FB6}"/>
                </a:ext>
              </a:extLst>
            </p:cNvPr>
            <p:cNvSpPr>
              <a:spLocks/>
            </p:cNvSpPr>
            <p:nvPr/>
          </p:nvSpPr>
          <p:spPr bwMode="auto">
            <a:xfrm>
              <a:off x="5999295" y="3326675"/>
              <a:ext cx="23777" cy="22594"/>
            </a:xfrm>
            <a:custGeom>
              <a:avLst/>
              <a:gdLst>
                <a:gd name="T0" fmla="*/ 1 w 18"/>
                <a:gd name="T1" fmla="*/ 6 h 17"/>
                <a:gd name="T2" fmla="*/ 0 w 18"/>
                <a:gd name="T3" fmla="*/ 16 h 17"/>
                <a:gd name="T4" fmla="*/ 9 w 18"/>
                <a:gd name="T5" fmla="*/ 16 h 17"/>
                <a:gd name="T6" fmla="*/ 17 w 18"/>
                <a:gd name="T7" fmla="*/ 6 h 17"/>
                <a:gd name="T8" fmla="*/ 7 w 18"/>
                <a:gd name="T9" fmla="*/ 0 h 17"/>
                <a:gd name="T10" fmla="*/ 1 w 18"/>
                <a:gd name="T11" fmla="*/ 2 h 17"/>
              </a:gdLst>
              <a:ahLst/>
              <a:cxnLst>
                <a:cxn ang="0">
                  <a:pos x="T0" y="T1"/>
                </a:cxn>
                <a:cxn ang="0">
                  <a:pos x="T2" y="T3"/>
                </a:cxn>
                <a:cxn ang="0">
                  <a:pos x="T4" y="T5"/>
                </a:cxn>
                <a:cxn ang="0">
                  <a:pos x="T6" y="T7"/>
                </a:cxn>
                <a:cxn ang="0">
                  <a:pos x="T8" y="T9"/>
                </a:cxn>
                <a:cxn ang="0">
                  <a:pos x="T10" y="T11"/>
                </a:cxn>
              </a:cxnLst>
              <a:rect l="0" t="0" r="r" b="b"/>
              <a:pathLst>
                <a:path w="18" h="17">
                  <a:moveTo>
                    <a:pt x="1" y="6"/>
                  </a:moveTo>
                  <a:lnTo>
                    <a:pt x="0" y="16"/>
                  </a:lnTo>
                  <a:lnTo>
                    <a:pt x="9" y="16"/>
                  </a:lnTo>
                  <a:lnTo>
                    <a:pt x="17" y="6"/>
                  </a:lnTo>
                  <a:lnTo>
                    <a:pt x="7" y="0"/>
                  </a:lnTo>
                  <a:lnTo>
                    <a:pt x="1" y="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30" name="Freeform 112">
              <a:extLst>
                <a:ext uri="{FF2B5EF4-FFF2-40B4-BE49-F238E27FC236}">
                  <a16:creationId xmlns:a16="http://schemas.microsoft.com/office/drawing/2014/main" id="{34D8542F-C676-40CB-B8AD-F0CA5F40DACD}"/>
                </a:ext>
              </a:extLst>
            </p:cNvPr>
            <p:cNvSpPr>
              <a:spLocks/>
            </p:cNvSpPr>
            <p:nvPr/>
          </p:nvSpPr>
          <p:spPr bwMode="auto">
            <a:xfrm>
              <a:off x="4103116" y="3275540"/>
              <a:ext cx="43987" cy="21405"/>
            </a:xfrm>
            <a:custGeom>
              <a:avLst/>
              <a:gdLst>
                <a:gd name="T0" fmla="*/ 16 w 32"/>
                <a:gd name="T1" fmla="*/ 11 h 16"/>
                <a:gd name="T2" fmla="*/ 15 w 32"/>
                <a:gd name="T3" fmla="*/ 11 h 16"/>
                <a:gd name="T4" fmla="*/ 14 w 32"/>
                <a:gd name="T5" fmla="*/ 11 h 16"/>
                <a:gd name="T6" fmla="*/ 12 w 32"/>
                <a:gd name="T7" fmla="*/ 11 h 16"/>
                <a:gd name="T8" fmla="*/ 12 w 32"/>
                <a:gd name="T9" fmla="*/ 12 h 16"/>
                <a:gd name="T10" fmla="*/ 11 w 32"/>
                <a:gd name="T11" fmla="*/ 12 h 16"/>
                <a:gd name="T12" fmla="*/ 9 w 32"/>
                <a:gd name="T13" fmla="*/ 13 h 16"/>
                <a:gd name="T14" fmla="*/ 8 w 32"/>
                <a:gd name="T15" fmla="*/ 13 h 16"/>
                <a:gd name="T16" fmla="*/ 6 w 32"/>
                <a:gd name="T17" fmla="*/ 14 h 16"/>
                <a:gd name="T18" fmla="*/ 5 w 32"/>
                <a:gd name="T19" fmla="*/ 14 h 16"/>
                <a:gd name="T20" fmla="*/ 4 w 32"/>
                <a:gd name="T21" fmla="*/ 15 h 16"/>
                <a:gd name="T22" fmla="*/ 3 w 32"/>
                <a:gd name="T23" fmla="*/ 14 h 16"/>
                <a:gd name="T24" fmla="*/ 1 w 32"/>
                <a:gd name="T25" fmla="*/ 14 h 16"/>
                <a:gd name="T26" fmla="*/ 0 w 32"/>
                <a:gd name="T27" fmla="*/ 13 h 16"/>
                <a:gd name="T28" fmla="*/ 0 w 32"/>
                <a:gd name="T29" fmla="*/ 12 h 16"/>
                <a:gd name="T30" fmla="*/ 0 w 32"/>
                <a:gd name="T31" fmla="*/ 11 h 16"/>
                <a:gd name="T32" fmla="*/ 0 w 32"/>
                <a:gd name="T33" fmla="*/ 10 h 16"/>
                <a:gd name="T34" fmla="*/ 0 w 32"/>
                <a:gd name="T35" fmla="*/ 9 h 16"/>
                <a:gd name="T36" fmla="*/ 0 w 32"/>
                <a:gd name="T37" fmla="*/ 8 h 16"/>
                <a:gd name="T38" fmla="*/ 0 w 32"/>
                <a:gd name="T39" fmla="*/ 7 h 16"/>
                <a:gd name="T40" fmla="*/ 0 w 32"/>
                <a:gd name="T41" fmla="*/ 6 h 16"/>
                <a:gd name="T42" fmla="*/ 0 w 32"/>
                <a:gd name="T43" fmla="*/ 5 h 16"/>
                <a:gd name="T44" fmla="*/ 1 w 32"/>
                <a:gd name="T45" fmla="*/ 4 h 16"/>
                <a:gd name="T46" fmla="*/ 2 w 32"/>
                <a:gd name="T47" fmla="*/ 4 h 16"/>
                <a:gd name="T48" fmla="*/ 3 w 32"/>
                <a:gd name="T49" fmla="*/ 4 h 16"/>
                <a:gd name="T50" fmla="*/ 4 w 32"/>
                <a:gd name="T51" fmla="*/ 4 h 16"/>
                <a:gd name="T52" fmla="*/ 5 w 32"/>
                <a:gd name="T53" fmla="*/ 4 h 16"/>
                <a:gd name="T54" fmla="*/ 7 w 32"/>
                <a:gd name="T55" fmla="*/ 4 h 16"/>
                <a:gd name="T56" fmla="*/ 8 w 32"/>
                <a:gd name="T57" fmla="*/ 4 h 16"/>
                <a:gd name="T58" fmla="*/ 10 w 32"/>
                <a:gd name="T59" fmla="*/ 4 h 16"/>
                <a:gd name="T60" fmla="*/ 12 w 32"/>
                <a:gd name="T61" fmla="*/ 4 h 16"/>
                <a:gd name="T62" fmla="*/ 14 w 32"/>
                <a:gd name="T63" fmla="*/ 4 h 16"/>
                <a:gd name="T64" fmla="*/ 15 w 32"/>
                <a:gd name="T65" fmla="*/ 4 h 16"/>
                <a:gd name="T66" fmla="*/ 16 w 32"/>
                <a:gd name="T67" fmla="*/ 4 h 16"/>
                <a:gd name="T68" fmla="*/ 18 w 32"/>
                <a:gd name="T69" fmla="*/ 4 h 16"/>
                <a:gd name="T70" fmla="*/ 19 w 32"/>
                <a:gd name="T71" fmla="*/ 3 h 16"/>
                <a:gd name="T72" fmla="*/ 20 w 32"/>
                <a:gd name="T73" fmla="*/ 2 h 16"/>
                <a:gd name="T74" fmla="*/ 23 w 32"/>
                <a:gd name="T75" fmla="*/ 2 h 16"/>
                <a:gd name="T76" fmla="*/ 24 w 32"/>
                <a:gd name="T77" fmla="*/ 1 h 16"/>
                <a:gd name="T78" fmla="*/ 26 w 32"/>
                <a:gd name="T79" fmla="*/ 0 h 16"/>
                <a:gd name="T80" fmla="*/ 27 w 32"/>
                <a:gd name="T81" fmla="*/ 0 h 16"/>
                <a:gd name="T82" fmla="*/ 28 w 32"/>
                <a:gd name="T83" fmla="*/ 0 h 16"/>
                <a:gd name="T84" fmla="*/ 29 w 32"/>
                <a:gd name="T85" fmla="*/ 0 h 16"/>
                <a:gd name="T86" fmla="*/ 31 w 32"/>
                <a:gd name="T87" fmla="*/ 0 h 16"/>
                <a:gd name="T88" fmla="*/ 31 w 32"/>
                <a:gd name="T89" fmla="*/ 1 h 16"/>
                <a:gd name="T90" fmla="*/ 31 w 32"/>
                <a:gd name="T91" fmla="*/ 2 h 16"/>
                <a:gd name="T92" fmla="*/ 31 w 32"/>
                <a:gd name="T93" fmla="*/ 3 h 16"/>
                <a:gd name="T94" fmla="*/ 30 w 32"/>
                <a:gd name="T95" fmla="*/ 4 h 16"/>
                <a:gd name="T96" fmla="*/ 29 w 32"/>
                <a:gd name="T97" fmla="*/ 4 h 16"/>
                <a:gd name="T98" fmla="*/ 28 w 32"/>
                <a:gd name="T99" fmla="*/ 4 h 16"/>
                <a:gd name="T100" fmla="*/ 27 w 32"/>
                <a:gd name="T101" fmla="*/ 6 h 16"/>
                <a:gd name="T102" fmla="*/ 27 w 32"/>
                <a:gd name="T103" fmla="*/ 7 h 16"/>
                <a:gd name="T104" fmla="*/ 27 w 32"/>
                <a:gd name="T105" fmla="*/ 8 h 16"/>
                <a:gd name="T106" fmla="*/ 27 w 32"/>
                <a:gd name="T107" fmla="*/ 9 h 16"/>
                <a:gd name="T108" fmla="*/ 26 w 32"/>
                <a:gd name="T109" fmla="*/ 9 h 16"/>
                <a:gd name="T110" fmla="*/ 26 w 32"/>
                <a:gd name="T111" fmla="*/ 10 h 16"/>
                <a:gd name="T112" fmla="*/ 24 w 32"/>
                <a:gd name="T113" fmla="*/ 11 h 16"/>
                <a:gd name="T114" fmla="*/ 23 w 32"/>
                <a:gd name="T115" fmla="*/ 11 h 16"/>
                <a:gd name="T116" fmla="*/ 21 w 32"/>
                <a:gd name="T117" fmla="*/ 11 h 16"/>
                <a:gd name="T118" fmla="*/ 19 w 32"/>
                <a:gd name="T119" fmla="*/ 11 h 16"/>
                <a:gd name="T120" fmla="*/ 18 w 32"/>
                <a:gd name="T121" fmla="*/ 11 h 16"/>
                <a:gd name="T122" fmla="*/ 16 w 32"/>
                <a:gd name="T123"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16">
                  <a:moveTo>
                    <a:pt x="16" y="11"/>
                  </a:moveTo>
                  <a:lnTo>
                    <a:pt x="15" y="11"/>
                  </a:lnTo>
                  <a:lnTo>
                    <a:pt x="14" y="11"/>
                  </a:lnTo>
                  <a:lnTo>
                    <a:pt x="12" y="11"/>
                  </a:lnTo>
                  <a:lnTo>
                    <a:pt x="12" y="12"/>
                  </a:lnTo>
                  <a:lnTo>
                    <a:pt x="11" y="12"/>
                  </a:lnTo>
                  <a:lnTo>
                    <a:pt x="9" y="13"/>
                  </a:lnTo>
                  <a:lnTo>
                    <a:pt x="8" y="13"/>
                  </a:lnTo>
                  <a:lnTo>
                    <a:pt x="6" y="14"/>
                  </a:lnTo>
                  <a:lnTo>
                    <a:pt x="5" y="14"/>
                  </a:lnTo>
                  <a:lnTo>
                    <a:pt x="4" y="15"/>
                  </a:lnTo>
                  <a:lnTo>
                    <a:pt x="3" y="14"/>
                  </a:lnTo>
                  <a:lnTo>
                    <a:pt x="1" y="14"/>
                  </a:lnTo>
                  <a:lnTo>
                    <a:pt x="0" y="13"/>
                  </a:lnTo>
                  <a:lnTo>
                    <a:pt x="0" y="12"/>
                  </a:lnTo>
                  <a:lnTo>
                    <a:pt x="0" y="11"/>
                  </a:lnTo>
                  <a:lnTo>
                    <a:pt x="0" y="10"/>
                  </a:lnTo>
                  <a:lnTo>
                    <a:pt x="0" y="9"/>
                  </a:lnTo>
                  <a:lnTo>
                    <a:pt x="0" y="8"/>
                  </a:lnTo>
                  <a:lnTo>
                    <a:pt x="0" y="7"/>
                  </a:lnTo>
                  <a:lnTo>
                    <a:pt x="0" y="6"/>
                  </a:lnTo>
                  <a:lnTo>
                    <a:pt x="0" y="5"/>
                  </a:lnTo>
                  <a:lnTo>
                    <a:pt x="1" y="4"/>
                  </a:lnTo>
                  <a:lnTo>
                    <a:pt x="2" y="4"/>
                  </a:lnTo>
                  <a:lnTo>
                    <a:pt x="3" y="4"/>
                  </a:lnTo>
                  <a:lnTo>
                    <a:pt x="4" y="4"/>
                  </a:lnTo>
                  <a:lnTo>
                    <a:pt x="5" y="4"/>
                  </a:lnTo>
                  <a:lnTo>
                    <a:pt x="7" y="4"/>
                  </a:lnTo>
                  <a:lnTo>
                    <a:pt x="8" y="4"/>
                  </a:lnTo>
                  <a:lnTo>
                    <a:pt x="10" y="4"/>
                  </a:lnTo>
                  <a:lnTo>
                    <a:pt x="12" y="4"/>
                  </a:lnTo>
                  <a:lnTo>
                    <a:pt x="14" y="4"/>
                  </a:lnTo>
                  <a:lnTo>
                    <a:pt x="15" y="4"/>
                  </a:lnTo>
                  <a:lnTo>
                    <a:pt x="16" y="4"/>
                  </a:lnTo>
                  <a:lnTo>
                    <a:pt x="18" y="4"/>
                  </a:lnTo>
                  <a:lnTo>
                    <a:pt x="19" y="3"/>
                  </a:lnTo>
                  <a:lnTo>
                    <a:pt x="20" y="2"/>
                  </a:lnTo>
                  <a:lnTo>
                    <a:pt x="23" y="2"/>
                  </a:lnTo>
                  <a:lnTo>
                    <a:pt x="24" y="1"/>
                  </a:lnTo>
                  <a:lnTo>
                    <a:pt x="26" y="0"/>
                  </a:lnTo>
                  <a:lnTo>
                    <a:pt x="27" y="0"/>
                  </a:lnTo>
                  <a:lnTo>
                    <a:pt x="28" y="0"/>
                  </a:lnTo>
                  <a:lnTo>
                    <a:pt x="29" y="0"/>
                  </a:lnTo>
                  <a:lnTo>
                    <a:pt x="31" y="0"/>
                  </a:lnTo>
                  <a:lnTo>
                    <a:pt x="31" y="1"/>
                  </a:lnTo>
                  <a:lnTo>
                    <a:pt x="31" y="2"/>
                  </a:lnTo>
                  <a:lnTo>
                    <a:pt x="31" y="3"/>
                  </a:lnTo>
                  <a:lnTo>
                    <a:pt x="30" y="4"/>
                  </a:lnTo>
                  <a:lnTo>
                    <a:pt x="29" y="4"/>
                  </a:lnTo>
                  <a:lnTo>
                    <a:pt x="28" y="4"/>
                  </a:lnTo>
                  <a:lnTo>
                    <a:pt x="27" y="6"/>
                  </a:lnTo>
                  <a:lnTo>
                    <a:pt x="27" y="7"/>
                  </a:lnTo>
                  <a:lnTo>
                    <a:pt x="27" y="8"/>
                  </a:lnTo>
                  <a:lnTo>
                    <a:pt x="27" y="9"/>
                  </a:lnTo>
                  <a:lnTo>
                    <a:pt x="26" y="9"/>
                  </a:lnTo>
                  <a:lnTo>
                    <a:pt x="26" y="10"/>
                  </a:lnTo>
                  <a:lnTo>
                    <a:pt x="24" y="11"/>
                  </a:lnTo>
                  <a:lnTo>
                    <a:pt x="23" y="11"/>
                  </a:lnTo>
                  <a:lnTo>
                    <a:pt x="21" y="11"/>
                  </a:lnTo>
                  <a:lnTo>
                    <a:pt x="19" y="11"/>
                  </a:lnTo>
                  <a:lnTo>
                    <a:pt x="18" y="11"/>
                  </a:lnTo>
                  <a:lnTo>
                    <a:pt x="16" y="11"/>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31" name="Freeform 113">
              <a:extLst>
                <a:ext uri="{FF2B5EF4-FFF2-40B4-BE49-F238E27FC236}">
                  <a16:creationId xmlns:a16="http://schemas.microsoft.com/office/drawing/2014/main" id="{60FFC268-1A32-4B8A-8624-550EADC3FE1E}"/>
                </a:ext>
              </a:extLst>
            </p:cNvPr>
            <p:cNvSpPr>
              <a:spLocks/>
            </p:cNvSpPr>
            <p:nvPr/>
          </p:nvSpPr>
          <p:spPr bwMode="auto">
            <a:xfrm>
              <a:off x="3463528" y="2660733"/>
              <a:ext cx="17832" cy="17838"/>
            </a:xfrm>
            <a:custGeom>
              <a:avLst/>
              <a:gdLst>
                <a:gd name="T0" fmla="*/ 0 w 14"/>
                <a:gd name="T1" fmla="*/ 0 h 14"/>
                <a:gd name="T2" fmla="*/ 2 w 14"/>
                <a:gd name="T3" fmla="*/ 13 h 14"/>
                <a:gd name="T4" fmla="*/ 13 w 14"/>
                <a:gd name="T5" fmla="*/ 0 h 14"/>
                <a:gd name="T6" fmla="*/ 0 w 14"/>
                <a:gd name="T7" fmla="*/ 0 h 14"/>
              </a:gdLst>
              <a:ahLst/>
              <a:cxnLst>
                <a:cxn ang="0">
                  <a:pos x="T0" y="T1"/>
                </a:cxn>
                <a:cxn ang="0">
                  <a:pos x="T2" y="T3"/>
                </a:cxn>
                <a:cxn ang="0">
                  <a:pos x="T4" y="T5"/>
                </a:cxn>
                <a:cxn ang="0">
                  <a:pos x="T6" y="T7"/>
                </a:cxn>
              </a:cxnLst>
              <a:rect l="0" t="0" r="r" b="b"/>
              <a:pathLst>
                <a:path w="14" h="14">
                  <a:moveTo>
                    <a:pt x="0" y="0"/>
                  </a:moveTo>
                  <a:lnTo>
                    <a:pt x="2" y="13"/>
                  </a:lnTo>
                  <a:lnTo>
                    <a:pt x="13" y="0"/>
                  </a:lnTo>
                  <a:lnTo>
                    <a:pt x="0"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32" name="Freeform 114">
              <a:extLst>
                <a:ext uri="{FF2B5EF4-FFF2-40B4-BE49-F238E27FC236}">
                  <a16:creationId xmlns:a16="http://schemas.microsoft.com/office/drawing/2014/main" id="{54F3A48A-8C3C-4A00-9E7A-EA2746D2EA20}"/>
                </a:ext>
              </a:extLst>
            </p:cNvPr>
            <p:cNvSpPr>
              <a:spLocks/>
            </p:cNvSpPr>
            <p:nvPr/>
          </p:nvSpPr>
          <p:spPr bwMode="auto">
            <a:xfrm>
              <a:off x="3381499" y="2682138"/>
              <a:ext cx="20210" cy="29730"/>
            </a:xfrm>
            <a:custGeom>
              <a:avLst/>
              <a:gdLst>
                <a:gd name="T0" fmla="*/ 11 w 15"/>
                <a:gd name="T1" fmla="*/ 0 h 23"/>
                <a:gd name="T2" fmla="*/ 2 w 15"/>
                <a:gd name="T3" fmla="*/ 6 h 23"/>
                <a:gd name="T4" fmla="*/ 0 w 15"/>
                <a:gd name="T5" fmla="*/ 17 h 23"/>
                <a:gd name="T6" fmla="*/ 5 w 15"/>
                <a:gd name="T7" fmla="*/ 22 h 23"/>
                <a:gd name="T8" fmla="*/ 14 w 15"/>
                <a:gd name="T9" fmla="*/ 11 h 23"/>
                <a:gd name="T10" fmla="*/ 11 w 15"/>
                <a:gd name="T11" fmla="*/ 0 h 23"/>
              </a:gdLst>
              <a:ahLst/>
              <a:cxnLst>
                <a:cxn ang="0">
                  <a:pos x="T0" y="T1"/>
                </a:cxn>
                <a:cxn ang="0">
                  <a:pos x="T2" y="T3"/>
                </a:cxn>
                <a:cxn ang="0">
                  <a:pos x="T4" y="T5"/>
                </a:cxn>
                <a:cxn ang="0">
                  <a:pos x="T6" y="T7"/>
                </a:cxn>
                <a:cxn ang="0">
                  <a:pos x="T8" y="T9"/>
                </a:cxn>
                <a:cxn ang="0">
                  <a:pos x="T10" y="T11"/>
                </a:cxn>
              </a:cxnLst>
              <a:rect l="0" t="0" r="r" b="b"/>
              <a:pathLst>
                <a:path w="15" h="23">
                  <a:moveTo>
                    <a:pt x="11" y="0"/>
                  </a:moveTo>
                  <a:lnTo>
                    <a:pt x="2" y="6"/>
                  </a:lnTo>
                  <a:lnTo>
                    <a:pt x="0" y="17"/>
                  </a:lnTo>
                  <a:lnTo>
                    <a:pt x="5" y="22"/>
                  </a:lnTo>
                  <a:lnTo>
                    <a:pt x="14" y="11"/>
                  </a:lnTo>
                  <a:lnTo>
                    <a:pt x="11"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33" name="Freeform 115">
              <a:extLst>
                <a:ext uri="{FF2B5EF4-FFF2-40B4-BE49-F238E27FC236}">
                  <a16:creationId xmlns:a16="http://schemas.microsoft.com/office/drawing/2014/main" id="{7EDE5D6C-FF83-4C87-BD16-BE22820AF76D}"/>
                </a:ext>
              </a:extLst>
            </p:cNvPr>
            <p:cNvSpPr>
              <a:spLocks/>
            </p:cNvSpPr>
            <p:nvPr/>
          </p:nvSpPr>
          <p:spPr bwMode="auto">
            <a:xfrm>
              <a:off x="3975912" y="3124514"/>
              <a:ext cx="40420" cy="26162"/>
            </a:xfrm>
            <a:custGeom>
              <a:avLst/>
              <a:gdLst>
                <a:gd name="T0" fmla="*/ 6 w 30"/>
                <a:gd name="T1" fmla="*/ 19 h 20"/>
                <a:gd name="T2" fmla="*/ 18 w 30"/>
                <a:gd name="T3" fmla="*/ 19 h 20"/>
                <a:gd name="T4" fmla="*/ 29 w 30"/>
                <a:gd name="T5" fmla="*/ 10 h 20"/>
                <a:gd name="T6" fmla="*/ 13 w 30"/>
                <a:gd name="T7" fmla="*/ 0 h 20"/>
                <a:gd name="T8" fmla="*/ 0 w 30"/>
                <a:gd name="T9" fmla="*/ 2 h 20"/>
                <a:gd name="T10" fmla="*/ 0 w 30"/>
                <a:gd name="T11" fmla="*/ 14 h 20"/>
                <a:gd name="T12" fmla="*/ 6 w 30"/>
                <a:gd name="T13" fmla="*/ 19 h 20"/>
              </a:gdLst>
              <a:ahLst/>
              <a:cxnLst>
                <a:cxn ang="0">
                  <a:pos x="T0" y="T1"/>
                </a:cxn>
                <a:cxn ang="0">
                  <a:pos x="T2" y="T3"/>
                </a:cxn>
                <a:cxn ang="0">
                  <a:pos x="T4" y="T5"/>
                </a:cxn>
                <a:cxn ang="0">
                  <a:pos x="T6" y="T7"/>
                </a:cxn>
                <a:cxn ang="0">
                  <a:pos x="T8" y="T9"/>
                </a:cxn>
                <a:cxn ang="0">
                  <a:pos x="T10" y="T11"/>
                </a:cxn>
                <a:cxn ang="0">
                  <a:pos x="T12" y="T13"/>
                </a:cxn>
              </a:cxnLst>
              <a:rect l="0" t="0" r="r" b="b"/>
              <a:pathLst>
                <a:path w="30" h="20">
                  <a:moveTo>
                    <a:pt x="6" y="19"/>
                  </a:moveTo>
                  <a:lnTo>
                    <a:pt x="18" y="19"/>
                  </a:lnTo>
                  <a:lnTo>
                    <a:pt x="29" y="10"/>
                  </a:lnTo>
                  <a:lnTo>
                    <a:pt x="13" y="0"/>
                  </a:lnTo>
                  <a:lnTo>
                    <a:pt x="0" y="2"/>
                  </a:lnTo>
                  <a:lnTo>
                    <a:pt x="0" y="14"/>
                  </a:lnTo>
                  <a:lnTo>
                    <a:pt x="6" y="1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34" name="Freeform 118">
              <a:extLst>
                <a:ext uri="{FF2B5EF4-FFF2-40B4-BE49-F238E27FC236}">
                  <a16:creationId xmlns:a16="http://schemas.microsoft.com/office/drawing/2014/main" id="{E391BB11-C649-4CF7-9063-C059D297990F}"/>
                </a:ext>
              </a:extLst>
            </p:cNvPr>
            <p:cNvSpPr>
              <a:spLocks/>
            </p:cNvSpPr>
            <p:nvPr/>
          </p:nvSpPr>
          <p:spPr bwMode="auto">
            <a:xfrm>
              <a:off x="5788873" y="3519322"/>
              <a:ext cx="34476" cy="67783"/>
            </a:xfrm>
            <a:custGeom>
              <a:avLst/>
              <a:gdLst>
                <a:gd name="T0" fmla="*/ 12 w 25"/>
                <a:gd name="T1" fmla="*/ 0 h 51"/>
                <a:gd name="T2" fmla="*/ 2 w 25"/>
                <a:gd name="T3" fmla="*/ 15 h 51"/>
                <a:gd name="T4" fmla="*/ 0 w 25"/>
                <a:gd name="T5" fmla="*/ 34 h 51"/>
                <a:gd name="T6" fmla="*/ 16 w 25"/>
                <a:gd name="T7" fmla="*/ 50 h 51"/>
                <a:gd name="T8" fmla="*/ 24 w 25"/>
                <a:gd name="T9" fmla="*/ 26 h 51"/>
                <a:gd name="T10" fmla="*/ 12 w 25"/>
                <a:gd name="T11" fmla="*/ 0 h 51"/>
              </a:gdLst>
              <a:ahLst/>
              <a:cxnLst>
                <a:cxn ang="0">
                  <a:pos x="T0" y="T1"/>
                </a:cxn>
                <a:cxn ang="0">
                  <a:pos x="T2" y="T3"/>
                </a:cxn>
                <a:cxn ang="0">
                  <a:pos x="T4" y="T5"/>
                </a:cxn>
                <a:cxn ang="0">
                  <a:pos x="T6" y="T7"/>
                </a:cxn>
                <a:cxn ang="0">
                  <a:pos x="T8" y="T9"/>
                </a:cxn>
                <a:cxn ang="0">
                  <a:pos x="T10" y="T11"/>
                </a:cxn>
              </a:cxnLst>
              <a:rect l="0" t="0" r="r" b="b"/>
              <a:pathLst>
                <a:path w="25" h="51">
                  <a:moveTo>
                    <a:pt x="12" y="0"/>
                  </a:moveTo>
                  <a:lnTo>
                    <a:pt x="2" y="15"/>
                  </a:lnTo>
                  <a:lnTo>
                    <a:pt x="0" y="34"/>
                  </a:lnTo>
                  <a:lnTo>
                    <a:pt x="16" y="50"/>
                  </a:lnTo>
                  <a:lnTo>
                    <a:pt x="24" y="26"/>
                  </a:lnTo>
                  <a:lnTo>
                    <a:pt x="12"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35" name="Freeform 131">
              <a:extLst>
                <a:ext uri="{FF2B5EF4-FFF2-40B4-BE49-F238E27FC236}">
                  <a16:creationId xmlns:a16="http://schemas.microsoft.com/office/drawing/2014/main" id="{997A65EC-0D1C-41C7-A8B7-CE7B7C415036}"/>
                </a:ext>
              </a:extLst>
            </p:cNvPr>
            <p:cNvSpPr>
              <a:spLocks/>
            </p:cNvSpPr>
            <p:nvPr/>
          </p:nvSpPr>
          <p:spPr bwMode="auto">
            <a:xfrm>
              <a:off x="4002066" y="4420722"/>
              <a:ext cx="145037" cy="166486"/>
            </a:xfrm>
            <a:custGeom>
              <a:avLst/>
              <a:gdLst>
                <a:gd name="T0" fmla="*/ 65 w 108"/>
                <a:gd name="T1" fmla="*/ 0 h 125"/>
                <a:gd name="T2" fmla="*/ 59 w 108"/>
                <a:gd name="T3" fmla="*/ 7 h 125"/>
                <a:gd name="T4" fmla="*/ 47 w 108"/>
                <a:gd name="T5" fmla="*/ 9 h 125"/>
                <a:gd name="T6" fmla="*/ 45 w 108"/>
                <a:gd name="T7" fmla="*/ 20 h 125"/>
                <a:gd name="T8" fmla="*/ 40 w 108"/>
                <a:gd name="T9" fmla="*/ 23 h 125"/>
                <a:gd name="T10" fmla="*/ 32 w 108"/>
                <a:gd name="T11" fmla="*/ 25 h 125"/>
                <a:gd name="T12" fmla="*/ 30 w 108"/>
                <a:gd name="T13" fmla="*/ 36 h 125"/>
                <a:gd name="T14" fmla="*/ 22 w 108"/>
                <a:gd name="T15" fmla="*/ 39 h 125"/>
                <a:gd name="T16" fmla="*/ 8 w 108"/>
                <a:gd name="T17" fmla="*/ 39 h 125"/>
                <a:gd name="T18" fmla="*/ 0 w 108"/>
                <a:gd name="T19" fmla="*/ 42 h 125"/>
                <a:gd name="T20" fmla="*/ 6 w 108"/>
                <a:gd name="T21" fmla="*/ 64 h 125"/>
                <a:gd name="T22" fmla="*/ 8 w 108"/>
                <a:gd name="T23" fmla="*/ 75 h 125"/>
                <a:gd name="T24" fmla="*/ 15 w 108"/>
                <a:gd name="T25" fmla="*/ 79 h 125"/>
                <a:gd name="T26" fmla="*/ 19 w 108"/>
                <a:gd name="T27" fmla="*/ 91 h 125"/>
                <a:gd name="T28" fmla="*/ 27 w 108"/>
                <a:gd name="T29" fmla="*/ 92 h 125"/>
                <a:gd name="T30" fmla="*/ 31 w 108"/>
                <a:gd name="T31" fmla="*/ 107 h 125"/>
                <a:gd name="T32" fmla="*/ 37 w 108"/>
                <a:gd name="T33" fmla="*/ 109 h 125"/>
                <a:gd name="T34" fmla="*/ 52 w 108"/>
                <a:gd name="T35" fmla="*/ 115 h 125"/>
                <a:gd name="T36" fmla="*/ 62 w 108"/>
                <a:gd name="T37" fmla="*/ 119 h 125"/>
                <a:gd name="T38" fmla="*/ 66 w 108"/>
                <a:gd name="T39" fmla="*/ 124 h 125"/>
                <a:gd name="T40" fmla="*/ 82 w 108"/>
                <a:gd name="T41" fmla="*/ 124 h 125"/>
                <a:gd name="T42" fmla="*/ 85 w 108"/>
                <a:gd name="T43" fmla="*/ 113 h 125"/>
                <a:gd name="T44" fmla="*/ 93 w 108"/>
                <a:gd name="T45" fmla="*/ 108 h 125"/>
                <a:gd name="T46" fmla="*/ 92 w 108"/>
                <a:gd name="T47" fmla="*/ 87 h 125"/>
                <a:gd name="T48" fmla="*/ 102 w 108"/>
                <a:gd name="T49" fmla="*/ 82 h 125"/>
                <a:gd name="T50" fmla="*/ 107 w 108"/>
                <a:gd name="T51" fmla="*/ 75 h 125"/>
                <a:gd name="T52" fmla="*/ 101 w 108"/>
                <a:gd name="T53" fmla="*/ 61 h 125"/>
                <a:gd name="T54" fmla="*/ 100 w 108"/>
                <a:gd name="T55" fmla="*/ 51 h 125"/>
                <a:gd name="T56" fmla="*/ 105 w 108"/>
                <a:gd name="T57" fmla="*/ 31 h 125"/>
                <a:gd name="T58" fmla="*/ 98 w 108"/>
                <a:gd name="T59" fmla="*/ 16 h 125"/>
                <a:gd name="T60" fmla="*/ 77 w 108"/>
                <a:gd name="T61" fmla="*/ 13 h 125"/>
                <a:gd name="T62" fmla="*/ 70 w 108"/>
                <a:gd name="T63" fmla="*/ 1 h 125"/>
                <a:gd name="T64" fmla="*/ 65 w 108"/>
                <a:gd name="T65"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 h="125">
                  <a:moveTo>
                    <a:pt x="65" y="0"/>
                  </a:moveTo>
                  <a:lnTo>
                    <a:pt x="59" y="7"/>
                  </a:lnTo>
                  <a:lnTo>
                    <a:pt x="47" y="9"/>
                  </a:lnTo>
                  <a:lnTo>
                    <a:pt x="45" y="20"/>
                  </a:lnTo>
                  <a:lnTo>
                    <a:pt x="40" y="23"/>
                  </a:lnTo>
                  <a:lnTo>
                    <a:pt x="32" y="25"/>
                  </a:lnTo>
                  <a:lnTo>
                    <a:pt x="30" y="36"/>
                  </a:lnTo>
                  <a:lnTo>
                    <a:pt x="22" y="39"/>
                  </a:lnTo>
                  <a:lnTo>
                    <a:pt x="8" y="39"/>
                  </a:lnTo>
                  <a:lnTo>
                    <a:pt x="0" y="42"/>
                  </a:lnTo>
                  <a:lnTo>
                    <a:pt x="6" y="64"/>
                  </a:lnTo>
                  <a:lnTo>
                    <a:pt x="8" y="75"/>
                  </a:lnTo>
                  <a:lnTo>
                    <a:pt x="15" y="79"/>
                  </a:lnTo>
                  <a:lnTo>
                    <a:pt x="19" y="91"/>
                  </a:lnTo>
                  <a:lnTo>
                    <a:pt x="27" y="92"/>
                  </a:lnTo>
                  <a:lnTo>
                    <a:pt x="31" y="107"/>
                  </a:lnTo>
                  <a:lnTo>
                    <a:pt x="37" y="109"/>
                  </a:lnTo>
                  <a:lnTo>
                    <a:pt x="52" y="115"/>
                  </a:lnTo>
                  <a:lnTo>
                    <a:pt x="62" y="119"/>
                  </a:lnTo>
                  <a:lnTo>
                    <a:pt x="66" y="124"/>
                  </a:lnTo>
                  <a:lnTo>
                    <a:pt x="82" y="124"/>
                  </a:lnTo>
                  <a:lnTo>
                    <a:pt x="85" y="113"/>
                  </a:lnTo>
                  <a:lnTo>
                    <a:pt x="93" y="108"/>
                  </a:lnTo>
                  <a:lnTo>
                    <a:pt x="92" y="87"/>
                  </a:lnTo>
                  <a:lnTo>
                    <a:pt x="102" y="82"/>
                  </a:lnTo>
                  <a:lnTo>
                    <a:pt x="107" y="75"/>
                  </a:lnTo>
                  <a:lnTo>
                    <a:pt x="101" y="61"/>
                  </a:lnTo>
                  <a:lnTo>
                    <a:pt x="100" y="51"/>
                  </a:lnTo>
                  <a:lnTo>
                    <a:pt x="105" y="31"/>
                  </a:lnTo>
                  <a:lnTo>
                    <a:pt x="98" y="16"/>
                  </a:lnTo>
                  <a:lnTo>
                    <a:pt x="77" y="13"/>
                  </a:lnTo>
                  <a:lnTo>
                    <a:pt x="70" y="1"/>
                  </a:lnTo>
                  <a:lnTo>
                    <a:pt x="65"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36" name="Freeform 132">
              <a:extLst>
                <a:ext uri="{FF2B5EF4-FFF2-40B4-BE49-F238E27FC236}">
                  <a16:creationId xmlns:a16="http://schemas.microsoft.com/office/drawing/2014/main" id="{665DB87E-E6EE-4D21-831C-B8231553DB28}"/>
                </a:ext>
              </a:extLst>
            </p:cNvPr>
            <p:cNvSpPr>
              <a:spLocks/>
            </p:cNvSpPr>
            <p:nvPr/>
          </p:nvSpPr>
          <p:spPr bwMode="auto">
            <a:xfrm>
              <a:off x="3731014" y="4451641"/>
              <a:ext cx="189023" cy="283025"/>
            </a:xfrm>
            <a:custGeom>
              <a:avLst/>
              <a:gdLst>
                <a:gd name="T0" fmla="*/ 1 w 141"/>
                <a:gd name="T1" fmla="*/ 6 h 212"/>
                <a:gd name="T2" fmla="*/ 15 w 141"/>
                <a:gd name="T3" fmla="*/ 0 h 212"/>
                <a:gd name="T4" fmla="*/ 31 w 141"/>
                <a:gd name="T5" fmla="*/ 7 h 212"/>
                <a:gd name="T6" fmla="*/ 56 w 141"/>
                <a:gd name="T7" fmla="*/ 9 h 212"/>
                <a:gd name="T8" fmla="*/ 93 w 141"/>
                <a:gd name="T9" fmla="*/ 8 h 212"/>
                <a:gd name="T10" fmla="*/ 98 w 141"/>
                <a:gd name="T11" fmla="*/ 16 h 212"/>
                <a:gd name="T12" fmla="*/ 129 w 141"/>
                <a:gd name="T13" fmla="*/ 20 h 212"/>
                <a:gd name="T14" fmla="*/ 140 w 141"/>
                <a:gd name="T15" fmla="*/ 22 h 212"/>
                <a:gd name="T16" fmla="*/ 133 w 141"/>
                <a:gd name="T17" fmla="*/ 35 h 212"/>
                <a:gd name="T18" fmla="*/ 132 w 141"/>
                <a:gd name="T19" fmla="*/ 87 h 212"/>
                <a:gd name="T20" fmla="*/ 126 w 141"/>
                <a:gd name="T21" fmla="*/ 91 h 212"/>
                <a:gd name="T22" fmla="*/ 118 w 141"/>
                <a:gd name="T23" fmla="*/ 95 h 212"/>
                <a:gd name="T24" fmla="*/ 119 w 141"/>
                <a:gd name="T25" fmla="*/ 146 h 212"/>
                <a:gd name="T26" fmla="*/ 115 w 141"/>
                <a:gd name="T27" fmla="*/ 202 h 212"/>
                <a:gd name="T28" fmla="*/ 107 w 141"/>
                <a:gd name="T29" fmla="*/ 211 h 212"/>
                <a:gd name="T30" fmla="*/ 87 w 141"/>
                <a:gd name="T31" fmla="*/ 208 h 212"/>
                <a:gd name="T32" fmla="*/ 81 w 141"/>
                <a:gd name="T33" fmla="*/ 197 h 212"/>
                <a:gd name="T34" fmla="*/ 77 w 141"/>
                <a:gd name="T35" fmla="*/ 202 h 212"/>
                <a:gd name="T36" fmla="*/ 67 w 141"/>
                <a:gd name="T37" fmla="*/ 203 h 212"/>
                <a:gd name="T38" fmla="*/ 63 w 141"/>
                <a:gd name="T39" fmla="*/ 190 h 212"/>
                <a:gd name="T40" fmla="*/ 55 w 141"/>
                <a:gd name="T41" fmla="*/ 181 h 212"/>
                <a:gd name="T42" fmla="*/ 45 w 141"/>
                <a:gd name="T43" fmla="*/ 179 h 212"/>
                <a:gd name="T44" fmla="*/ 46 w 141"/>
                <a:gd name="T45" fmla="*/ 160 h 212"/>
                <a:gd name="T46" fmla="*/ 42 w 141"/>
                <a:gd name="T47" fmla="*/ 138 h 212"/>
                <a:gd name="T48" fmla="*/ 41 w 141"/>
                <a:gd name="T49" fmla="*/ 123 h 212"/>
                <a:gd name="T50" fmla="*/ 40 w 141"/>
                <a:gd name="T51" fmla="*/ 103 h 212"/>
                <a:gd name="T52" fmla="*/ 35 w 141"/>
                <a:gd name="T53" fmla="*/ 89 h 212"/>
                <a:gd name="T54" fmla="*/ 30 w 141"/>
                <a:gd name="T55" fmla="*/ 78 h 212"/>
                <a:gd name="T56" fmla="*/ 25 w 141"/>
                <a:gd name="T57" fmla="*/ 68 h 212"/>
                <a:gd name="T58" fmla="*/ 16 w 141"/>
                <a:gd name="T59" fmla="*/ 50 h 212"/>
                <a:gd name="T60" fmla="*/ 11 w 141"/>
                <a:gd name="T61" fmla="*/ 40 h 212"/>
                <a:gd name="T62" fmla="*/ 0 w 141"/>
                <a:gd name="T63" fmla="*/ 25 h 212"/>
                <a:gd name="T64" fmla="*/ 1 w 141"/>
                <a:gd name="T65" fmla="*/ 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 h="212">
                  <a:moveTo>
                    <a:pt x="1" y="6"/>
                  </a:moveTo>
                  <a:lnTo>
                    <a:pt x="15" y="0"/>
                  </a:lnTo>
                  <a:lnTo>
                    <a:pt x="31" y="7"/>
                  </a:lnTo>
                  <a:lnTo>
                    <a:pt x="56" y="9"/>
                  </a:lnTo>
                  <a:lnTo>
                    <a:pt x="93" y="8"/>
                  </a:lnTo>
                  <a:lnTo>
                    <a:pt x="98" y="16"/>
                  </a:lnTo>
                  <a:lnTo>
                    <a:pt x="129" y="20"/>
                  </a:lnTo>
                  <a:lnTo>
                    <a:pt x="140" y="22"/>
                  </a:lnTo>
                  <a:lnTo>
                    <a:pt x="133" y="35"/>
                  </a:lnTo>
                  <a:lnTo>
                    <a:pt x="132" y="87"/>
                  </a:lnTo>
                  <a:lnTo>
                    <a:pt x="126" y="91"/>
                  </a:lnTo>
                  <a:lnTo>
                    <a:pt x="118" y="95"/>
                  </a:lnTo>
                  <a:lnTo>
                    <a:pt x="119" y="146"/>
                  </a:lnTo>
                  <a:lnTo>
                    <a:pt x="115" y="202"/>
                  </a:lnTo>
                  <a:lnTo>
                    <a:pt x="107" y="211"/>
                  </a:lnTo>
                  <a:lnTo>
                    <a:pt x="87" y="208"/>
                  </a:lnTo>
                  <a:lnTo>
                    <a:pt x="81" y="197"/>
                  </a:lnTo>
                  <a:lnTo>
                    <a:pt x="77" y="202"/>
                  </a:lnTo>
                  <a:lnTo>
                    <a:pt x="67" y="203"/>
                  </a:lnTo>
                  <a:lnTo>
                    <a:pt x="63" y="190"/>
                  </a:lnTo>
                  <a:lnTo>
                    <a:pt x="55" y="181"/>
                  </a:lnTo>
                  <a:lnTo>
                    <a:pt x="45" y="179"/>
                  </a:lnTo>
                  <a:lnTo>
                    <a:pt x="46" y="160"/>
                  </a:lnTo>
                  <a:lnTo>
                    <a:pt x="42" y="138"/>
                  </a:lnTo>
                  <a:lnTo>
                    <a:pt x="41" y="123"/>
                  </a:lnTo>
                  <a:lnTo>
                    <a:pt x="40" y="103"/>
                  </a:lnTo>
                  <a:lnTo>
                    <a:pt x="35" y="89"/>
                  </a:lnTo>
                  <a:lnTo>
                    <a:pt x="30" y="78"/>
                  </a:lnTo>
                  <a:lnTo>
                    <a:pt x="25" y="68"/>
                  </a:lnTo>
                  <a:lnTo>
                    <a:pt x="16" y="50"/>
                  </a:lnTo>
                  <a:lnTo>
                    <a:pt x="11" y="40"/>
                  </a:lnTo>
                  <a:lnTo>
                    <a:pt x="0" y="25"/>
                  </a:lnTo>
                  <a:lnTo>
                    <a:pt x="1" y="6"/>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37" name="Freeform 133">
              <a:extLst>
                <a:ext uri="{FF2B5EF4-FFF2-40B4-BE49-F238E27FC236}">
                  <a16:creationId xmlns:a16="http://schemas.microsoft.com/office/drawing/2014/main" id="{069B1029-5D2D-4561-8D05-EAB7791D5B44}"/>
                </a:ext>
              </a:extLst>
            </p:cNvPr>
            <p:cNvSpPr>
              <a:spLocks/>
            </p:cNvSpPr>
            <p:nvPr/>
          </p:nvSpPr>
          <p:spPr bwMode="auto">
            <a:xfrm>
              <a:off x="4325427" y="4337480"/>
              <a:ext cx="154547" cy="318701"/>
            </a:xfrm>
            <a:custGeom>
              <a:avLst/>
              <a:gdLst>
                <a:gd name="T0" fmla="*/ 88 w 116"/>
                <a:gd name="T1" fmla="*/ 3 h 238"/>
                <a:gd name="T2" fmla="*/ 87 w 116"/>
                <a:gd name="T3" fmla="*/ 23 h 238"/>
                <a:gd name="T4" fmla="*/ 81 w 116"/>
                <a:gd name="T5" fmla="*/ 26 h 238"/>
                <a:gd name="T6" fmla="*/ 79 w 116"/>
                <a:gd name="T7" fmla="*/ 41 h 238"/>
                <a:gd name="T8" fmla="*/ 70 w 116"/>
                <a:gd name="T9" fmla="*/ 41 h 238"/>
                <a:gd name="T10" fmla="*/ 66 w 116"/>
                <a:gd name="T11" fmla="*/ 47 h 238"/>
                <a:gd name="T12" fmla="*/ 64 w 116"/>
                <a:gd name="T13" fmla="*/ 55 h 238"/>
                <a:gd name="T14" fmla="*/ 56 w 116"/>
                <a:gd name="T15" fmla="*/ 62 h 238"/>
                <a:gd name="T16" fmla="*/ 53 w 116"/>
                <a:gd name="T17" fmla="*/ 70 h 238"/>
                <a:gd name="T18" fmla="*/ 48 w 116"/>
                <a:gd name="T19" fmla="*/ 69 h 238"/>
                <a:gd name="T20" fmla="*/ 46 w 116"/>
                <a:gd name="T21" fmla="*/ 61 h 238"/>
                <a:gd name="T22" fmla="*/ 37 w 116"/>
                <a:gd name="T23" fmla="*/ 61 h 238"/>
                <a:gd name="T24" fmla="*/ 35 w 116"/>
                <a:gd name="T25" fmla="*/ 67 h 238"/>
                <a:gd name="T26" fmla="*/ 26 w 116"/>
                <a:gd name="T27" fmla="*/ 71 h 238"/>
                <a:gd name="T28" fmla="*/ 23 w 116"/>
                <a:gd name="T29" fmla="*/ 84 h 238"/>
                <a:gd name="T30" fmla="*/ 17 w 116"/>
                <a:gd name="T31" fmla="*/ 85 h 238"/>
                <a:gd name="T32" fmla="*/ 20 w 116"/>
                <a:gd name="T33" fmla="*/ 127 h 238"/>
                <a:gd name="T34" fmla="*/ 24 w 116"/>
                <a:gd name="T35" fmla="*/ 128 h 238"/>
                <a:gd name="T36" fmla="*/ 26 w 116"/>
                <a:gd name="T37" fmla="*/ 139 h 238"/>
                <a:gd name="T38" fmla="*/ 20 w 116"/>
                <a:gd name="T39" fmla="*/ 143 h 238"/>
                <a:gd name="T40" fmla="*/ 17 w 116"/>
                <a:gd name="T41" fmla="*/ 157 h 238"/>
                <a:gd name="T42" fmla="*/ 10 w 116"/>
                <a:gd name="T43" fmla="*/ 160 h 238"/>
                <a:gd name="T44" fmla="*/ 9 w 116"/>
                <a:gd name="T45" fmla="*/ 167 h 238"/>
                <a:gd name="T46" fmla="*/ 0 w 116"/>
                <a:gd name="T47" fmla="*/ 170 h 238"/>
                <a:gd name="T48" fmla="*/ 1 w 116"/>
                <a:gd name="T49" fmla="*/ 189 h 238"/>
                <a:gd name="T50" fmla="*/ 11 w 116"/>
                <a:gd name="T51" fmla="*/ 189 h 238"/>
                <a:gd name="T52" fmla="*/ 11 w 116"/>
                <a:gd name="T53" fmla="*/ 228 h 238"/>
                <a:gd name="T54" fmla="*/ 20 w 116"/>
                <a:gd name="T55" fmla="*/ 228 h 238"/>
                <a:gd name="T56" fmla="*/ 26 w 116"/>
                <a:gd name="T57" fmla="*/ 234 h 238"/>
                <a:gd name="T58" fmla="*/ 33 w 116"/>
                <a:gd name="T59" fmla="*/ 237 h 238"/>
                <a:gd name="T60" fmla="*/ 42 w 116"/>
                <a:gd name="T61" fmla="*/ 228 h 238"/>
                <a:gd name="T62" fmla="*/ 52 w 116"/>
                <a:gd name="T63" fmla="*/ 227 h 238"/>
                <a:gd name="T64" fmla="*/ 59 w 116"/>
                <a:gd name="T65" fmla="*/ 222 h 238"/>
                <a:gd name="T66" fmla="*/ 66 w 116"/>
                <a:gd name="T67" fmla="*/ 217 h 238"/>
                <a:gd name="T68" fmla="*/ 70 w 116"/>
                <a:gd name="T69" fmla="*/ 198 h 238"/>
                <a:gd name="T70" fmla="*/ 78 w 116"/>
                <a:gd name="T71" fmla="*/ 195 h 238"/>
                <a:gd name="T72" fmla="*/ 78 w 116"/>
                <a:gd name="T73" fmla="*/ 170 h 238"/>
                <a:gd name="T74" fmla="*/ 83 w 116"/>
                <a:gd name="T75" fmla="*/ 167 h 238"/>
                <a:gd name="T76" fmla="*/ 82 w 116"/>
                <a:gd name="T77" fmla="*/ 132 h 238"/>
                <a:gd name="T78" fmla="*/ 92 w 116"/>
                <a:gd name="T79" fmla="*/ 125 h 238"/>
                <a:gd name="T80" fmla="*/ 98 w 116"/>
                <a:gd name="T81" fmla="*/ 119 h 238"/>
                <a:gd name="T82" fmla="*/ 98 w 116"/>
                <a:gd name="T83" fmla="*/ 91 h 238"/>
                <a:gd name="T84" fmla="*/ 106 w 116"/>
                <a:gd name="T85" fmla="*/ 86 h 238"/>
                <a:gd name="T86" fmla="*/ 107 w 116"/>
                <a:gd name="T87" fmla="*/ 64 h 238"/>
                <a:gd name="T88" fmla="*/ 114 w 116"/>
                <a:gd name="T89" fmla="*/ 64 h 238"/>
                <a:gd name="T90" fmla="*/ 115 w 116"/>
                <a:gd name="T91" fmla="*/ 28 h 238"/>
                <a:gd name="T92" fmla="*/ 106 w 116"/>
                <a:gd name="T93" fmla="*/ 23 h 238"/>
                <a:gd name="T94" fmla="*/ 105 w 116"/>
                <a:gd name="T95" fmla="*/ 6 h 238"/>
                <a:gd name="T96" fmla="*/ 96 w 116"/>
                <a:gd name="T97" fmla="*/ 0 h 238"/>
                <a:gd name="T98" fmla="*/ 88 w 116"/>
                <a:gd name="T99" fmla="*/ 3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6" h="238">
                  <a:moveTo>
                    <a:pt x="88" y="3"/>
                  </a:moveTo>
                  <a:lnTo>
                    <a:pt x="87" y="23"/>
                  </a:lnTo>
                  <a:lnTo>
                    <a:pt x="81" y="26"/>
                  </a:lnTo>
                  <a:lnTo>
                    <a:pt x="79" y="41"/>
                  </a:lnTo>
                  <a:lnTo>
                    <a:pt x="70" y="41"/>
                  </a:lnTo>
                  <a:lnTo>
                    <a:pt x="66" y="47"/>
                  </a:lnTo>
                  <a:lnTo>
                    <a:pt x="64" y="55"/>
                  </a:lnTo>
                  <a:lnTo>
                    <a:pt x="56" y="62"/>
                  </a:lnTo>
                  <a:lnTo>
                    <a:pt x="53" y="70"/>
                  </a:lnTo>
                  <a:lnTo>
                    <a:pt x="48" y="69"/>
                  </a:lnTo>
                  <a:lnTo>
                    <a:pt x="46" y="61"/>
                  </a:lnTo>
                  <a:lnTo>
                    <a:pt x="37" y="61"/>
                  </a:lnTo>
                  <a:lnTo>
                    <a:pt x="35" y="67"/>
                  </a:lnTo>
                  <a:lnTo>
                    <a:pt x="26" y="71"/>
                  </a:lnTo>
                  <a:lnTo>
                    <a:pt x="23" y="84"/>
                  </a:lnTo>
                  <a:lnTo>
                    <a:pt x="17" y="85"/>
                  </a:lnTo>
                  <a:lnTo>
                    <a:pt x="20" y="127"/>
                  </a:lnTo>
                  <a:lnTo>
                    <a:pt x="24" y="128"/>
                  </a:lnTo>
                  <a:lnTo>
                    <a:pt x="26" y="139"/>
                  </a:lnTo>
                  <a:lnTo>
                    <a:pt x="20" y="143"/>
                  </a:lnTo>
                  <a:lnTo>
                    <a:pt x="17" y="157"/>
                  </a:lnTo>
                  <a:lnTo>
                    <a:pt x="10" y="160"/>
                  </a:lnTo>
                  <a:lnTo>
                    <a:pt x="9" y="167"/>
                  </a:lnTo>
                  <a:lnTo>
                    <a:pt x="0" y="170"/>
                  </a:lnTo>
                  <a:lnTo>
                    <a:pt x="1" y="189"/>
                  </a:lnTo>
                  <a:lnTo>
                    <a:pt x="11" y="189"/>
                  </a:lnTo>
                  <a:lnTo>
                    <a:pt x="11" y="228"/>
                  </a:lnTo>
                  <a:lnTo>
                    <a:pt x="20" y="228"/>
                  </a:lnTo>
                  <a:lnTo>
                    <a:pt x="26" y="234"/>
                  </a:lnTo>
                  <a:lnTo>
                    <a:pt x="33" y="237"/>
                  </a:lnTo>
                  <a:lnTo>
                    <a:pt x="42" y="228"/>
                  </a:lnTo>
                  <a:lnTo>
                    <a:pt x="52" y="227"/>
                  </a:lnTo>
                  <a:lnTo>
                    <a:pt x="59" y="222"/>
                  </a:lnTo>
                  <a:lnTo>
                    <a:pt x="66" y="217"/>
                  </a:lnTo>
                  <a:lnTo>
                    <a:pt x="70" y="198"/>
                  </a:lnTo>
                  <a:lnTo>
                    <a:pt x="78" y="195"/>
                  </a:lnTo>
                  <a:lnTo>
                    <a:pt x="78" y="170"/>
                  </a:lnTo>
                  <a:lnTo>
                    <a:pt x="83" y="167"/>
                  </a:lnTo>
                  <a:lnTo>
                    <a:pt x="82" y="132"/>
                  </a:lnTo>
                  <a:lnTo>
                    <a:pt x="92" y="125"/>
                  </a:lnTo>
                  <a:lnTo>
                    <a:pt x="98" y="119"/>
                  </a:lnTo>
                  <a:lnTo>
                    <a:pt x="98" y="91"/>
                  </a:lnTo>
                  <a:lnTo>
                    <a:pt x="106" y="86"/>
                  </a:lnTo>
                  <a:lnTo>
                    <a:pt x="107" y="64"/>
                  </a:lnTo>
                  <a:lnTo>
                    <a:pt x="114" y="64"/>
                  </a:lnTo>
                  <a:lnTo>
                    <a:pt x="115" y="28"/>
                  </a:lnTo>
                  <a:lnTo>
                    <a:pt x="106" y="23"/>
                  </a:lnTo>
                  <a:lnTo>
                    <a:pt x="105" y="6"/>
                  </a:lnTo>
                  <a:lnTo>
                    <a:pt x="96" y="0"/>
                  </a:lnTo>
                  <a:lnTo>
                    <a:pt x="88" y="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38" name="Freeform 134">
              <a:extLst>
                <a:ext uri="{FF2B5EF4-FFF2-40B4-BE49-F238E27FC236}">
                  <a16:creationId xmlns:a16="http://schemas.microsoft.com/office/drawing/2014/main" id="{598859F5-757C-478E-B682-026CAADBBD72}"/>
                </a:ext>
              </a:extLst>
            </p:cNvPr>
            <p:cNvSpPr>
              <a:spLocks/>
            </p:cNvSpPr>
            <p:nvPr/>
          </p:nvSpPr>
          <p:spPr bwMode="auto">
            <a:xfrm>
              <a:off x="3887939" y="4471857"/>
              <a:ext cx="184268" cy="211674"/>
            </a:xfrm>
            <a:custGeom>
              <a:avLst/>
              <a:gdLst>
                <a:gd name="T0" fmla="*/ 47 w 139"/>
                <a:gd name="T1" fmla="*/ 3 h 159"/>
                <a:gd name="T2" fmla="*/ 86 w 139"/>
                <a:gd name="T3" fmla="*/ 4 h 159"/>
                <a:gd name="T4" fmla="*/ 92 w 139"/>
                <a:gd name="T5" fmla="*/ 26 h 159"/>
                <a:gd name="T6" fmla="*/ 93 w 139"/>
                <a:gd name="T7" fmla="*/ 37 h 159"/>
                <a:gd name="T8" fmla="*/ 101 w 139"/>
                <a:gd name="T9" fmla="*/ 42 h 159"/>
                <a:gd name="T10" fmla="*/ 105 w 139"/>
                <a:gd name="T11" fmla="*/ 54 h 159"/>
                <a:gd name="T12" fmla="*/ 113 w 139"/>
                <a:gd name="T13" fmla="*/ 54 h 159"/>
                <a:gd name="T14" fmla="*/ 117 w 139"/>
                <a:gd name="T15" fmla="*/ 70 h 159"/>
                <a:gd name="T16" fmla="*/ 123 w 139"/>
                <a:gd name="T17" fmla="*/ 71 h 159"/>
                <a:gd name="T18" fmla="*/ 138 w 139"/>
                <a:gd name="T19" fmla="*/ 77 h 159"/>
                <a:gd name="T20" fmla="*/ 135 w 139"/>
                <a:gd name="T21" fmla="*/ 86 h 159"/>
                <a:gd name="T22" fmla="*/ 126 w 139"/>
                <a:gd name="T23" fmla="*/ 93 h 159"/>
                <a:gd name="T24" fmla="*/ 117 w 139"/>
                <a:gd name="T25" fmla="*/ 102 h 159"/>
                <a:gd name="T26" fmla="*/ 106 w 139"/>
                <a:gd name="T27" fmla="*/ 107 h 159"/>
                <a:gd name="T28" fmla="*/ 102 w 139"/>
                <a:gd name="T29" fmla="*/ 121 h 159"/>
                <a:gd name="T30" fmla="*/ 93 w 139"/>
                <a:gd name="T31" fmla="*/ 124 h 159"/>
                <a:gd name="T32" fmla="*/ 87 w 139"/>
                <a:gd name="T33" fmla="*/ 133 h 159"/>
                <a:gd name="T34" fmla="*/ 78 w 139"/>
                <a:gd name="T35" fmla="*/ 142 h 159"/>
                <a:gd name="T36" fmla="*/ 64 w 139"/>
                <a:gd name="T37" fmla="*/ 142 h 159"/>
                <a:gd name="T38" fmla="*/ 55 w 139"/>
                <a:gd name="T39" fmla="*/ 136 h 159"/>
                <a:gd name="T40" fmla="*/ 46 w 139"/>
                <a:gd name="T41" fmla="*/ 136 h 159"/>
                <a:gd name="T42" fmla="*/ 41 w 139"/>
                <a:gd name="T43" fmla="*/ 144 h 159"/>
                <a:gd name="T44" fmla="*/ 38 w 139"/>
                <a:gd name="T45" fmla="*/ 153 h 159"/>
                <a:gd name="T46" fmla="*/ 30 w 139"/>
                <a:gd name="T47" fmla="*/ 158 h 159"/>
                <a:gd name="T48" fmla="*/ 10 w 139"/>
                <a:gd name="T49" fmla="*/ 153 h 159"/>
                <a:gd name="T50" fmla="*/ 6 w 139"/>
                <a:gd name="T51" fmla="*/ 138 h 159"/>
                <a:gd name="T52" fmla="*/ 1 w 139"/>
                <a:gd name="T53" fmla="*/ 132 h 159"/>
                <a:gd name="T54" fmla="*/ 0 w 139"/>
                <a:gd name="T55" fmla="*/ 80 h 159"/>
                <a:gd name="T56" fmla="*/ 8 w 139"/>
                <a:gd name="T57" fmla="*/ 76 h 159"/>
                <a:gd name="T58" fmla="*/ 15 w 139"/>
                <a:gd name="T59" fmla="*/ 72 h 159"/>
                <a:gd name="T60" fmla="*/ 15 w 139"/>
                <a:gd name="T61" fmla="*/ 20 h 159"/>
                <a:gd name="T62" fmla="*/ 22 w 139"/>
                <a:gd name="T63" fmla="*/ 7 h 159"/>
                <a:gd name="T64" fmla="*/ 40 w 139"/>
                <a:gd name="T65" fmla="*/ 0 h 159"/>
                <a:gd name="T66" fmla="*/ 47 w 139"/>
                <a:gd name="T67" fmla="*/ 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159">
                  <a:moveTo>
                    <a:pt x="47" y="3"/>
                  </a:moveTo>
                  <a:lnTo>
                    <a:pt x="86" y="4"/>
                  </a:lnTo>
                  <a:lnTo>
                    <a:pt x="92" y="26"/>
                  </a:lnTo>
                  <a:lnTo>
                    <a:pt x="93" y="37"/>
                  </a:lnTo>
                  <a:lnTo>
                    <a:pt x="101" y="42"/>
                  </a:lnTo>
                  <a:lnTo>
                    <a:pt x="105" y="54"/>
                  </a:lnTo>
                  <a:lnTo>
                    <a:pt x="113" y="54"/>
                  </a:lnTo>
                  <a:lnTo>
                    <a:pt x="117" y="70"/>
                  </a:lnTo>
                  <a:lnTo>
                    <a:pt x="123" y="71"/>
                  </a:lnTo>
                  <a:lnTo>
                    <a:pt x="138" y="77"/>
                  </a:lnTo>
                  <a:lnTo>
                    <a:pt x="135" y="86"/>
                  </a:lnTo>
                  <a:lnTo>
                    <a:pt x="126" y="93"/>
                  </a:lnTo>
                  <a:lnTo>
                    <a:pt x="117" y="102"/>
                  </a:lnTo>
                  <a:lnTo>
                    <a:pt x="106" y="107"/>
                  </a:lnTo>
                  <a:lnTo>
                    <a:pt x="102" y="121"/>
                  </a:lnTo>
                  <a:lnTo>
                    <a:pt x="93" y="124"/>
                  </a:lnTo>
                  <a:lnTo>
                    <a:pt x="87" y="133"/>
                  </a:lnTo>
                  <a:lnTo>
                    <a:pt x="78" y="142"/>
                  </a:lnTo>
                  <a:lnTo>
                    <a:pt x="64" y="142"/>
                  </a:lnTo>
                  <a:lnTo>
                    <a:pt x="55" y="136"/>
                  </a:lnTo>
                  <a:lnTo>
                    <a:pt x="46" y="136"/>
                  </a:lnTo>
                  <a:lnTo>
                    <a:pt x="41" y="144"/>
                  </a:lnTo>
                  <a:lnTo>
                    <a:pt x="38" y="153"/>
                  </a:lnTo>
                  <a:lnTo>
                    <a:pt x="30" y="158"/>
                  </a:lnTo>
                  <a:lnTo>
                    <a:pt x="10" y="153"/>
                  </a:lnTo>
                  <a:lnTo>
                    <a:pt x="6" y="138"/>
                  </a:lnTo>
                  <a:lnTo>
                    <a:pt x="1" y="132"/>
                  </a:lnTo>
                  <a:lnTo>
                    <a:pt x="0" y="80"/>
                  </a:lnTo>
                  <a:lnTo>
                    <a:pt x="8" y="76"/>
                  </a:lnTo>
                  <a:lnTo>
                    <a:pt x="15" y="72"/>
                  </a:lnTo>
                  <a:lnTo>
                    <a:pt x="15" y="20"/>
                  </a:lnTo>
                  <a:lnTo>
                    <a:pt x="22" y="7"/>
                  </a:lnTo>
                  <a:lnTo>
                    <a:pt x="40" y="0"/>
                  </a:lnTo>
                  <a:lnTo>
                    <a:pt x="47" y="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39" name="Freeform 149">
              <a:extLst>
                <a:ext uri="{FF2B5EF4-FFF2-40B4-BE49-F238E27FC236}">
                  <a16:creationId xmlns:a16="http://schemas.microsoft.com/office/drawing/2014/main" id="{3759D1E7-A3DB-4187-A543-8313CFD88D50}"/>
                </a:ext>
              </a:extLst>
            </p:cNvPr>
            <p:cNvSpPr>
              <a:spLocks/>
            </p:cNvSpPr>
            <p:nvPr/>
          </p:nvSpPr>
          <p:spPr bwMode="auto">
            <a:xfrm>
              <a:off x="5416770" y="3579971"/>
              <a:ext cx="141470" cy="202161"/>
            </a:xfrm>
            <a:custGeom>
              <a:avLst/>
              <a:gdLst>
                <a:gd name="T0" fmla="*/ 0 w 106"/>
                <a:gd name="T1" fmla="*/ 23 h 152"/>
                <a:gd name="T2" fmla="*/ 3 w 106"/>
                <a:gd name="T3" fmla="*/ 36 h 152"/>
                <a:gd name="T4" fmla="*/ 6 w 106"/>
                <a:gd name="T5" fmla="*/ 50 h 152"/>
                <a:gd name="T6" fmla="*/ 13 w 106"/>
                <a:gd name="T7" fmla="*/ 57 h 152"/>
                <a:gd name="T8" fmla="*/ 24 w 106"/>
                <a:gd name="T9" fmla="*/ 61 h 152"/>
                <a:gd name="T10" fmla="*/ 38 w 106"/>
                <a:gd name="T11" fmla="*/ 81 h 152"/>
                <a:gd name="T12" fmla="*/ 50 w 106"/>
                <a:gd name="T13" fmla="*/ 71 h 152"/>
                <a:gd name="T14" fmla="*/ 60 w 106"/>
                <a:gd name="T15" fmla="*/ 84 h 152"/>
                <a:gd name="T16" fmla="*/ 68 w 106"/>
                <a:gd name="T17" fmla="*/ 103 h 152"/>
                <a:gd name="T18" fmla="*/ 73 w 106"/>
                <a:gd name="T19" fmla="*/ 114 h 152"/>
                <a:gd name="T20" fmla="*/ 81 w 106"/>
                <a:gd name="T21" fmla="*/ 116 h 152"/>
                <a:gd name="T22" fmla="*/ 81 w 106"/>
                <a:gd name="T23" fmla="*/ 140 h 152"/>
                <a:gd name="T24" fmla="*/ 91 w 106"/>
                <a:gd name="T25" fmla="*/ 151 h 152"/>
                <a:gd name="T26" fmla="*/ 105 w 106"/>
                <a:gd name="T27" fmla="*/ 140 h 152"/>
                <a:gd name="T28" fmla="*/ 105 w 106"/>
                <a:gd name="T29" fmla="*/ 111 h 152"/>
                <a:gd name="T30" fmla="*/ 92 w 106"/>
                <a:gd name="T31" fmla="*/ 102 h 152"/>
                <a:gd name="T32" fmla="*/ 71 w 106"/>
                <a:gd name="T33" fmla="*/ 69 h 152"/>
                <a:gd name="T34" fmla="*/ 60 w 106"/>
                <a:gd name="T35" fmla="*/ 58 h 152"/>
                <a:gd name="T36" fmla="*/ 65 w 106"/>
                <a:gd name="T37" fmla="*/ 42 h 152"/>
                <a:gd name="T38" fmla="*/ 62 w 106"/>
                <a:gd name="T39" fmla="*/ 32 h 152"/>
                <a:gd name="T40" fmla="*/ 37 w 106"/>
                <a:gd name="T41" fmla="*/ 23 h 152"/>
                <a:gd name="T42" fmla="*/ 29 w 106"/>
                <a:gd name="T43" fmla="*/ 0 h 152"/>
                <a:gd name="T44" fmla="*/ 18 w 106"/>
                <a:gd name="T45" fmla="*/ 6 h 152"/>
                <a:gd name="T46" fmla="*/ 19 w 106"/>
                <a:gd name="T47" fmla="*/ 20 h 152"/>
                <a:gd name="T48" fmla="*/ 0 w 106"/>
                <a:gd name="T49" fmla="*/ 2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6" h="152">
                  <a:moveTo>
                    <a:pt x="0" y="23"/>
                  </a:moveTo>
                  <a:lnTo>
                    <a:pt x="3" y="36"/>
                  </a:lnTo>
                  <a:lnTo>
                    <a:pt x="6" y="50"/>
                  </a:lnTo>
                  <a:lnTo>
                    <a:pt x="13" y="57"/>
                  </a:lnTo>
                  <a:lnTo>
                    <a:pt x="24" y="61"/>
                  </a:lnTo>
                  <a:lnTo>
                    <a:pt x="38" y="81"/>
                  </a:lnTo>
                  <a:lnTo>
                    <a:pt x="50" y="71"/>
                  </a:lnTo>
                  <a:lnTo>
                    <a:pt x="60" y="84"/>
                  </a:lnTo>
                  <a:lnTo>
                    <a:pt x="68" y="103"/>
                  </a:lnTo>
                  <a:lnTo>
                    <a:pt x="73" y="114"/>
                  </a:lnTo>
                  <a:lnTo>
                    <a:pt x="81" y="116"/>
                  </a:lnTo>
                  <a:lnTo>
                    <a:pt x="81" y="140"/>
                  </a:lnTo>
                  <a:lnTo>
                    <a:pt x="91" y="151"/>
                  </a:lnTo>
                  <a:lnTo>
                    <a:pt x="105" y="140"/>
                  </a:lnTo>
                  <a:lnTo>
                    <a:pt x="105" y="111"/>
                  </a:lnTo>
                  <a:lnTo>
                    <a:pt x="92" y="102"/>
                  </a:lnTo>
                  <a:lnTo>
                    <a:pt x="71" y="69"/>
                  </a:lnTo>
                  <a:lnTo>
                    <a:pt x="60" y="58"/>
                  </a:lnTo>
                  <a:lnTo>
                    <a:pt x="65" y="42"/>
                  </a:lnTo>
                  <a:lnTo>
                    <a:pt x="62" y="32"/>
                  </a:lnTo>
                  <a:lnTo>
                    <a:pt x="37" y="23"/>
                  </a:lnTo>
                  <a:lnTo>
                    <a:pt x="29" y="0"/>
                  </a:lnTo>
                  <a:lnTo>
                    <a:pt x="18" y="6"/>
                  </a:lnTo>
                  <a:lnTo>
                    <a:pt x="19" y="20"/>
                  </a:lnTo>
                  <a:lnTo>
                    <a:pt x="0" y="2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40" name="Freeform 152">
              <a:extLst>
                <a:ext uri="{FF2B5EF4-FFF2-40B4-BE49-F238E27FC236}">
                  <a16:creationId xmlns:a16="http://schemas.microsoft.com/office/drawing/2014/main" id="{9B752119-E8F6-44F0-A7DC-27C7BC0FC411}"/>
                </a:ext>
              </a:extLst>
            </p:cNvPr>
            <p:cNvSpPr>
              <a:spLocks/>
            </p:cNvSpPr>
            <p:nvPr/>
          </p:nvSpPr>
          <p:spPr bwMode="auto">
            <a:xfrm>
              <a:off x="3821365" y="4574127"/>
              <a:ext cx="316228" cy="296106"/>
            </a:xfrm>
            <a:custGeom>
              <a:avLst/>
              <a:gdLst>
                <a:gd name="T0" fmla="*/ 217 w 237"/>
                <a:gd name="T1" fmla="*/ 9 h 221"/>
                <a:gd name="T2" fmla="*/ 201 w 237"/>
                <a:gd name="T3" fmla="*/ 9 h 221"/>
                <a:gd name="T4" fmla="*/ 197 w 237"/>
                <a:gd name="T5" fmla="*/ 4 h 221"/>
                <a:gd name="T6" fmla="*/ 187 w 237"/>
                <a:gd name="T7" fmla="*/ 0 h 221"/>
                <a:gd name="T8" fmla="*/ 184 w 237"/>
                <a:gd name="T9" fmla="*/ 8 h 221"/>
                <a:gd name="T10" fmla="*/ 175 w 237"/>
                <a:gd name="T11" fmla="*/ 15 h 221"/>
                <a:gd name="T12" fmla="*/ 167 w 237"/>
                <a:gd name="T13" fmla="*/ 25 h 221"/>
                <a:gd name="T14" fmla="*/ 156 w 237"/>
                <a:gd name="T15" fmla="*/ 30 h 221"/>
                <a:gd name="T16" fmla="*/ 151 w 237"/>
                <a:gd name="T17" fmla="*/ 44 h 221"/>
                <a:gd name="T18" fmla="*/ 143 w 237"/>
                <a:gd name="T19" fmla="*/ 47 h 221"/>
                <a:gd name="T20" fmla="*/ 137 w 237"/>
                <a:gd name="T21" fmla="*/ 55 h 221"/>
                <a:gd name="T22" fmla="*/ 128 w 237"/>
                <a:gd name="T23" fmla="*/ 65 h 221"/>
                <a:gd name="T24" fmla="*/ 114 w 237"/>
                <a:gd name="T25" fmla="*/ 65 h 221"/>
                <a:gd name="T26" fmla="*/ 105 w 237"/>
                <a:gd name="T27" fmla="*/ 59 h 221"/>
                <a:gd name="T28" fmla="*/ 96 w 237"/>
                <a:gd name="T29" fmla="*/ 59 h 221"/>
                <a:gd name="T30" fmla="*/ 91 w 237"/>
                <a:gd name="T31" fmla="*/ 66 h 221"/>
                <a:gd name="T32" fmla="*/ 88 w 237"/>
                <a:gd name="T33" fmla="*/ 76 h 221"/>
                <a:gd name="T34" fmla="*/ 80 w 237"/>
                <a:gd name="T35" fmla="*/ 81 h 221"/>
                <a:gd name="T36" fmla="*/ 61 w 237"/>
                <a:gd name="T37" fmla="*/ 76 h 221"/>
                <a:gd name="T38" fmla="*/ 57 w 237"/>
                <a:gd name="T39" fmla="*/ 61 h 221"/>
                <a:gd name="T40" fmla="*/ 52 w 237"/>
                <a:gd name="T41" fmla="*/ 54 h 221"/>
                <a:gd name="T42" fmla="*/ 47 w 237"/>
                <a:gd name="T43" fmla="*/ 110 h 221"/>
                <a:gd name="T44" fmla="*/ 40 w 237"/>
                <a:gd name="T45" fmla="*/ 120 h 221"/>
                <a:gd name="T46" fmla="*/ 20 w 237"/>
                <a:gd name="T47" fmla="*/ 117 h 221"/>
                <a:gd name="T48" fmla="*/ 14 w 237"/>
                <a:gd name="T49" fmla="*/ 105 h 221"/>
                <a:gd name="T50" fmla="*/ 10 w 237"/>
                <a:gd name="T51" fmla="*/ 110 h 221"/>
                <a:gd name="T52" fmla="*/ 0 w 237"/>
                <a:gd name="T53" fmla="*/ 111 h 221"/>
                <a:gd name="T54" fmla="*/ 3 w 237"/>
                <a:gd name="T55" fmla="*/ 118 h 221"/>
                <a:gd name="T56" fmla="*/ 3 w 237"/>
                <a:gd name="T57" fmla="*/ 134 h 221"/>
                <a:gd name="T58" fmla="*/ 13 w 237"/>
                <a:gd name="T59" fmla="*/ 138 h 221"/>
                <a:gd name="T60" fmla="*/ 14 w 237"/>
                <a:gd name="T61" fmla="*/ 157 h 221"/>
                <a:gd name="T62" fmla="*/ 20 w 237"/>
                <a:gd name="T63" fmla="*/ 160 h 221"/>
                <a:gd name="T64" fmla="*/ 20 w 237"/>
                <a:gd name="T65" fmla="*/ 166 h 221"/>
                <a:gd name="T66" fmla="*/ 27 w 237"/>
                <a:gd name="T67" fmla="*/ 166 h 221"/>
                <a:gd name="T68" fmla="*/ 25 w 237"/>
                <a:gd name="T69" fmla="*/ 178 h 221"/>
                <a:gd name="T70" fmla="*/ 17 w 237"/>
                <a:gd name="T71" fmla="*/ 184 h 221"/>
                <a:gd name="T72" fmla="*/ 43 w 237"/>
                <a:gd name="T73" fmla="*/ 218 h 221"/>
                <a:gd name="T74" fmla="*/ 61 w 237"/>
                <a:gd name="T75" fmla="*/ 220 h 221"/>
                <a:gd name="T76" fmla="*/ 70 w 237"/>
                <a:gd name="T77" fmla="*/ 214 h 221"/>
                <a:gd name="T78" fmla="*/ 78 w 237"/>
                <a:gd name="T79" fmla="*/ 203 h 221"/>
                <a:gd name="T80" fmla="*/ 108 w 237"/>
                <a:gd name="T81" fmla="*/ 204 h 221"/>
                <a:gd name="T82" fmla="*/ 111 w 237"/>
                <a:gd name="T83" fmla="*/ 209 h 221"/>
                <a:gd name="T84" fmla="*/ 128 w 237"/>
                <a:gd name="T85" fmla="*/ 202 h 221"/>
                <a:gd name="T86" fmla="*/ 135 w 237"/>
                <a:gd name="T87" fmla="*/ 196 h 221"/>
                <a:gd name="T88" fmla="*/ 156 w 237"/>
                <a:gd name="T89" fmla="*/ 193 h 221"/>
                <a:gd name="T90" fmla="*/ 167 w 237"/>
                <a:gd name="T91" fmla="*/ 186 h 221"/>
                <a:gd name="T92" fmla="*/ 178 w 237"/>
                <a:gd name="T93" fmla="*/ 167 h 221"/>
                <a:gd name="T94" fmla="*/ 190 w 237"/>
                <a:gd name="T95" fmla="*/ 158 h 221"/>
                <a:gd name="T96" fmla="*/ 209 w 237"/>
                <a:gd name="T97" fmla="*/ 142 h 221"/>
                <a:gd name="T98" fmla="*/ 212 w 237"/>
                <a:gd name="T99" fmla="*/ 125 h 221"/>
                <a:gd name="T100" fmla="*/ 217 w 237"/>
                <a:gd name="T101" fmla="*/ 110 h 221"/>
                <a:gd name="T102" fmla="*/ 228 w 237"/>
                <a:gd name="T103" fmla="*/ 109 h 221"/>
                <a:gd name="T104" fmla="*/ 236 w 237"/>
                <a:gd name="T105" fmla="*/ 93 h 221"/>
                <a:gd name="T106" fmla="*/ 224 w 237"/>
                <a:gd name="T107" fmla="*/ 88 h 221"/>
                <a:gd name="T108" fmla="*/ 222 w 237"/>
                <a:gd name="T109" fmla="*/ 76 h 221"/>
                <a:gd name="T110" fmla="*/ 216 w 237"/>
                <a:gd name="T111" fmla="*/ 66 h 221"/>
                <a:gd name="T112" fmla="*/ 217 w 237"/>
                <a:gd name="T113" fmla="*/ 52 h 221"/>
                <a:gd name="T114" fmla="*/ 217 w 237"/>
                <a:gd name="T115" fmla="*/ 34 h 221"/>
                <a:gd name="T116" fmla="*/ 217 w 237"/>
                <a:gd name="T117" fmla="*/ 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7" h="221">
                  <a:moveTo>
                    <a:pt x="217" y="9"/>
                  </a:moveTo>
                  <a:lnTo>
                    <a:pt x="201" y="9"/>
                  </a:lnTo>
                  <a:lnTo>
                    <a:pt x="197" y="4"/>
                  </a:lnTo>
                  <a:lnTo>
                    <a:pt x="187" y="0"/>
                  </a:lnTo>
                  <a:lnTo>
                    <a:pt x="184" y="8"/>
                  </a:lnTo>
                  <a:lnTo>
                    <a:pt x="175" y="15"/>
                  </a:lnTo>
                  <a:lnTo>
                    <a:pt x="167" y="25"/>
                  </a:lnTo>
                  <a:lnTo>
                    <a:pt x="156" y="30"/>
                  </a:lnTo>
                  <a:lnTo>
                    <a:pt x="151" y="44"/>
                  </a:lnTo>
                  <a:lnTo>
                    <a:pt x="143" y="47"/>
                  </a:lnTo>
                  <a:lnTo>
                    <a:pt x="137" y="55"/>
                  </a:lnTo>
                  <a:lnTo>
                    <a:pt x="128" y="65"/>
                  </a:lnTo>
                  <a:lnTo>
                    <a:pt x="114" y="65"/>
                  </a:lnTo>
                  <a:lnTo>
                    <a:pt x="105" y="59"/>
                  </a:lnTo>
                  <a:lnTo>
                    <a:pt x="96" y="59"/>
                  </a:lnTo>
                  <a:lnTo>
                    <a:pt x="91" y="66"/>
                  </a:lnTo>
                  <a:lnTo>
                    <a:pt x="88" y="76"/>
                  </a:lnTo>
                  <a:lnTo>
                    <a:pt x="80" y="81"/>
                  </a:lnTo>
                  <a:lnTo>
                    <a:pt x="61" y="76"/>
                  </a:lnTo>
                  <a:lnTo>
                    <a:pt x="57" y="61"/>
                  </a:lnTo>
                  <a:lnTo>
                    <a:pt x="52" y="54"/>
                  </a:lnTo>
                  <a:lnTo>
                    <a:pt x="47" y="110"/>
                  </a:lnTo>
                  <a:lnTo>
                    <a:pt x="40" y="120"/>
                  </a:lnTo>
                  <a:lnTo>
                    <a:pt x="20" y="117"/>
                  </a:lnTo>
                  <a:lnTo>
                    <a:pt x="14" y="105"/>
                  </a:lnTo>
                  <a:lnTo>
                    <a:pt x="10" y="110"/>
                  </a:lnTo>
                  <a:lnTo>
                    <a:pt x="0" y="111"/>
                  </a:lnTo>
                  <a:lnTo>
                    <a:pt x="3" y="118"/>
                  </a:lnTo>
                  <a:lnTo>
                    <a:pt x="3" y="134"/>
                  </a:lnTo>
                  <a:lnTo>
                    <a:pt x="13" y="138"/>
                  </a:lnTo>
                  <a:lnTo>
                    <a:pt x="14" y="157"/>
                  </a:lnTo>
                  <a:lnTo>
                    <a:pt x="20" y="160"/>
                  </a:lnTo>
                  <a:lnTo>
                    <a:pt x="20" y="166"/>
                  </a:lnTo>
                  <a:lnTo>
                    <a:pt x="27" y="166"/>
                  </a:lnTo>
                  <a:lnTo>
                    <a:pt x="25" y="178"/>
                  </a:lnTo>
                  <a:lnTo>
                    <a:pt x="17" y="184"/>
                  </a:lnTo>
                  <a:lnTo>
                    <a:pt x="43" y="218"/>
                  </a:lnTo>
                  <a:lnTo>
                    <a:pt x="61" y="220"/>
                  </a:lnTo>
                  <a:lnTo>
                    <a:pt x="70" y="214"/>
                  </a:lnTo>
                  <a:lnTo>
                    <a:pt x="78" y="203"/>
                  </a:lnTo>
                  <a:lnTo>
                    <a:pt x="108" y="204"/>
                  </a:lnTo>
                  <a:lnTo>
                    <a:pt x="111" y="209"/>
                  </a:lnTo>
                  <a:lnTo>
                    <a:pt x="128" y="202"/>
                  </a:lnTo>
                  <a:lnTo>
                    <a:pt x="135" y="196"/>
                  </a:lnTo>
                  <a:lnTo>
                    <a:pt x="156" y="193"/>
                  </a:lnTo>
                  <a:lnTo>
                    <a:pt x="167" y="186"/>
                  </a:lnTo>
                  <a:lnTo>
                    <a:pt x="178" y="167"/>
                  </a:lnTo>
                  <a:lnTo>
                    <a:pt x="190" y="158"/>
                  </a:lnTo>
                  <a:lnTo>
                    <a:pt x="209" y="142"/>
                  </a:lnTo>
                  <a:lnTo>
                    <a:pt x="212" y="125"/>
                  </a:lnTo>
                  <a:lnTo>
                    <a:pt x="217" y="110"/>
                  </a:lnTo>
                  <a:lnTo>
                    <a:pt x="228" y="109"/>
                  </a:lnTo>
                  <a:lnTo>
                    <a:pt x="236" y="93"/>
                  </a:lnTo>
                  <a:lnTo>
                    <a:pt x="224" y="88"/>
                  </a:lnTo>
                  <a:lnTo>
                    <a:pt x="222" y="76"/>
                  </a:lnTo>
                  <a:lnTo>
                    <a:pt x="216" y="66"/>
                  </a:lnTo>
                  <a:lnTo>
                    <a:pt x="217" y="52"/>
                  </a:lnTo>
                  <a:lnTo>
                    <a:pt x="217" y="34"/>
                  </a:lnTo>
                  <a:lnTo>
                    <a:pt x="217" y="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41" name="Freeform 153">
              <a:extLst>
                <a:ext uri="{FF2B5EF4-FFF2-40B4-BE49-F238E27FC236}">
                  <a16:creationId xmlns:a16="http://schemas.microsoft.com/office/drawing/2014/main" id="{A201DD85-53C9-4C05-A853-2F85E1D1E600}"/>
                </a:ext>
              </a:extLst>
            </p:cNvPr>
            <p:cNvSpPr>
              <a:spLocks/>
            </p:cNvSpPr>
            <p:nvPr/>
          </p:nvSpPr>
          <p:spPr bwMode="auto">
            <a:xfrm>
              <a:off x="4088851" y="4314885"/>
              <a:ext cx="199723" cy="385295"/>
            </a:xfrm>
            <a:custGeom>
              <a:avLst/>
              <a:gdLst>
                <a:gd name="T0" fmla="*/ 24 w 150"/>
                <a:gd name="T1" fmla="*/ 284 h 289"/>
                <a:gd name="T2" fmla="*/ 15 w 150"/>
                <a:gd name="T3" fmla="*/ 262 h 289"/>
                <a:gd name="T4" fmla="*/ 16 w 150"/>
                <a:gd name="T5" fmla="*/ 229 h 289"/>
                <a:gd name="T6" fmla="*/ 19 w 150"/>
                <a:gd name="T7" fmla="*/ 194 h 289"/>
                <a:gd name="T8" fmla="*/ 26 w 150"/>
                <a:gd name="T9" fmla="*/ 168 h 289"/>
                <a:gd name="T10" fmla="*/ 41 w 150"/>
                <a:gd name="T11" fmla="*/ 155 h 289"/>
                <a:gd name="T12" fmla="*/ 35 w 150"/>
                <a:gd name="T13" fmla="*/ 132 h 289"/>
                <a:gd name="T14" fmla="*/ 32 w 150"/>
                <a:gd name="T15" fmla="*/ 97 h 289"/>
                <a:gd name="T16" fmla="*/ 5 w 150"/>
                <a:gd name="T17" fmla="*/ 82 h 289"/>
                <a:gd name="T18" fmla="*/ 23 w 150"/>
                <a:gd name="T19" fmla="*/ 75 h 289"/>
                <a:gd name="T20" fmla="*/ 38 w 150"/>
                <a:gd name="T21" fmla="*/ 60 h 289"/>
                <a:gd name="T22" fmla="*/ 60 w 150"/>
                <a:gd name="T23" fmla="*/ 68 h 289"/>
                <a:gd name="T24" fmla="*/ 55 w 150"/>
                <a:gd name="T25" fmla="*/ 94 h 289"/>
                <a:gd name="T26" fmla="*/ 71 w 150"/>
                <a:gd name="T27" fmla="*/ 99 h 289"/>
                <a:gd name="T28" fmla="*/ 85 w 150"/>
                <a:gd name="T29" fmla="*/ 81 h 289"/>
                <a:gd name="T30" fmla="*/ 78 w 150"/>
                <a:gd name="T31" fmla="*/ 59 h 289"/>
                <a:gd name="T32" fmla="*/ 69 w 150"/>
                <a:gd name="T33" fmla="*/ 44 h 289"/>
                <a:gd name="T34" fmla="*/ 64 w 150"/>
                <a:gd name="T35" fmla="*/ 26 h 289"/>
                <a:gd name="T36" fmla="*/ 64 w 150"/>
                <a:gd name="T37" fmla="*/ 0 h 289"/>
                <a:gd name="T38" fmla="*/ 80 w 150"/>
                <a:gd name="T39" fmla="*/ 18 h 289"/>
                <a:gd name="T40" fmla="*/ 112 w 150"/>
                <a:gd name="T41" fmla="*/ 11 h 289"/>
                <a:gd name="T42" fmla="*/ 132 w 150"/>
                <a:gd name="T43" fmla="*/ 4 h 289"/>
                <a:gd name="T44" fmla="*/ 149 w 150"/>
                <a:gd name="T45" fmla="*/ 30 h 289"/>
                <a:gd name="T46" fmla="*/ 140 w 150"/>
                <a:gd name="T47" fmla="*/ 93 h 289"/>
                <a:gd name="T48" fmla="*/ 113 w 150"/>
                <a:gd name="T49" fmla="*/ 106 h 289"/>
                <a:gd name="T50" fmla="*/ 101 w 150"/>
                <a:gd name="T51" fmla="*/ 117 h 289"/>
                <a:gd name="T52" fmla="*/ 93 w 150"/>
                <a:gd name="T53" fmla="*/ 139 h 289"/>
                <a:gd name="T54" fmla="*/ 73 w 150"/>
                <a:gd name="T55" fmla="*/ 149 h 289"/>
                <a:gd name="T56" fmla="*/ 68 w 150"/>
                <a:gd name="T57" fmla="*/ 189 h 289"/>
                <a:gd name="T58" fmla="*/ 71 w 150"/>
                <a:gd name="T59" fmla="*/ 220 h 289"/>
                <a:gd name="T60" fmla="*/ 68 w 150"/>
                <a:gd name="T61" fmla="*/ 234 h 289"/>
                <a:gd name="T62" fmla="*/ 56 w 150"/>
                <a:gd name="T63" fmla="*/ 242 h 289"/>
                <a:gd name="T64" fmla="*/ 39 w 150"/>
                <a:gd name="T65" fmla="*/ 248 h 289"/>
                <a:gd name="T66" fmla="*/ 37 w 150"/>
                <a:gd name="T67" fmla="*/ 269 h 289"/>
                <a:gd name="T68" fmla="*/ 36 w 150"/>
                <a:gd name="T69" fmla="*/ 288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289">
                  <a:moveTo>
                    <a:pt x="36" y="288"/>
                  </a:moveTo>
                  <a:lnTo>
                    <a:pt x="24" y="284"/>
                  </a:lnTo>
                  <a:lnTo>
                    <a:pt x="21" y="272"/>
                  </a:lnTo>
                  <a:lnTo>
                    <a:pt x="15" y="262"/>
                  </a:lnTo>
                  <a:lnTo>
                    <a:pt x="16" y="247"/>
                  </a:lnTo>
                  <a:lnTo>
                    <a:pt x="16" y="229"/>
                  </a:lnTo>
                  <a:lnTo>
                    <a:pt x="16" y="205"/>
                  </a:lnTo>
                  <a:lnTo>
                    <a:pt x="19" y="194"/>
                  </a:lnTo>
                  <a:lnTo>
                    <a:pt x="27" y="189"/>
                  </a:lnTo>
                  <a:lnTo>
                    <a:pt x="26" y="168"/>
                  </a:lnTo>
                  <a:lnTo>
                    <a:pt x="36" y="162"/>
                  </a:lnTo>
                  <a:lnTo>
                    <a:pt x="41" y="155"/>
                  </a:lnTo>
                  <a:lnTo>
                    <a:pt x="36" y="142"/>
                  </a:lnTo>
                  <a:lnTo>
                    <a:pt x="35" y="132"/>
                  </a:lnTo>
                  <a:lnTo>
                    <a:pt x="40" y="111"/>
                  </a:lnTo>
                  <a:lnTo>
                    <a:pt x="32" y="97"/>
                  </a:lnTo>
                  <a:lnTo>
                    <a:pt x="12" y="93"/>
                  </a:lnTo>
                  <a:lnTo>
                    <a:pt x="5" y="82"/>
                  </a:lnTo>
                  <a:lnTo>
                    <a:pt x="0" y="81"/>
                  </a:lnTo>
                  <a:lnTo>
                    <a:pt x="23" y="75"/>
                  </a:lnTo>
                  <a:lnTo>
                    <a:pt x="26" y="66"/>
                  </a:lnTo>
                  <a:lnTo>
                    <a:pt x="38" y="60"/>
                  </a:lnTo>
                  <a:lnTo>
                    <a:pt x="49" y="65"/>
                  </a:lnTo>
                  <a:lnTo>
                    <a:pt x="60" y="68"/>
                  </a:lnTo>
                  <a:lnTo>
                    <a:pt x="59" y="80"/>
                  </a:lnTo>
                  <a:lnTo>
                    <a:pt x="55" y="94"/>
                  </a:lnTo>
                  <a:lnTo>
                    <a:pt x="61" y="101"/>
                  </a:lnTo>
                  <a:lnTo>
                    <a:pt x="71" y="99"/>
                  </a:lnTo>
                  <a:lnTo>
                    <a:pt x="75" y="88"/>
                  </a:lnTo>
                  <a:lnTo>
                    <a:pt x="85" y="81"/>
                  </a:lnTo>
                  <a:lnTo>
                    <a:pt x="82" y="68"/>
                  </a:lnTo>
                  <a:lnTo>
                    <a:pt x="78" y="59"/>
                  </a:lnTo>
                  <a:lnTo>
                    <a:pt x="72" y="49"/>
                  </a:lnTo>
                  <a:lnTo>
                    <a:pt x="69" y="44"/>
                  </a:lnTo>
                  <a:lnTo>
                    <a:pt x="63" y="37"/>
                  </a:lnTo>
                  <a:lnTo>
                    <a:pt x="64" y="26"/>
                  </a:lnTo>
                  <a:lnTo>
                    <a:pt x="67" y="14"/>
                  </a:lnTo>
                  <a:lnTo>
                    <a:pt x="64" y="0"/>
                  </a:lnTo>
                  <a:lnTo>
                    <a:pt x="77" y="9"/>
                  </a:lnTo>
                  <a:lnTo>
                    <a:pt x="80" y="18"/>
                  </a:lnTo>
                  <a:lnTo>
                    <a:pt x="109" y="20"/>
                  </a:lnTo>
                  <a:lnTo>
                    <a:pt x="112" y="11"/>
                  </a:lnTo>
                  <a:lnTo>
                    <a:pt x="129" y="11"/>
                  </a:lnTo>
                  <a:lnTo>
                    <a:pt x="132" y="4"/>
                  </a:lnTo>
                  <a:lnTo>
                    <a:pt x="149" y="0"/>
                  </a:lnTo>
                  <a:lnTo>
                    <a:pt x="149" y="30"/>
                  </a:lnTo>
                  <a:lnTo>
                    <a:pt x="149" y="83"/>
                  </a:lnTo>
                  <a:lnTo>
                    <a:pt x="140" y="93"/>
                  </a:lnTo>
                  <a:lnTo>
                    <a:pt x="136" y="103"/>
                  </a:lnTo>
                  <a:lnTo>
                    <a:pt x="113" y="106"/>
                  </a:lnTo>
                  <a:lnTo>
                    <a:pt x="111" y="114"/>
                  </a:lnTo>
                  <a:lnTo>
                    <a:pt x="101" y="117"/>
                  </a:lnTo>
                  <a:lnTo>
                    <a:pt x="97" y="121"/>
                  </a:lnTo>
                  <a:lnTo>
                    <a:pt x="93" y="139"/>
                  </a:lnTo>
                  <a:lnTo>
                    <a:pt x="81" y="143"/>
                  </a:lnTo>
                  <a:lnTo>
                    <a:pt x="73" y="149"/>
                  </a:lnTo>
                  <a:lnTo>
                    <a:pt x="69" y="157"/>
                  </a:lnTo>
                  <a:lnTo>
                    <a:pt x="68" y="189"/>
                  </a:lnTo>
                  <a:lnTo>
                    <a:pt x="71" y="190"/>
                  </a:lnTo>
                  <a:lnTo>
                    <a:pt x="71" y="220"/>
                  </a:lnTo>
                  <a:lnTo>
                    <a:pt x="73" y="233"/>
                  </a:lnTo>
                  <a:lnTo>
                    <a:pt x="68" y="234"/>
                  </a:lnTo>
                  <a:lnTo>
                    <a:pt x="67" y="242"/>
                  </a:lnTo>
                  <a:lnTo>
                    <a:pt x="56" y="242"/>
                  </a:lnTo>
                  <a:lnTo>
                    <a:pt x="52" y="246"/>
                  </a:lnTo>
                  <a:lnTo>
                    <a:pt x="39" y="248"/>
                  </a:lnTo>
                  <a:lnTo>
                    <a:pt x="37" y="259"/>
                  </a:lnTo>
                  <a:lnTo>
                    <a:pt x="37" y="269"/>
                  </a:lnTo>
                  <a:lnTo>
                    <a:pt x="37" y="280"/>
                  </a:lnTo>
                  <a:lnTo>
                    <a:pt x="36" y="288"/>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42" name="Freeform 154">
              <a:extLst>
                <a:ext uri="{FF2B5EF4-FFF2-40B4-BE49-F238E27FC236}">
                  <a16:creationId xmlns:a16="http://schemas.microsoft.com/office/drawing/2014/main" id="{EE7DAB6A-7C00-4516-995F-634C8B12CD78}"/>
                </a:ext>
              </a:extLst>
            </p:cNvPr>
            <p:cNvSpPr>
              <a:spLocks/>
            </p:cNvSpPr>
            <p:nvPr/>
          </p:nvSpPr>
          <p:spPr bwMode="auto">
            <a:xfrm>
              <a:off x="4015143" y="4723964"/>
              <a:ext cx="49931" cy="51135"/>
            </a:xfrm>
            <a:custGeom>
              <a:avLst/>
              <a:gdLst>
                <a:gd name="T0" fmla="*/ 12 w 38"/>
                <a:gd name="T1" fmla="*/ 2 h 38"/>
                <a:gd name="T2" fmla="*/ 9 w 38"/>
                <a:gd name="T3" fmla="*/ 9 h 38"/>
                <a:gd name="T4" fmla="*/ 0 w 38"/>
                <a:gd name="T5" fmla="*/ 11 h 38"/>
                <a:gd name="T6" fmla="*/ 1 w 38"/>
                <a:gd name="T7" fmla="*/ 34 h 38"/>
                <a:gd name="T8" fmla="*/ 13 w 38"/>
                <a:gd name="T9" fmla="*/ 33 h 38"/>
                <a:gd name="T10" fmla="*/ 16 w 38"/>
                <a:gd name="T11" fmla="*/ 37 h 38"/>
                <a:gd name="T12" fmla="*/ 23 w 38"/>
                <a:gd name="T13" fmla="*/ 36 h 38"/>
                <a:gd name="T14" fmla="*/ 28 w 38"/>
                <a:gd name="T15" fmla="*/ 30 h 38"/>
                <a:gd name="T16" fmla="*/ 31 w 38"/>
                <a:gd name="T17" fmla="*/ 22 h 38"/>
                <a:gd name="T18" fmla="*/ 37 w 38"/>
                <a:gd name="T19" fmla="*/ 22 h 38"/>
                <a:gd name="T20" fmla="*/ 37 w 38"/>
                <a:gd name="T21" fmla="*/ 1 h 38"/>
                <a:gd name="T22" fmla="*/ 23 w 38"/>
                <a:gd name="T23" fmla="*/ 0 h 38"/>
                <a:gd name="T24" fmla="*/ 12 w 38"/>
                <a:gd name="T25"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8">
                  <a:moveTo>
                    <a:pt x="12" y="2"/>
                  </a:moveTo>
                  <a:lnTo>
                    <a:pt x="9" y="9"/>
                  </a:lnTo>
                  <a:lnTo>
                    <a:pt x="0" y="11"/>
                  </a:lnTo>
                  <a:lnTo>
                    <a:pt x="1" y="34"/>
                  </a:lnTo>
                  <a:lnTo>
                    <a:pt x="13" y="33"/>
                  </a:lnTo>
                  <a:lnTo>
                    <a:pt x="16" y="37"/>
                  </a:lnTo>
                  <a:lnTo>
                    <a:pt x="23" y="36"/>
                  </a:lnTo>
                  <a:lnTo>
                    <a:pt x="28" y="30"/>
                  </a:lnTo>
                  <a:lnTo>
                    <a:pt x="31" y="22"/>
                  </a:lnTo>
                  <a:lnTo>
                    <a:pt x="37" y="22"/>
                  </a:lnTo>
                  <a:lnTo>
                    <a:pt x="37" y="1"/>
                  </a:lnTo>
                  <a:lnTo>
                    <a:pt x="23" y="0"/>
                  </a:lnTo>
                  <a:lnTo>
                    <a:pt x="12" y="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43" name="Freeform 155">
              <a:extLst>
                <a:ext uri="{FF2B5EF4-FFF2-40B4-BE49-F238E27FC236}">
                  <a16:creationId xmlns:a16="http://schemas.microsoft.com/office/drawing/2014/main" id="{E856C15A-B25E-4B7E-8BFF-F9A05EFA04DF}"/>
                </a:ext>
              </a:extLst>
            </p:cNvPr>
            <p:cNvSpPr>
              <a:spLocks/>
            </p:cNvSpPr>
            <p:nvPr/>
          </p:nvSpPr>
          <p:spPr bwMode="auto">
            <a:xfrm>
              <a:off x="3922415" y="4247102"/>
              <a:ext cx="231821" cy="230701"/>
            </a:xfrm>
            <a:custGeom>
              <a:avLst/>
              <a:gdLst>
                <a:gd name="T0" fmla="*/ 59 w 174"/>
                <a:gd name="T1" fmla="*/ 172 h 173"/>
                <a:gd name="T2" fmla="*/ 68 w 174"/>
                <a:gd name="T3" fmla="*/ 169 h 173"/>
                <a:gd name="T4" fmla="*/ 81 w 174"/>
                <a:gd name="T5" fmla="*/ 169 h 173"/>
                <a:gd name="T6" fmla="*/ 89 w 174"/>
                <a:gd name="T7" fmla="*/ 166 h 173"/>
                <a:gd name="T8" fmla="*/ 92 w 174"/>
                <a:gd name="T9" fmla="*/ 156 h 173"/>
                <a:gd name="T10" fmla="*/ 99 w 174"/>
                <a:gd name="T11" fmla="*/ 153 h 173"/>
                <a:gd name="T12" fmla="*/ 104 w 174"/>
                <a:gd name="T13" fmla="*/ 150 h 173"/>
                <a:gd name="T14" fmla="*/ 106 w 174"/>
                <a:gd name="T15" fmla="*/ 140 h 173"/>
                <a:gd name="T16" fmla="*/ 119 w 174"/>
                <a:gd name="T17" fmla="*/ 137 h 173"/>
                <a:gd name="T18" fmla="*/ 125 w 174"/>
                <a:gd name="T19" fmla="*/ 130 h 173"/>
                <a:gd name="T20" fmla="*/ 148 w 174"/>
                <a:gd name="T21" fmla="*/ 125 h 173"/>
                <a:gd name="T22" fmla="*/ 151 w 174"/>
                <a:gd name="T23" fmla="*/ 116 h 173"/>
                <a:gd name="T24" fmla="*/ 163 w 174"/>
                <a:gd name="T25" fmla="*/ 110 h 173"/>
                <a:gd name="T26" fmla="*/ 165 w 174"/>
                <a:gd name="T27" fmla="*/ 83 h 173"/>
                <a:gd name="T28" fmla="*/ 173 w 174"/>
                <a:gd name="T29" fmla="*/ 76 h 173"/>
                <a:gd name="T30" fmla="*/ 170 w 174"/>
                <a:gd name="T31" fmla="*/ 59 h 173"/>
                <a:gd name="T32" fmla="*/ 170 w 174"/>
                <a:gd name="T33" fmla="*/ 39 h 173"/>
                <a:gd name="T34" fmla="*/ 162 w 174"/>
                <a:gd name="T35" fmla="*/ 25 h 173"/>
                <a:gd name="T36" fmla="*/ 148 w 174"/>
                <a:gd name="T37" fmla="*/ 19 h 173"/>
                <a:gd name="T38" fmla="*/ 139 w 174"/>
                <a:gd name="T39" fmla="*/ 8 h 173"/>
                <a:gd name="T40" fmla="*/ 137 w 174"/>
                <a:gd name="T41" fmla="*/ 0 h 173"/>
                <a:gd name="T42" fmla="*/ 126 w 174"/>
                <a:gd name="T43" fmla="*/ 1 h 173"/>
                <a:gd name="T44" fmla="*/ 123 w 174"/>
                <a:gd name="T45" fmla="*/ 10 h 173"/>
                <a:gd name="T46" fmla="*/ 112 w 174"/>
                <a:gd name="T47" fmla="*/ 14 h 173"/>
                <a:gd name="T48" fmla="*/ 107 w 174"/>
                <a:gd name="T49" fmla="*/ 25 h 173"/>
                <a:gd name="T50" fmla="*/ 103 w 174"/>
                <a:gd name="T51" fmla="*/ 69 h 173"/>
                <a:gd name="T52" fmla="*/ 109 w 174"/>
                <a:gd name="T53" fmla="*/ 75 h 173"/>
                <a:gd name="T54" fmla="*/ 119 w 174"/>
                <a:gd name="T55" fmla="*/ 75 h 173"/>
                <a:gd name="T56" fmla="*/ 122 w 174"/>
                <a:gd name="T57" fmla="*/ 93 h 173"/>
                <a:gd name="T58" fmla="*/ 118 w 174"/>
                <a:gd name="T59" fmla="*/ 103 h 173"/>
                <a:gd name="T60" fmla="*/ 102 w 174"/>
                <a:gd name="T61" fmla="*/ 103 h 173"/>
                <a:gd name="T62" fmla="*/ 96 w 174"/>
                <a:gd name="T63" fmla="*/ 96 h 173"/>
                <a:gd name="T64" fmla="*/ 92 w 174"/>
                <a:gd name="T65" fmla="*/ 80 h 173"/>
                <a:gd name="T66" fmla="*/ 81 w 174"/>
                <a:gd name="T67" fmla="*/ 74 h 173"/>
                <a:gd name="T68" fmla="*/ 80 w 174"/>
                <a:gd name="T69" fmla="*/ 69 h 173"/>
                <a:gd name="T70" fmla="*/ 68 w 174"/>
                <a:gd name="T71" fmla="*/ 70 h 173"/>
                <a:gd name="T72" fmla="*/ 64 w 174"/>
                <a:gd name="T73" fmla="*/ 80 h 173"/>
                <a:gd name="T74" fmla="*/ 57 w 174"/>
                <a:gd name="T75" fmla="*/ 77 h 173"/>
                <a:gd name="T76" fmla="*/ 53 w 174"/>
                <a:gd name="T77" fmla="*/ 62 h 173"/>
                <a:gd name="T78" fmla="*/ 37 w 174"/>
                <a:gd name="T79" fmla="*/ 60 h 173"/>
                <a:gd name="T80" fmla="*/ 35 w 174"/>
                <a:gd name="T81" fmla="*/ 94 h 173"/>
                <a:gd name="T82" fmla="*/ 22 w 174"/>
                <a:gd name="T83" fmla="*/ 94 h 173"/>
                <a:gd name="T84" fmla="*/ 17 w 174"/>
                <a:gd name="T85" fmla="*/ 85 h 173"/>
                <a:gd name="T86" fmla="*/ 11 w 174"/>
                <a:gd name="T87" fmla="*/ 86 h 173"/>
                <a:gd name="T88" fmla="*/ 11 w 174"/>
                <a:gd name="T89" fmla="*/ 94 h 173"/>
                <a:gd name="T90" fmla="*/ 1 w 174"/>
                <a:gd name="T91" fmla="*/ 95 h 173"/>
                <a:gd name="T92" fmla="*/ 0 w 174"/>
                <a:gd name="T93" fmla="*/ 134 h 173"/>
                <a:gd name="T94" fmla="*/ 2 w 174"/>
                <a:gd name="T95" fmla="*/ 146 h 173"/>
                <a:gd name="T96" fmla="*/ 14 w 174"/>
                <a:gd name="T97" fmla="*/ 160 h 173"/>
                <a:gd name="T98" fmla="*/ 14 w 174"/>
                <a:gd name="T99" fmla="*/ 168 h 173"/>
                <a:gd name="T100" fmla="*/ 21 w 174"/>
                <a:gd name="T101" fmla="*/ 170 h 173"/>
                <a:gd name="T102" fmla="*/ 59 w 174"/>
                <a:gd name="T103" fmla="*/ 17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 h="173">
                  <a:moveTo>
                    <a:pt x="59" y="172"/>
                  </a:moveTo>
                  <a:lnTo>
                    <a:pt x="68" y="169"/>
                  </a:lnTo>
                  <a:lnTo>
                    <a:pt x="81" y="169"/>
                  </a:lnTo>
                  <a:lnTo>
                    <a:pt x="89" y="166"/>
                  </a:lnTo>
                  <a:lnTo>
                    <a:pt x="92" y="156"/>
                  </a:lnTo>
                  <a:lnTo>
                    <a:pt x="99" y="153"/>
                  </a:lnTo>
                  <a:lnTo>
                    <a:pt x="104" y="150"/>
                  </a:lnTo>
                  <a:lnTo>
                    <a:pt x="106" y="140"/>
                  </a:lnTo>
                  <a:lnTo>
                    <a:pt x="119" y="137"/>
                  </a:lnTo>
                  <a:lnTo>
                    <a:pt x="125" y="130"/>
                  </a:lnTo>
                  <a:lnTo>
                    <a:pt x="148" y="125"/>
                  </a:lnTo>
                  <a:lnTo>
                    <a:pt x="151" y="116"/>
                  </a:lnTo>
                  <a:lnTo>
                    <a:pt x="163" y="110"/>
                  </a:lnTo>
                  <a:lnTo>
                    <a:pt x="165" y="83"/>
                  </a:lnTo>
                  <a:lnTo>
                    <a:pt x="173" y="76"/>
                  </a:lnTo>
                  <a:lnTo>
                    <a:pt x="170" y="59"/>
                  </a:lnTo>
                  <a:lnTo>
                    <a:pt x="170" y="39"/>
                  </a:lnTo>
                  <a:lnTo>
                    <a:pt x="162" y="25"/>
                  </a:lnTo>
                  <a:lnTo>
                    <a:pt x="148" y="19"/>
                  </a:lnTo>
                  <a:lnTo>
                    <a:pt x="139" y="8"/>
                  </a:lnTo>
                  <a:lnTo>
                    <a:pt x="137" y="0"/>
                  </a:lnTo>
                  <a:lnTo>
                    <a:pt x="126" y="1"/>
                  </a:lnTo>
                  <a:lnTo>
                    <a:pt x="123" y="10"/>
                  </a:lnTo>
                  <a:lnTo>
                    <a:pt x="112" y="14"/>
                  </a:lnTo>
                  <a:lnTo>
                    <a:pt x="107" y="25"/>
                  </a:lnTo>
                  <a:lnTo>
                    <a:pt x="103" y="69"/>
                  </a:lnTo>
                  <a:lnTo>
                    <a:pt x="109" y="75"/>
                  </a:lnTo>
                  <a:lnTo>
                    <a:pt x="119" y="75"/>
                  </a:lnTo>
                  <a:lnTo>
                    <a:pt x="122" y="93"/>
                  </a:lnTo>
                  <a:lnTo>
                    <a:pt x="118" y="103"/>
                  </a:lnTo>
                  <a:lnTo>
                    <a:pt x="102" y="103"/>
                  </a:lnTo>
                  <a:lnTo>
                    <a:pt x="96" y="96"/>
                  </a:lnTo>
                  <a:lnTo>
                    <a:pt x="92" y="80"/>
                  </a:lnTo>
                  <a:lnTo>
                    <a:pt x="81" y="74"/>
                  </a:lnTo>
                  <a:lnTo>
                    <a:pt x="80" y="69"/>
                  </a:lnTo>
                  <a:lnTo>
                    <a:pt x="68" y="70"/>
                  </a:lnTo>
                  <a:lnTo>
                    <a:pt x="64" y="80"/>
                  </a:lnTo>
                  <a:lnTo>
                    <a:pt x="57" y="77"/>
                  </a:lnTo>
                  <a:lnTo>
                    <a:pt x="53" y="62"/>
                  </a:lnTo>
                  <a:lnTo>
                    <a:pt x="37" y="60"/>
                  </a:lnTo>
                  <a:lnTo>
                    <a:pt x="35" y="94"/>
                  </a:lnTo>
                  <a:lnTo>
                    <a:pt x="22" y="94"/>
                  </a:lnTo>
                  <a:lnTo>
                    <a:pt x="17" y="85"/>
                  </a:lnTo>
                  <a:lnTo>
                    <a:pt x="11" y="86"/>
                  </a:lnTo>
                  <a:lnTo>
                    <a:pt x="11" y="94"/>
                  </a:lnTo>
                  <a:lnTo>
                    <a:pt x="1" y="95"/>
                  </a:lnTo>
                  <a:lnTo>
                    <a:pt x="0" y="134"/>
                  </a:lnTo>
                  <a:lnTo>
                    <a:pt x="2" y="146"/>
                  </a:lnTo>
                  <a:lnTo>
                    <a:pt x="14" y="160"/>
                  </a:lnTo>
                  <a:lnTo>
                    <a:pt x="14" y="168"/>
                  </a:lnTo>
                  <a:lnTo>
                    <a:pt x="21" y="170"/>
                  </a:lnTo>
                  <a:lnTo>
                    <a:pt x="59" y="17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44" name="Freeform 156">
              <a:extLst>
                <a:ext uri="{FF2B5EF4-FFF2-40B4-BE49-F238E27FC236}">
                  <a16:creationId xmlns:a16="http://schemas.microsoft.com/office/drawing/2014/main" id="{7422FDEA-EA7D-41E5-90FB-F0096A396419}"/>
                </a:ext>
              </a:extLst>
            </p:cNvPr>
            <p:cNvSpPr>
              <a:spLocks/>
            </p:cNvSpPr>
            <p:nvPr/>
          </p:nvSpPr>
          <p:spPr bwMode="auto">
            <a:xfrm>
              <a:off x="3922415" y="2636949"/>
              <a:ext cx="92728" cy="41621"/>
            </a:xfrm>
            <a:custGeom>
              <a:avLst/>
              <a:gdLst>
                <a:gd name="T0" fmla="*/ 69 w 70"/>
                <a:gd name="T1" fmla="*/ 30 h 31"/>
                <a:gd name="T2" fmla="*/ 41 w 70"/>
                <a:gd name="T3" fmla="*/ 29 h 31"/>
                <a:gd name="T4" fmla="*/ 27 w 70"/>
                <a:gd name="T5" fmla="*/ 18 h 31"/>
                <a:gd name="T6" fmla="*/ 0 w 70"/>
                <a:gd name="T7" fmla="*/ 19 h 31"/>
                <a:gd name="T8" fmla="*/ 11 w 70"/>
                <a:gd name="T9" fmla="*/ 10 h 31"/>
                <a:gd name="T10" fmla="*/ 30 w 70"/>
                <a:gd name="T11" fmla="*/ 0 h 31"/>
                <a:gd name="T12" fmla="*/ 53 w 70"/>
                <a:gd name="T13" fmla="*/ 8 h 31"/>
                <a:gd name="T14" fmla="*/ 69 w 70"/>
                <a:gd name="T15" fmla="*/ 3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31">
                  <a:moveTo>
                    <a:pt x="69" y="30"/>
                  </a:moveTo>
                  <a:lnTo>
                    <a:pt x="41" y="29"/>
                  </a:lnTo>
                  <a:lnTo>
                    <a:pt x="27" y="18"/>
                  </a:lnTo>
                  <a:lnTo>
                    <a:pt x="0" y="19"/>
                  </a:lnTo>
                  <a:lnTo>
                    <a:pt x="11" y="10"/>
                  </a:lnTo>
                  <a:lnTo>
                    <a:pt x="30" y="0"/>
                  </a:lnTo>
                  <a:lnTo>
                    <a:pt x="53" y="8"/>
                  </a:lnTo>
                  <a:lnTo>
                    <a:pt x="69" y="3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45" name="Freeform 157">
              <a:extLst>
                <a:ext uri="{FF2B5EF4-FFF2-40B4-BE49-F238E27FC236}">
                  <a16:creationId xmlns:a16="http://schemas.microsoft.com/office/drawing/2014/main" id="{1EEB7A03-994E-4004-BC28-99DA31B3B98B}"/>
                </a:ext>
              </a:extLst>
            </p:cNvPr>
            <p:cNvSpPr>
              <a:spLocks/>
            </p:cNvSpPr>
            <p:nvPr/>
          </p:nvSpPr>
          <p:spPr bwMode="auto">
            <a:xfrm>
              <a:off x="4300462" y="3091217"/>
              <a:ext cx="74896" cy="104648"/>
            </a:xfrm>
            <a:custGeom>
              <a:avLst/>
              <a:gdLst>
                <a:gd name="T0" fmla="*/ 55 w 56"/>
                <a:gd name="T1" fmla="*/ 69 h 78"/>
                <a:gd name="T2" fmla="*/ 44 w 56"/>
                <a:gd name="T3" fmla="*/ 77 h 78"/>
                <a:gd name="T4" fmla="*/ 37 w 56"/>
                <a:gd name="T5" fmla="*/ 65 h 78"/>
                <a:gd name="T6" fmla="*/ 24 w 56"/>
                <a:gd name="T7" fmla="*/ 58 h 78"/>
                <a:gd name="T8" fmla="*/ 13 w 56"/>
                <a:gd name="T9" fmla="*/ 46 h 78"/>
                <a:gd name="T10" fmla="*/ 0 w 56"/>
                <a:gd name="T11" fmla="*/ 25 h 78"/>
                <a:gd name="T12" fmla="*/ 16 w 56"/>
                <a:gd name="T13" fmla="*/ 18 h 78"/>
                <a:gd name="T14" fmla="*/ 25 w 56"/>
                <a:gd name="T15" fmla="*/ 0 h 78"/>
                <a:gd name="T16" fmla="*/ 31 w 56"/>
                <a:gd name="T17" fmla="*/ 21 h 78"/>
                <a:gd name="T18" fmla="*/ 42 w 56"/>
                <a:gd name="T19" fmla="*/ 43 h 78"/>
                <a:gd name="T20" fmla="*/ 55 w 56"/>
                <a:gd name="T21" fmla="*/ 6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78">
                  <a:moveTo>
                    <a:pt x="55" y="69"/>
                  </a:moveTo>
                  <a:lnTo>
                    <a:pt x="44" y="77"/>
                  </a:lnTo>
                  <a:lnTo>
                    <a:pt x="37" y="65"/>
                  </a:lnTo>
                  <a:lnTo>
                    <a:pt x="24" y="58"/>
                  </a:lnTo>
                  <a:lnTo>
                    <a:pt x="13" y="46"/>
                  </a:lnTo>
                  <a:lnTo>
                    <a:pt x="0" y="25"/>
                  </a:lnTo>
                  <a:lnTo>
                    <a:pt x="16" y="18"/>
                  </a:lnTo>
                  <a:lnTo>
                    <a:pt x="25" y="0"/>
                  </a:lnTo>
                  <a:lnTo>
                    <a:pt x="31" y="21"/>
                  </a:lnTo>
                  <a:lnTo>
                    <a:pt x="42" y="43"/>
                  </a:lnTo>
                  <a:lnTo>
                    <a:pt x="55" y="6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46" name="Freeform 158">
              <a:extLst>
                <a:ext uri="{FF2B5EF4-FFF2-40B4-BE49-F238E27FC236}">
                  <a16:creationId xmlns:a16="http://schemas.microsoft.com/office/drawing/2014/main" id="{8BBC046A-BEFB-4253-ABF6-B3C7AA28CAE7}"/>
                </a:ext>
              </a:extLst>
            </p:cNvPr>
            <p:cNvSpPr>
              <a:spLocks/>
            </p:cNvSpPr>
            <p:nvPr/>
          </p:nvSpPr>
          <p:spPr bwMode="auto">
            <a:xfrm>
              <a:off x="3889128" y="2660733"/>
              <a:ext cx="158114" cy="74918"/>
            </a:xfrm>
            <a:custGeom>
              <a:avLst/>
              <a:gdLst>
                <a:gd name="T0" fmla="*/ 86 w 119"/>
                <a:gd name="T1" fmla="*/ 55 h 56"/>
                <a:gd name="T2" fmla="*/ 85 w 119"/>
                <a:gd name="T3" fmla="*/ 45 h 56"/>
                <a:gd name="T4" fmla="*/ 56 w 119"/>
                <a:gd name="T5" fmla="*/ 33 h 56"/>
                <a:gd name="T6" fmla="*/ 26 w 119"/>
                <a:gd name="T7" fmla="*/ 51 h 56"/>
                <a:gd name="T8" fmla="*/ 2 w 119"/>
                <a:gd name="T9" fmla="*/ 52 h 56"/>
                <a:gd name="T10" fmla="*/ 0 w 119"/>
                <a:gd name="T11" fmla="*/ 27 h 56"/>
                <a:gd name="T12" fmla="*/ 10 w 119"/>
                <a:gd name="T13" fmla="*/ 17 h 56"/>
                <a:gd name="T14" fmla="*/ 21 w 119"/>
                <a:gd name="T15" fmla="*/ 33 h 56"/>
                <a:gd name="T16" fmla="*/ 37 w 119"/>
                <a:gd name="T17" fmla="*/ 33 h 56"/>
                <a:gd name="T18" fmla="*/ 40 w 119"/>
                <a:gd name="T19" fmla="*/ 19 h 56"/>
                <a:gd name="T20" fmla="*/ 29 w 119"/>
                <a:gd name="T21" fmla="*/ 14 h 56"/>
                <a:gd name="T22" fmla="*/ 25 w 119"/>
                <a:gd name="T23" fmla="*/ 2 h 56"/>
                <a:gd name="T24" fmla="*/ 52 w 119"/>
                <a:gd name="T25" fmla="*/ 0 h 56"/>
                <a:gd name="T26" fmla="*/ 67 w 119"/>
                <a:gd name="T27" fmla="*/ 12 h 56"/>
                <a:gd name="T28" fmla="*/ 95 w 119"/>
                <a:gd name="T29" fmla="*/ 13 h 56"/>
                <a:gd name="T30" fmla="*/ 118 w 119"/>
                <a:gd name="T31" fmla="*/ 33 h 56"/>
                <a:gd name="T32" fmla="*/ 107 w 119"/>
                <a:gd name="T33" fmla="*/ 41 h 56"/>
                <a:gd name="T34" fmla="*/ 92 w 119"/>
                <a:gd name="T35" fmla="*/ 36 h 56"/>
                <a:gd name="T36" fmla="*/ 86 w 119"/>
                <a:gd name="T37" fmla="*/ 5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 h="56">
                  <a:moveTo>
                    <a:pt x="86" y="55"/>
                  </a:moveTo>
                  <a:lnTo>
                    <a:pt x="85" y="45"/>
                  </a:lnTo>
                  <a:lnTo>
                    <a:pt x="56" y="33"/>
                  </a:lnTo>
                  <a:lnTo>
                    <a:pt x="26" y="51"/>
                  </a:lnTo>
                  <a:lnTo>
                    <a:pt x="2" y="52"/>
                  </a:lnTo>
                  <a:lnTo>
                    <a:pt x="0" y="27"/>
                  </a:lnTo>
                  <a:lnTo>
                    <a:pt x="10" y="17"/>
                  </a:lnTo>
                  <a:lnTo>
                    <a:pt x="21" y="33"/>
                  </a:lnTo>
                  <a:lnTo>
                    <a:pt x="37" y="33"/>
                  </a:lnTo>
                  <a:lnTo>
                    <a:pt x="40" y="19"/>
                  </a:lnTo>
                  <a:lnTo>
                    <a:pt x="29" y="14"/>
                  </a:lnTo>
                  <a:lnTo>
                    <a:pt x="25" y="2"/>
                  </a:lnTo>
                  <a:lnTo>
                    <a:pt x="52" y="0"/>
                  </a:lnTo>
                  <a:lnTo>
                    <a:pt x="67" y="12"/>
                  </a:lnTo>
                  <a:lnTo>
                    <a:pt x="95" y="13"/>
                  </a:lnTo>
                  <a:lnTo>
                    <a:pt x="118" y="33"/>
                  </a:lnTo>
                  <a:lnTo>
                    <a:pt x="107" y="41"/>
                  </a:lnTo>
                  <a:lnTo>
                    <a:pt x="92" y="36"/>
                  </a:lnTo>
                  <a:lnTo>
                    <a:pt x="86" y="55"/>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47" name="Freeform 159">
              <a:extLst>
                <a:ext uri="{FF2B5EF4-FFF2-40B4-BE49-F238E27FC236}">
                  <a16:creationId xmlns:a16="http://schemas.microsoft.com/office/drawing/2014/main" id="{D36A6991-E4C1-4F7A-A815-A25CE75A5D6A}"/>
                </a:ext>
              </a:extLst>
            </p:cNvPr>
            <p:cNvSpPr>
              <a:spLocks/>
            </p:cNvSpPr>
            <p:nvPr/>
          </p:nvSpPr>
          <p:spPr bwMode="auto">
            <a:xfrm>
              <a:off x="4301651" y="3815429"/>
              <a:ext cx="42798" cy="42811"/>
            </a:xfrm>
            <a:custGeom>
              <a:avLst/>
              <a:gdLst>
                <a:gd name="T0" fmla="*/ 16 w 32"/>
                <a:gd name="T1" fmla="*/ 30 h 31"/>
                <a:gd name="T2" fmla="*/ 0 w 32"/>
                <a:gd name="T3" fmla="*/ 27 h 31"/>
                <a:gd name="T4" fmla="*/ 3 w 32"/>
                <a:gd name="T5" fmla="*/ 0 h 31"/>
                <a:gd name="T6" fmla="*/ 31 w 32"/>
                <a:gd name="T7" fmla="*/ 17 h 31"/>
                <a:gd name="T8" fmla="*/ 16 w 32"/>
                <a:gd name="T9" fmla="*/ 30 h 31"/>
              </a:gdLst>
              <a:ahLst/>
              <a:cxnLst>
                <a:cxn ang="0">
                  <a:pos x="T0" y="T1"/>
                </a:cxn>
                <a:cxn ang="0">
                  <a:pos x="T2" y="T3"/>
                </a:cxn>
                <a:cxn ang="0">
                  <a:pos x="T4" y="T5"/>
                </a:cxn>
                <a:cxn ang="0">
                  <a:pos x="T6" y="T7"/>
                </a:cxn>
                <a:cxn ang="0">
                  <a:pos x="T8" y="T9"/>
                </a:cxn>
              </a:cxnLst>
              <a:rect l="0" t="0" r="r" b="b"/>
              <a:pathLst>
                <a:path w="32" h="31">
                  <a:moveTo>
                    <a:pt x="16" y="30"/>
                  </a:moveTo>
                  <a:lnTo>
                    <a:pt x="0" y="27"/>
                  </a:lnTo>
                  <a:lnTo>
                    <a:pt x="3" y="0"/>
                  </a:lnTo>
                  <a:lnTo>
                    <a:pt x="31" y="17"/>
                  </a:lnTo>
                  <a:lnTo>
                    <a:pt x="16" y="3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48" name="Freeform 160">
              <a:extLst>
                <a:ext uri="{FF2B5EF4-FFF2-40B4-BE49-F238E27FC236}">
                  <a16:creationId xmlns:a16="http://schemas.microsoft.com/office/drawing/2014/main" id="{484CB25B-183E-4CDA-8038-CD237B26F5B8}"/>
                </a:ext>
              </a:extLst>
            </p:cNvPr>
            <p:cNvSpPr>
              <a:spLocks/>
            </p:cNvSpPr>
            <p:nvPr/>
          </p:nvSpPr>
          <p:spPr bwMode="auto">
            <a:xfrm>
              <a:off x="3517025" y="3810672"/>
              <a:ext cx="64197" cy="139134"/>
            </a:xfrm>
            <a:custGeom>
              <a:avLst/>
              <a:gdLst>
                <a:gd name="T0" fmla="*/ 0 w 48"/>
                <a:gd name="T1" fmla="*/ 36 h 104"/>
                <a:gd name="T2" fmla="*/ 7 w 48"/>
                <a:gd name="T3" fmla="*/ 46 h 104"/>
                <a:gd name="T4" fmla="*/ 10 w 48"/>
                <a:gd name="T5" fmla="*/ 66 h 104"/>
                <a:gd name="T6" fmla="*/ 11 w 48"/>
                <a:gd name="T7" fmla="*/ 84 h 104"/>
                <a:gd name="T8" fmla="*/ 16 w 48"/>
                <a:gd name="T9" fmla="*/ 103 h 104"/>
                <a:gd name="T10" fmla="*/ 34 w 48"/>
                <a:gd name="T11" fmla="*/ 95 h 104"/>
                <a:gd name="T12" fmla="*/ 31 w 48"/>
                <a:gd name="T13" fmla="*/ 62 h 104"/>
                <a:gd name="T14" fmla="*/ 39 w 48"/>
                <a:gd name="T15" fmla="*/ 51 h 104"/>
                <a:gd name="T16" fmla="*/ 47 w 48"/>
                <a:gd name="T17" fmla="*/ 19 h 104"/>
                <a:gd name="T18" fmla="*/ 44 w 48"/>
                <a:gd name="T19" fmla="*/ 0 h 104"/>
                <a:gd name="T20" fmla="*/ 31 w 48"/>
                <a:gd name="T21" fmla="*/ 1 h 104"/>
                <a:gd name="T22" fmla="*/ 27 w 48"/>
                <a:gd name="T23" fmla="*/ 16 h 104"/>
                <a:gd name="T24" fmla="*/ 11 w 48"/>
                <a:gd name="T25" fmla="*/ 21 h 104"/>
                <a:gd name="T26" fmla="*/ 0 w 48"/>
                <a:gd name="T27" fmla="*/ 3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4">
                  <a:moveTo>
                    <a:pt x="0" y="36"/>
                  </a:moveTo>
                  <a:lnTo>
                    <a:pt x="7" y="46"/>
                  </a:lnTo>
                  <a:lnTo>
                    <a:pt x="10" y="66"/>
                  </a:lnTo>
                  <a:lnTo>
                    <a:pt x="11" y="84"/>
                  </a:lnTo>
                  <a:lnTo>
                    <a:pt x="16" y="103"/>
                  </a:lnTo>
                  <a:lnTo>
                    <a:pt x="34" y="95"/>
                  </a:lnTo>
                  <a:lnTo>
                    <a:pt x="31" y="62"/>
                  </a:lnTo>
                  <a:lnTo>
                    <a:pt x="39" y="51"/>
                  </a:lnTo>
                  <a:lnTo>
                    <a:pt x="47" y="19"/>
                  </a:lnTo>
                  <a:lnTo>
                    <a:pt x="44" y="0"/>
                  </a:lnTo>
                  <a:lnTo>
                    <a:pt x="31" y="1"/>
                  </a:lnTo>
                  <a:lnTo>
                    <a:pt x="27" y="16"/>
                  </a:lnTo>
                  <a:lnTo>
                    <a:pt x="11" y="21"/>
                  </a:lnTo>
                  <a:lnTo>
                    <a:pt x="0" y="36"/>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49" name="Freeform 161">
              <a:extLst>
                <a:ext uri="{FF2B5EF4-FFF2-40B4-BE49-F238E27FC236}">
                  <a16:creationId xmlns:a16="http://schemas.microsoft.com/office/drawing/2014/main" id="{54A8DD25-F496-4AB9-B357-252A85B83447}"/>
                </a:ext>
              </a:extLst>
            </p:cNvPr>
            <p:cNvSpPr>
              <a:spLocks/>
            </p:cNvSpPr>
            <p:nvPr/>
          </p:nvSpPr>
          <p:spPr bwMode="auto">
            <a:xfrm>
              <a:off x="3256672" y="3866564"/>
              <a:ext cx="66574" cy="71351"/>
            </a:xfrm>
            <a:custGeom>
              <a:avLst/>
              <a:gdLst>
                <a:gd name="T0" fmla="*/ 48 w 49"/>
                <a:gd name="T1" fmla="*/ 26 h 53"/>
                <a:gd name="T2" fmla="*/ 44 w 49"/>
                <a:gd name="T3" fmla="*/ 9 h 53"/>
                <a:gd name="T4" fmla="*/ 27 w 49"/>
                <a:gd name="T5" fmla="*/ 0 h 53"/>
                <a:gd name="T6" fmla="*/ 15 w 49"/>
                <a:gd name="T7" fmla="*/ 6 h 53"/>
                <a:gd name="T8" fmla="*/ 0 w 49"/>
                <a:gd name="T9" fmla="*/ 10 h 53"/>
                <a:gd name="T10" fmla="*/ 3 w 49"/>
                <a:gd name="T11" fmla="*/ 25 h 53"/>
                <a:gd name="T12" fmla="*/ 14 w 49"/>
                <a:gd name="T13" fmla="*/ 28 h 53"/>
                <a:gd name="T14" fmla="*/ 16 w 49"/>
                <a:gd name="T15" fmla="*/ 40 h 53"/>
                <a:gd name="T16" fmla="*/ 29 w 49"/>
                <a:gd name="T17" fmla="*/ 44 h 53"/>
                <a:gd name="T18" fmla="*/ 33 w 49"/>
                <a:gd name="T19" fmla="*/ 52 h 53"/>
                <a:gd name="T20" fmla="*/ 48 w 49"/>
                <a:gd name="T2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53">
                  <a:moveTo>
                    <a:pt x="48" y="26"/>
                  </a:moveTo>
                  <a:lnTo>
                    <a:pt x="44" y="9"/>
                  </a:lnTo>
                  <a:lnTo>
                    <a:pt x="27" y="0"/>
                  </a:lnTo>
                  <a:lnTo>
                    <a:pt x="15" y="6"/>
                  </a:lnTo>
                  <a:lnTo>
                    <a:pt x="0" y="10"/>
                  </a:lnTo>
                  <a:lnTo>
                    <a:pt x="3" y="25"/>
                  </a:lnTo>
                  <a:lnTo>
                    <a:pt x="14" y="28"/>
                  </a:lnTo>
                  <a:lnTo>
                    <a:pt x="16" y="40"/>
                  </a:lnTo>
                  <a:lnTo>
                    <a:pt x="29" y="44"/>
                  </a:lnTo>
                  <a:lnTo>
                    <a:pt x="33" y="52"/>
                  </a:lnTo>
                  <a:lnTo>
                    <a:pt x="48" y="26"/>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50" name="Freeform 162">
              <a:extLst>
                <a:ext uri="{FF2B5EF4-FFF2-40B4-BE49-F238E27FC236}">
                  <a16:creationId xmlns:a16="http://schemas.microsoft.com/office/drawing/2014/main" id="{71C42DBF-EA7D-47B4-9C26-B4E2BE3899EC}"/>
                </a:ext>
              </a:extLst>
            </p:cNvPr>
            <p:cNvSpPr>
              <a:spLocks/>
            </p:cNvSpPr>
            <p:nvPr/>
          </p:nvSpPr>
          <p:spPr bwMode="auto">
            <a:xfrm>
              <a:off x="4474030" y="3505052"/>
              <a:ext cx="102239" cy="71351"/>
            </a:xfrm>
            <a:custGeom>
              <a:avLst/>
              <a:gdLst>
                <a:gd name="T0" fmla="*/ 0 w 78"/>
                <a:gd name="T1" fmla="*/ 16 h 54"/>
                <a:gd name="T2" fmla="*/ 12 w 78"/>
                <a:gd name="T3" fmla="*/ 50 h 54"/>
                <a:gd name="T4" fmla="*/ 56 w 78"/>
                <a:gd name="T5" fmla="*/ 53 h 54"/>
                <a:gd name="T6" fmla="*/ 77 w 78"/>
                <a:gd name="T7" fmla="*/ 19 h 54"/>
                <a:gd name="T8" fmla="*/ 73 w 78"/>
                <a:gd name="T9" fmla="*/ 0 h 54"/>
                <a:gd name="T10" fmla="*/ 61 w 78"/>
                <a:gd name="T11" fmla="*/ 15 h 54"/>
                <a:gd name="T12" fmla="*/ 50 w 78"/>
                <a:gd name="T13" fmla="*/ 27 h 54"/>
                <a:gd name="T14" fmla="*/ 26 w 78"/>
                <a:gd name="T15" fmla="*/ 31 h 54"/>
                <a:gd name="T16" fmla="*/ 14 w 78"/>
                <a:gd name="T17" fmla="*/ 27 h 54"/>
                <a:gd name="T18" fmla="*/ 0 w 78"/>
                <a:gd name="T19"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54">
                  <a:moveTo>
                    <a:pt x="0" y="16"/>
                  </a:moveTo>
                  <a:lnTo>
                    <a:pt x="12" y="50"/>
                  </a:lnTo>
                  <a:lnTo>
                    <a:pt x="56" y="53"/>
                  </a:lnTo>
                  <a:lnTo>
                    <a:pt x="77" y="19"/>
                  </a:lnTo>
                  <a:lnTo>
                    <a:pt x="73" y="0"/>
                  </a:lnTo>
                  <a:lnTo>
                    <a:pt x="61" y="15"/>
                  </a:lnTo>
                  <a:lnTo>
                    <a:pt x="50" y="27"/>
                  </a:lnTo>
                  <a:lnTo>
                    <a:pt x="26" y="31"/>
                  </a:lnTo>
                  <a:lnTo>
                    <a:pt x="14" y="27"/>
                  </a:lnTo>
                  <a:lnTo>
                    <a:pt x="0" y="16"/>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51" name="Freeform 163">
              <a:extLst>
                <a:ext uri="{FF2B5EF4-FFF2-40B4-BE49-F238E27FC236}">
                  <a16:creationId xmlns:a16="http://schemas.microsoft.com/office/drawing/2014/main" id="{7CF698CC-FB4C-4881-B3BE-7B46C3EFDAB9}"/>
                </a:ext>
              </a:extLst>
            </p:cNvPr>
            <p:cNvSpPr>
              <a:spLocks/>
            </p:cNvSpPr>
            <p:nvPr/>
          </p:nvSpPr>
          <p:spPr bwMode="auto">
            <a:xfrm>
              <a:off x="4062696" y="4109157"/>
              <a:ext cx="36854" cy="36865"/>
            </a:xfrm>
            <a:custGeom>
              <a:avLst/>
              <a:gdLst>
                <a:gd name="T0" fmla="*/ 13 w 28"/>
                <a:gd name="T1" fmla="*/ 0 h 28"/>
                <a:gd name="T2" fmla="*/ 3 w 28"/>
                <a:gd name="T3" fmla="*/ 4 h 28"/>
                <a:gd name="T4" fmla="*/ 6 w 28"/>
                <a:gd name="T5" fmla="*/ 14 h 28"/>
                <a:gd name="T6" fmla="*/ 0 w 28"/>
                <a:gd name="T7" fmla="*/ 19 h 28"/>
                <a:gd name="T8" fmla="*/ 1 w 28"/>
                <a:gd name="T9" fmla="*/ 27 h 28"/>
                <a:gd name="T10" fmla="*/ 10 w 28"/>
                <a:gd name="T11" fmla="*/ 26 h 28"/>
                <a:gd name="T12" fmla="*/ 22 w 28"/>
                <a:gd name="T13" fmla="*/ 26 h 28"/>
                <a:gd name="T14" fmla="*/ 27 w 28"/>
                <a:gd name="T15" fmla="*/ 19 h 28"/>
                <a:gd name="T16" fmla="*/ 24 w 28"/>
                <a:gd name="T17" fmla="*/ 4 h 28"/>
                <a:gd name="T18" fmla="*/ 13 w 28"/>
                <a:gd name="T1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3" y="0"/>
                  </a:moveTo>
                  <a:lnTo>
                    <a:pt x="3" y="4"/>
                  </a:lnTo>
                  <a:lnTo>
                    <a:pt x="6" y="14"/>
                  </a:lnTo>
                  <a:lnTo>
                    <a:pt x="0" y="19"/>
                  </a:lnTo>
                  <a:lnTo>
                    <a:pt x="1" y="27"/>
                  </a:lnTo>
                  <a:lnTo>
                    <a:pt x="10" y="26"/>
                  </a:lnTo>
                  <a:lnTo>
                    <a:pt x="22" y="26"/>
                  </a:lnTo>
                  <a:lnTo>
                    <a:pt x="27" y="19"/>
                  </a:lnTo>
                  <a:lnTo>
                    <a:pt x="24" y="4"/>
                  </a:lnTo>
                  <a:lnTo>
                    <a:pt x="13"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52" name="Freeform 164">
              <a:extLst>
                <a:ext uri="{FF2B5EF4-FFF2-40B4-BE49-F238E27FC236}">
                  <a16:creationId xmlns:a16="http://schemas.microsoft.com/office/drawing/2014/main" id="{DFB7280B-649C-4E17-947E-113C33D619C4}"/>
                </a:ext>
              </a:extLst>
            </p:cNvPr>
            <p:cNvSpPr>
              <a:spLocks/>
            </p:cNvSpPr>
            <p:nvPr/>
          </p:nvSpPr>
          <p:spPr bwMode="auto">
            <a:xfrm>
              <a:off x="4072207" y="4134130"/>
              <a:ext cx="32098" cy="39243"/>
            </a:xfrm>
            <a:custGeom>
              <a:avLst/>
              <a:gdLst>
                <a:gd name="T0" fmla="*/ 13 w 25"/>
                <a:gd name="T1" fmla="*/ 26 h 29"/>
                <a:gd name="T2" fmla="*/ 24 w 25"/>
                <a:gd name="T3" fmla="*/ 25 h 29"/>
                <a:gd name="T4" fmla="*/ 23 w 25"/>
                <a:gd name="T5" fmla="*/ 7 h 29"/>
                <a:gd name="T6" fmla="*/ 19 w 25"/>
                <a:gd name="T7" fmla="*/ 0 h 29"/>
                <a:gd name="T8" fmla="*/ 14 w 25"/>
                <a:gd name="T9" fmla="*/ 7 h 29"/>
                <a:gd name="T10" fmla="*/ 2 w 25"/>
                <a:gd name="T11" fmla="*/ 7 h 29"/>
                <a:gd name="T12" fmla="*/ 0 w 25"/>
                <a:gd name="T13" fmla="*/ 23 h 29"/>
                <a:gd name="T14" fmla="*/ 6 w 25"/>
                <a:gd name="T15" fmla="*/ 28 h 29"/>
                <a:gd name="T16" fmla="*/ 13 w 25"/>
                <a:gd name="T17"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9">
                  <a:moveTo>
                    <a:pt x="13" y="26"/>
                  </a:moveTo>
                  <a:lnTo>
                    <a:pt x="24" y="25"/>
                  </a:lnTo>
                  <a:lnTo>
                    <a:pt x="23" y="7"/>
                  </a:lnTo>
                  <a:lnTo>
                    <a:pt x="19" y="0"/>
                  </a:lnTo>
                  <a:lnTo>
                    <a:pt x="14" y="7"/>
                  </a:lnTo>
                  <a:lnTo>
                    <a:pt x="2" y="7"/>
                  </a:lnTo>
                  <a:lnTo>
                    <a:pt x="0" y="23"/>
                  </a:lnTo>
                  <a:lnTo>
                    <a:pt x="6" y="28"/>
                  </a:lnTo>
                  <a:lnTo>
                    <a:pt x="13" y="26"/>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53" name="Freeform 165">
              <a:extLst>
                <a:ext uri="{FF2B5EF4-FFF2-40B4-BE49-F238E27FC236}">
                  <a16:creationId xmlns:a16="http://schemas.microsoft.com/office/drawing/2014/main" id="{484FF6AD-5299-46D6-9867-05B563DA773C}"/>
                </a:ext>
              </a:extLst>
            </p:cNvPr>
            <p:cNvSpPr>
              <a:spLocks/>
            </p:cNvSpPr>
            <p:nvPr/>
          </p:nvSpPr>
          <p:spPr bwMode="auto">
            <a:xfrm>
              <a:off x="3628775" y="2971109"/>
              <a:ext cx="63008" cy="40432"/>
            </a:xfrm>
            <a:custGeom>
              <a:avLst/>
              <a:gdLst>
                <a:gd name="T0" fmla="*/ 8 w 49"/>
                <a:gd name="T1" fmla="*/ 28 h 30"/>
                <a:gd name="T2" fmla="*/ 0 w 49"/>
                <a:gd name="T3" fmla="*/ 22 h 30"/>
                <a:gd name="T4" fmla="*/ 3 w 49"/>
                <a:gd name="T5" fmla="*/ 13 h 30"/>
                <a:gd name="T6" fmla="*/ 9 w 49"/>
                <a:gd name="T7" fmla="*/ 3 h 30"/>
                <a:gd name="T8" fmla="*/ 19 w 49"/>
                <a:gd name="T9" fmla="*/ 2 h 30"/>
                <a:gd name="T10" fmla="*/ 27 w 49"/>
                <a:gd name="T11" fmla="*/ 3 h 30"/>
                <a:gd name="T12" fmla="*/ 37 w 49"/>
                <a:gd name="T13" fmla="*/ 0 h 30"/>
                <a:gd name="T14" fmla="*/ 45 w 49"/>
                <a:gd name="T15" fmla="*/ 5 h 30"/>
                <a:gd name="T16" fmla="*/ 48 w 49"/>
                <a:gd name="T17" fmla="*/ 15 h 30"/>
                <a:gd name="T18" fmla="*/ 43 w 49"/>
                <a:gd name="T19" fmla="*/ 26 h 30"/>
                <a:gd name="T20" fmla="*/ 37 w 49"/>
                <a:gd name="T21" fmla="*/ 24 h 30"/>
                <a:gd name="T22" fmla="*/ 33 w 49"/>
                <a:gd name="T23" fmla="*/ 29 h 30"/>
                <a:gd name="T24" fmla="*/ 27 w 49"/>
                <a:gd name="T25" fmla="*/ 22 h 30"/>
                <a:gd name="T26" fmla="*/ 22 w 49"/>
                <a:gd name="T27" fmla="*/ 28 h 30"/>
                <a:gd name="T28" fmla="*/ 8 w 49"/>
                <a:gd name="T29"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30">
                  <a:moveTo>
                    <a:pt x="8" y="28"/>
                  </a:moveTo>
                  <a:lnTo>
                    <a:pt x="0" y="22"/>
                  </a:lnTo>
                  <a:lnTo>
                    <a:pt x="3" y="13"/>
                  </a:lnTo>
                  <a:lnTo>
                    <a:pt x="9" y="3"/>
                  </a:lnTo>
                  <a:lnTo>
                    <a:pt x="19" y="2"/>
                  </a:lnTo>
                  <a:lnTo>
                    <a:pt x="27" y="3"/>
                  </a:lnTo>
                  <a:lnTo>
                    <a:pt x="37" y="0"/>
                  </a:lnTo>
                  <a:lnTo>
                    <a:pt x="45" y="5"/>
                  </a:lnTo>
                  <a:lnTo>
                    <a:pt x="48" y="15"/>
                  </a:lnTo>
                  <a:lnTo>
                    <a:pt x="43" y="26"/>
                  </a:lnTo>
                  <a:lnTo>
                    <a:pt x="37" y="24"/>
                  </a:lnTo>
                  <a:lnTo>
                    <a:pt x="33" y="29"/>
                  </a:lnTo>
                  <a:lnTo>
                    <a:pt x="27" y="22"/>
                  </a:lnTo>
                  <a:lnTo>
                    <a:pt x="22" y="28"/>
                  </a:lnTo>
                  <a:lnTo>
                    <a:pt x="8" y="28"/>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54" name="Freeform 166">
              <a:extLst>
                <a:ext uri="{FF2B5EF4-FFF2-40B4-BE49-F238E27FC236}">
                  <a16:creationId xmlns:a16="http://schemas.microsoft.com/office/drawing/2014/main" id="{4ACA3030-9B94-486E-B43B-2AE6854F05C3}"/>
                </a:ext>
              </a:extLst>
            </p:cNvPr>
            <p:cNvSpPr>
              <a:spLocks/>
            </p:cNvSpPr>
            <p:nvPr/>
          </p:nvSpPr>
          <p:spPr bwMode="auto">
            <a:xfrm>
              <a:off x="3590732" y="2818894"/>
              <a:ext cx="53497" cy="73729"/>
            </a:xfrm>
            <a:custGeom>
              <a:avLst/>
              <a:gdLst>
                <a:gd name="T0" fmla="*/ 0 w 41"/>
                <a:gd name="T1" fmla="*/ 42 h 54"/>
                <a:gd name="T2" fmla="*/ 8 w 41"/>
                <a:gd name="T3" fmla="*/ 38 h 54"/>
                <a:gd name="T4" fmla="*/ 17 w 41"/>
                <a:gd name="T5" fmla="*/ 40 h 54"/>
                <a:gd name="T6" fmla="*/ 19 w 41"/>
                <a:gd name="T7" fmla="*/ 53 h 54"/>
                <a:gd name="T8" fmla="*/ 22 w 41"/>
                <a:gd name="T9" fmla="*/ 36 h 54"/>
                <a:gd name="T10" fmla="*/ 32 w 41"/>
                <a:gd name="T11" fmla="*/ 29 h 54"/>
                <a:gd name="T12" fmla="*/ 40 w 41"/>
                <a:gd name="T13" fmla="*/ 15 h 54"/>
                <a:gd name="T14" fmla="*/ 40 w 41"/>
                <a:gd name="T15" fmla="*/ 0 h 54"/>
                <a:gd name="T16" fmla="*/ 22 w 41"/>
                <a:gd name="T17" fmla="*/ 3 h 54"/>
                <a:gd name="T18" fmla="*/ 18 w 41"/>
                <a:gd name="T19" fmla="*/ 8 h 54"/>
                <a:gd name="T20" fmla="*/ 18 w 41"/>
                <a:gd name="T21" fmla="*/ 10 h 54"/>
                <a:gd name="T22" fmla="*/ 16 w 41"/>
                <a:gd name="T23" fmla="*/ 16 h 54"/>
                <a:gd name="T24" fmla="*/ 8 w 41"/>
                <a:gd name="T25" fmla="*/ 11 h 54"/>
                <a:gd name="T26" fmla="*/ 2 w 41"/>
                <a:gd name="T27" fmla="*/ 27 h 54"/>
                <a:gd name="T28" fmla="*/ 4 w 41"/>
                <a:gd name="T29" fmla="*/ 30 h 54"/>
                <a:gd name="T30" fmla="*/ 0 w 41"/>
                <a:gd name="T31"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 h="54">
                  <a:moveTo>
                    <a:pt x="0" y="42"/>
                  </a:moveTo>
                  <a:lnTo>
                    <a:pt x="8" y="38"/>
                  </a:lnTo>
                  <a:lnTo>
                    <a:pt x="17" y="40"/>
                  </a:lnTo>
                  <a:lnTo>
                    <a:pt x="19" y="53"/>
                  </a:lnTo>
                  <a:lnTo>
                    <a:pt x="22" y="36"/>
                  </a:lnTo>
                  <a:lnTo>
                    <a:pt x="32" y="29"/>
                  </a:lnTo>
                  <a:lnTo>
                    <a:pt x="40" y="15"/>
                  </a:lnTo>
                  <a:lnTo>
                    <a:pt x="40" y="0"/>
                  </a:lnTo>
                  <a:lnTo>
                    <a:pt x="22" y="3"/>
                  </a:lnTo>
                  <a:lnTo>
                    <a:pt x="18" y="8"/>
                  </a:lnTo>
                  <a:lnTo>
                    <a:pt x="18" y="10"/>
                  </a:lnTo>
                  <a:lnTo>
                    <a:pt x="16" y="16"/>
                  </a:lnTo>
                  <a:lnTo>
                    <a:pt x="8" y="11"/>
                  </a:lnTo>
                  <a:lnTo>
                    <a:pt x="2" y="27"/>
                  </a:lnTo>
                  <a:lnTo>
                    <a:pt x="4" y="30"/>
                  </a:lnTo>
                  <a:lnTo>
                    <a:pt x="0" y="4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55" name="Freeform 167">
              <a:extLst>
                <a:ext uri="{FF2B5EF4-FFF2-40B4-BE49-F238E27FC236}">
                  <a16:creationId xmlns:a16="http://schemas.microsoft.com/office/drawing/2014/main" id="{34EFA342-1232-4762-B242-01A2B7A82D1E}"/>
                </a:ext>
              </a:extLst>
            </p:cNvPr>
            <p:cNvSpPr>
              <a:spLocks/>
            </p:cNvSpPr>
            <p:nvPr/>
          </p:nvSpPr>
          <p:spPr bwMode="auto">
            <a:xfrm>
              <a:off x="3675139" y="4034238"/>
              <a:ext cx="123638" cy="145080"/>
            </a:xfrm>
            <a:custGeom>
              <a:avLst/>
              <a:gdLst>
                <a:gd name="T0" fmla="*/ 68 w 93"/>
                <a:gd name="T1" fmla="*/ 0 h 109"/>
                <a:gd name="T2" fmla="*/ 45 w 93"/>
                <a:gd name="T3" fmla="*/ 2 h 109"/>
                <a:gd name="T4" fmla="*/ 37 w 93"/>
                <a:gd name="T5" fmla="*/ 8 h 109"/>
                <a:gd name="T6" fmla="*/ 37 w 93"/>
                <a:gd name="T7" fmla="*/ 16 h 109"/>
                <a:gd name="T8" fmla="*/ 33 w 93"/>
                <a:gd name="T9" fmla="*/ 27 h 109"/>
                <a:gd name="T10" fmla="*/ 18 w 93"/>
                <a:gd name="T11" fmla="*/ 28 h 109"/>
                <a:gd name="T12" fmla="*/ 14 w 93"/>
                <a:gd name="T13" fmla="*/ 23 h 109"/>
                <a:gd name="T14" fmla="*/ 14 w 93"/>
                <a:gd name="T15" fmla="*/ 42 h 109"/>
                <a:gd name="T16" fmla="*/ 2 w 93"/>
                <a:gd name="T17" fmla="*/ 48 h 109"/>
                <a:gd name="T18" fmla="*/ 0 w 93"/>
                <a:gd name="T19" fmla="*/ 52 h 109"/>
                <a:gd name="T20" fmla="*/ 7 w 93"/>
                <a:gd name="T21" fmla="*/ 56 h 109"/>
                <a:gd name="T22" fmla="*/ 6 w 93"/>
                <a:gd name="T23" fmla="*/ 69 h 109"/>
                <a:gd name="T24" fmla="*/ 24 w 93"/>
                <a:gd name="T25" fmla="*/ 85 h 109"/>
                <a:gd name="T26" fmla="*/ 38 w 93"/>
                <a:gd name="T27" fmla="*/ 102 h 109"/>
                <a:gd name="T28" fmla="*/ 43 w 93"/>
                <a:gd name="T29" fmla="*/ 108 h 109"/>
                <a:gd name="T30" fmla="*/ 49 w 93"/>
                <a:gd name="T31" fmla="*/ 100 h 109"/>
                <a:gd name="T32" fmla="*/ 54 w 93"/>
                <a:gd name="T33" fmla="*/ 89 h 109"/>
                <a:gd name="T34" fmla="*/ 47 w 93"/>
                <a:gd name="T35" fmla="*/ 84 h 109"/>
                <a:gd name="T36" fmla="*/ 45 w 93"/>
                <a:gd name="T37" fmla="*/ 76 h 109"/>
                <a:gd name="T38" fmla="*/ 55 w 93"/>
                <a:gd name="T39" fmla="*/ 71 h 109"/>
                <a:gd name="T40" fmla="*/ 63 w 93"/>
                <a:gd name="T41" fmla="*/ 69 h 109"/>
                <a:gd name="T42" fmla="*/ 71 w 93"/>
                <a:gd name="T43" fmla="*/ 79 h 109"/>
                <a:gd name="T44" fmla="*/ 83 w 93"/>
                <a:gd name="T45" fmla="*/ 74 h 109"/>
                <a:gd name="T46" fmla="*/ 92 w 93"/>
                <a:gd name="T47" fmla="*/ 61 h 109"/>
                <a:gd name="T48" fmla="*/ 89 w 93"/>
                <a:gd name="T49" fmla="*/ 47 h 109"/>
                <a:gd name="T50" fmla="*/ 83 w 93"/>
                <a:gd name="T51" fmla="*/ 41 h 109"/>
                <a:gd name="T52" fmla="*/ 78 w 93"/>
                <a:gd name="T53" fmla="*/ 30 h 109"/>
                <a:gd name="T54" fmla="*/ 82 w 93"/>
                <a:gd name="T55" fmla="*/ 23 h 109"/>
                <a:gd name="T56" fmla="*/ 78 w 93"/>
                <a:gd name="T57" fmla="*/ 14 h 109"/>
                <a:gd name="T58" fmla="*/ 68 w 93"/>
                <a:gd name="T59" fmla="*/ 13 h 109"/>
                <a:gd name="T60" fmla="*/ 68 w 93"/>
                <a:gd name="T61"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109">
                  <a:moveTo>
                    <a:pt x="68" y="0"/>
                  </a:moveTo>
                  <a:lnTo>
                    <a:pt x="45" y="2"/>
                  </a:lnTo>
                  <a:lnTo>
                    <a:pt x="37" y="8"/>
                  </a:lnTo>
                  <a:lnTo>
                    <a:pt x="37" y="16"/>
                  </a:lnTo>
                  <a:lnTo>
                    <a:pt x="33" y="27"/>
                  </a:lnTo>
                  <a:lnTo>
                    <a:pt x="18" y="28"/>
                  </a:lnTo>
                  <a:lnTo>
                    <a:pt x="14" y="23"/>
                  </a:lnTo>
                  <a:lnTo>
                    <a:pt x="14" y="42"/>
                  </a:lnTo>
                  <a:lnTo>
                    <a:pt x="2" y="48"/>
                  </a:lnTo>
                  <a:lnTo>
                    <a:pt x="0" y="52"/>
                  </a:lnTo>
                  <a:lnTo>
                    <a:pt x="7" y="56"/>
                  </a:lnTo>
                  <a:lnTo>
                    <a:pt x="6" y="69"/>
                  </a:lnTo>
                  <a:lnTo>
                    <a:pt x="24" y="85"/>
                  </a:lnTo>
                  <a:lnTo>
                    <a:pt x="38" y="102"/>
                  </a:lnTo>
                  <a:lnTo>
                    <a:pt x="43" y="108"/>
                  </a:lnTo>
                  <a:lnTo>
                    <a:pt x="49" y="100"/>
                  </a:lnTo>
                  <a:lnTo>
                    <a:pt x="54" y="89"/>
                  </a:lnTo>
                  <a:lnTo>
                    <a:pt x="47" y="84"/>
                  </a:lnTo>
                  <a:lnTo>
                    <a:pt x="45" y="76"/>
                  </a:lnTo>
                  <a:lnTo>
                    <a:pt x="55" y="71"/>
                  </a:lnTo>
                  <a:lnTo>
                    <a:pt x="63" y="69"/>
                  </a:lnTo>
                  <a:lnTo>
                    <a:pt x="71" y="79"/>
                  </a:lnTo>
                  <a:lnTo>
                    <a:pt x="83" y="74"/>
                  </a:lnTo>
                  <a:lnTo>
                    <a:pt x="92" y="61"/>
                  </a:lnTo>
                  <a:lnTo>
                    <a:pt x="89" y="47"/>
                  </a:lnTo>
                  <a:lnTo>
                    <a:pt x="83" y="41"/>
                  </a:lnTo>
                  <a:lnTo>
                    <a:pt x="78" y="30"/>
                  </a:lnTo>
                  <a:lnTo>
                    <a:pt x="82" y="23"/>
                  </a:lnTo>
                  <a:lnTo>
                    <a:pt x="78" y="14"/>
                  </a:lnTo>
                  <a:lnTo>
                    <a:pt x="68" y="13"/>
                  </a:lnTo>
                  <a:lnTo>
                    <a:pt x="68"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56" name="Freeform 168">
              <a:extLst>
                <a:ext uri="{FF2B5EF4-FFF2-40B4-BE49-F238E27FC236}">
                  <a16:creationId xmlns:a16="http://schemas.microsoft.com/office/drawing/2014/main" id="{EA5F2687-B0B6-4D71-BBAA-B790BC565FAC}"/>
                </a:ext>
              </a:extLst>
            </p:cNvPr>
            <p:cNvSpPr>
              <a:spLocks/>
            </p:cNvSpPr>
            <p:nvPr/>
          </p:nvSpPr>
          <p:spPr bwMode="auto">
            <a:xfrm>
              <a:off x="3205552" y="3450350"/>
              <a:ext cx="153359" cy="170053"/>
            </a:xfrm>
            <a:custGeom>
              <a:avLst/>
              <a:gdLst>
                <a:gd name="T0" fmla="*/ 112 w 115"/>
                <a:gd name="T1" fmla="*/ 7 h 127"/>
                <a:gd name="T2" fmla="*/ 114 w 115"/>
                <a:gd name="T3" fmla="*/ 0 h 127"/>
                <a:gd name="T4" fmla="*/ 104 w 115"/>
                <a:gd name="T5" fmla="*/ 0 h 127"/>
                <a:gd name="T6" fmla="*/ 67 w 115"/>
                <a:gd name="T7" fmla="*/ 0 h 127"/>
                <a:gd name="T8" fmla="*/ 61 w 115"/>
                <a:gd name="T9" fmla="*/ 9 h 127"/>
                <a:gd name="T10" fmla="*/ 44 w 115"/>
                <a:gd name="T11" fmla="*/ 6 h 127"/>
                <a:gd name="T12" fmla="*/ 41 w 115"/>
                <a:gd name="T13" fmla="*/ 25 h 127"/>
                <a:gd name="T14" fmla="*/ 35 w 115"/>
                <a:gd name="T15" fmla="*/ 35 h 127"/>
                <a:gd name="T16" fmla="*/ 23 w 115"/>
                <a:gd name="T17" fmla="*/ 40 h 127"/>
                <a:gd name="T18" fmla="*/ 16 w 115"/>
                <a:gd name="T19" fmla="*/ 46 h 127"/>
                <a:gd name="T20" fmla="*/ 18 w 115"/>
                <a:gd name="T21" fmla="*/ 68 h 127"/>
                <a:gd name="T22" fmla="*/ 8 w 115"/>
                <a:gd name="T23" fmla="*/ 70 h 127"/>
                <a:gd name="T24" fmla="*/ 12 w 115"/>
                <a:gd name="T25" fmla="*/ 81 h 127"/>
                <a:gd name="T26" fmla="*/ 5 w 115"/>
                <a:gd name="T27" fmla="*/ 86 h 127"/>
                <a:gd name="T28" fmla="*/ 0 w 115"/>
                <a:gd name="T29" fmla="*/ 100 h 127"/>
                <a:gd name="T30" fmla="*/ 1 w 115"/>
                <a:gd name="T31" fmla="*/ 121 h 127"/>
                <a:gd name="T32" fmla="*/ 7 w 115"/>
                <a:gd name="T33" fmla="*/ 123 h 127"/>
                <a:gd name="T34" fmla="*/ 27 w 115"/>
                <a:gd name="T35" fmla="*/ 126 h 127"/>
                <a:gd name="T36" fmla="*/ 41 w 115"/>
                <a:gd name="T37" fmla="*/ 126 h 127"/>
                <a:gd name="T38" fmla="*/ 41 w 115"/>
                <a:gd name="T39" fmla="*/ 105 h 127"/>
                <a:gd name="T40" fmla="*/ 45 w 115"/>
                <a:gd name="T41" fmla="*/ 92 h 127"/>
                <a:gd name="T42" fmla="*/ 53 w 115"/>
                <a:gd name="T43" fmla="*/ 84 h 127"/>
                <a:gd name="T44" fmla="*/ 67 w 115"/>
                <a:gd name="T45" fmla="*/ 88 h 127"/>
                <a:gd name="T46" fmla="*/ 67 w 115"/>
                <a:gd name="T47" fmla="*/ 39 h 127"/>
                <a:gd name="T48" fmla="*/ 100 w 115"/>
                <a:gd name="T49" fmla="*/ 36 h 127"/>
                <a:gd name="T50" fmla="*/ 107 w 115"/>
                <a:gd name="T51" fmla="*/ 27 h 127"/>
                <a:gd name="T52" fmla="*/ 112 w 115"/>
                <a:gd name="T53" fmla="*/ 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5" h="127">
                  <a:moveTo>
                    <a:pt x="112" y="7"/>
                  </a:moveTo>
                  <a:lnTo>
                    <a:pt x="114" y="0"/>
                  </a:lnTo>
                  <a:lnTo>
                    <a:pt x="104" y="0"/>
                  </a:lnTo>
                  <a:lnTo>
                    <a:pt x="67" y="0"/>
                  </a:lnTo>
                  <a:lnTo>
                    <a:pt x="61" y="9"/>
                  </a:lnTo>
                  <a:lnTo>
                    <a:pt x="44" y="6"/>
                  </a:lnTo>
                  <a:lnTo>
                    <a:pt x="41" y="25"/>
                  </a:lnTo>
                  <a:lnTo>
                    <a:pt x="35" y="35"/>
                  </a:lnTo>
                  <a:lnTo>
                    <a:pt x="23" y="40"/>
                  </a:lnTo>
                  <a:lnTo>
                    <a:pt x="16" y="46"/>
                  </a:lnTo>
                  <a:lnTo>
                    <a:pt x="18" y="68"/>
                  </a:lnTo>
                  <a:lnTo>
                    <a:pt x="8" y="70"/>
                  </a:lnTo>
                  <a:lnTo>
                    <a:pt x="12" y="81"/>
                  </a:lnTo>
                  <a:lnTo>
                    <a:pt x="5" y="86"/>
                  </a:lnTo>
                  <a:lnTo>
                    <a:pt x="0" y="100"/>
                  </a:lnTo>
                  <a:lnTo>
                    <a:pt x="1" y="121"/>
                  </a:lnTo>
                  <a:lnTo>
                    <a:pt x="7" y="123"/>
                  </a:lnTo>
                  <a:lnTo>
                    <a:pt x="27" y="126"/>
                  </a:lnTo>
                  <a:lnTo>
                    <a:pt x="41" y="126"/>
                  </a:lnTo>
                  <a:lnTo>
                    <a:pt x="41" y="105"/>
                  </a:lnTo>
                  <a:lnTo>
                    <a:pt x="45" y="92"/>
                  </a:lnTo>
                  <a:lnTo>
                    <a:pt x="53" y="84"/>
                  </a:lnTo>
                  <a:lnTo>
                    <a:pt x="67" y="88"/>
                  </a:lnTo>
                  <a:lnTo>
                    <a:pt x="67" y="39"/>
                  </a:lnTo>
                  <a:lnTo>
                    <a:pt x="100" y="36"/>
                  </a:lnTo>
                  <a:lnTo>
                    <a:pt x="107" y="27"/>
                  </a:lnTo>
                  <a:lnTo>
                    <a:pt x="112" y="7"/>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57" name="Freeform 169">
              <a:extLst>
                <a:ext uri="{FF2B5EF4-FFF2-40B4-BE49-F238E27FC236}">
                  <a16:creationId xmlns:a16="http://schemas.microsoft.com/office/drawing/2014/main" id="{B29CAEB6-9622-458B-BDA9-257C2905F943}"/>
                </a:ext>
              </a:extLst>
            </p:cNvPr>
            <p:cNvSpPr>
              <a:spLocks/>
            </p:cNvSpPr>
            <p:nvPr/>
          </p:nvSpPr>
          <p:spPr bwMode="auto">
            <a:xfrm>
              <a:off x="3174643" y="3716727"/>
              <a:ext cx="131960" cy="111783"/>
            </a:xfrm>
            <a:custGeom>
              <a:avLst/>
              <a:gdLst>
                <a:gd name="T0" fmla="*/ 17 w 99"/>
                <a:gd name="T1" fmla="*/ 66 h 84"/>
                <a:gd name="T2" fmla="*/ 18 w 99"/>
                <a:gd name="T3" fmla="*/ 77 h 84"/>
                <a:gd name="T4" fmla="*/ 31 w 99"/>
                <a:gd name="T5" fmla="*/ 77 h 84"/>
                <a:gd name="T6" fmla="*/ 36 w 99"/>
                <a:gd name="T7" fmla="*/ 83 h 84"/>
                <a:gd name="T8" fmla="*/ 43 w 99"/>
                <a:gd name="T9" fmla="*/ 74 h 84"/>
                <a:gd name="T10" fmla="*/ 61 w 99"/>
                <a:gd name="T11" fmla="*/ 68 h 84"/>
                <a:gd name="T12" fmla="*/ 81 w 99"/>
                <a:gd name="T13" fmla="*/ 71 h 84"/>
                <a:gd name="T14" fmla="*/ 98 w 99"/>
                <a:gd name="T15" fmla="*/ 71 h 84"/>
                <a:gd name="T16" fmla="*/ 90 w 99"/>
                <a:gd name="T17" fmla="*/ 54 h 84"/>
                <a:gd name="T18" fmla="*/ 82 w 99"/>
                <a:gd name="T19" fmla="*/ 48 h 84"/>
                <a:gd name="T20" fmla="*/ 79 w 99"/>
                <a:gd name="T21" fmla="*/ 36 h 84"/>
                <a:gd name="T22" fmla="*/ 68 w 99"/>
                <a:gd name="T23" fmla="*/ 28 h 84"/>
                <a:gd name="T24" fmla="*/ 57 w 99"/>
                <a:gd name="T25" fmla="*/ 13 h 84"/>
                <a:gd name="T26" fmla="*/ 47 w 99"/>
                <a:gd name="T27" fmla="*/ 8 h 84"/>
                <a:gd name="T28" fmla="*/ 41 w 99"/>
                <a:gd name="T29" fmla="*/ 0 h 84"/>
                <a:gd name="T30" fmla="*/ 28 w 99"/>
                <a:gd name="T31" fmla="*/ 3 h 84"/>
                <a:gd name="T32" fmla="*/ 10 w 99"/>
                <a:gd name="T33" fmla="*/ 24 h 84"/>
                <a:gd name="T34" fmla="*/ 0 w 99"/>
                <a:gd name="T35" fmla="*/ 28 h 84"/>
                <a:gd name="T36" fmla="*/ 11 w 99"/>
                <a:gd name="T37" fmla="*/ 32 h 84"/>
                <a:gd name="T38" fmla="*/ 21 w 99"/>
                <a:gd name="T39" fmla="*/ 44 h 84"/>
                <a:gd name="T40" fmla="*/ 28 w 99"/>
                <a:gd name="T41" fmla="*/ 50 h 84"/>
                <a:gd name="T42" fmla="*/ 19 w 99"/>
                <a:gd name="T43" fmla="*/ 56 h 84"/>
                <a:gd name="T44" fmla="*/ 17 w 99"/>
                <a:gd name="T45" fmla="*/ 6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 h="84">
                  <a:moveTo>
                    <a:pt x="17" y="66"/>
                  </a:moveTo>
                  <a:lnTo>
                    <a:pt x="18" y="77"/>
                  </a:lnTo>
                  <a:lnTo>
                    <a:pt x="31" y="77"/>
                  </a:lnTo>
                  <a:lnTo>
                    <a:pt x="36" y="83"/>
                  </a:lnTo>
                  <a:lnTo>
                    <a:pt x="43" y="74"/>
                  </a:lnTo>
                  <a:lnTo>
                    <a:pt x="61" y="68"/>
                  </a:lnTo>
                  <a:lnTo>
                    <a:pt x="81" y="71"/>
                  </a:lnTo>
                  <a:lnTo>
                    <a:pt x="98" y="71"/>
                  </a:lnTo>
                  <a:lnTo>
                    <a:pt x="90" y="54"/>
                  </a:lnTo>
                  <a:lnTo>
                    <a:pt x="82" y="48"/>
                  </a:lnTo>
                  <a:lnTo>
                    <a:pt x="79" y="36"/>
                  </a:lnTo>
                  <a:lnTo>
                    <a:pt x="68" y="28"/>
                  </a:lnTo>
                  <a:lnTo>
                    <a:pt x="57" y="13"/>
                  </a:lnTo>
                  <a:lnTo>
                    <a:pt x="47" y="8"/>
                  </a:lnTo>
                  <a:lnTo>
                    <a:pt x="41" y="0"/>
                  </a:lnTo>
                  <a:lnTo>
                    <a:pt x="28" y="3"/>
                  </a:lnTo>
                  <a:lnTo>
                    <a:pt x="10" y="24"/>
                  </a:lnTo>
                  <a:lnTo>
                    <a:pt x="0" y="28"/>
                  </a:lnTo>
                  <a:lnTo>
                    <a:pt x="11" y="32"/>
                  </a:lnTo>
                  <a:lnTo>
                    <a:pt x="21" y="44"/>
                  </a:lnTo>
                  <a:lnTo>
                    <a:pt x="28" y="50"/>
                  </a:lnTo>
                  <a:lnTo>
                    <a:pt x="19" y="56"/>
                  </a:lnTo>
                  <a:lnTo>
                    <a:pt x="17" y="66"/>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58" name="Freeform 170">
              <a:extLst>
                <a:ext uri="{FF2B5EF4-FFF2-40B4-BE49-F238E27FC236}">
                  <a16:creationId xmlns:a16="http://schemas.microsoft.com/office/drawing/2014/main" id="{C22D6D68-98CE-4925-85FC-53C44F2A52B0}"/>
                </a:ext>
              </a:extLst>
            </p:cNvPr>
            <p:cNvSpPr>
              <a:spLocks/>
            </p:cNvSpPr>
            <p:nvPr/>
          </p:nvSpPr>
          <p:spPr bwMode="auto">
            <a:xfrm>
              <a:off x="3654929" y="3235108"/>
              <a:ext cx="72518" cy="142702"/>
            </a:xfrm>
            <a:custGeom>
              <a:avLst/>
              <a:gdLst>
                <a:gd name="T0" fmla="*/ 29 w 55"/>
                <a:gd name="T1" fmla="*/ 106 h 107"/>
                <a:gd name="T2" fmla="*/ 22 w 55"/>
                <a:gd name="T3" fmla="*/ 105 h 107"/>
                <a:gd name="T4" fmla="*/ 18 w 55"/>
                <a:gd name="T5" fmla="*/ 89 h 107"/>
                <a:gd name="T6" fmla="*/ 5 w 55"/>
                <a:gd name="T7" fmla="*/ 85 h 107"/>
                <a:gd name="T8" fmla="*/ 0 w 55"/>
                <a:gd name="T9" fmla="*/ 68 h 107"/>
                <a:gd name="T10" fmla="*/ 3 w 55"/>
                <a:gd name="T11" fmla="*/ 53 h 107"/>
                <a:gd name="T12" fmla="*/ 17 w 55"/>
                <a:gd name="T13" fmla="*/ 48 h 107"/>
                <a:gd name="T14" fmla="*/ 9 w 55"/>
                <a:gd name="T15" fmla="*/ 37 h 107"/>
                <a:gd name="T16" fmla="*/ 11 w 55"/>
                <a:gd name="T17" fmla="*/ 25 h 107"/>
                <a:gd name="T18" fmla="*/ 18 w 55"/>
                <a:gd name="T19" fmla="*/ 25 h 107"/>
                <a:gd name="T20" fmla="*/ 15 w 55"/>
                <a:gd name="T21" fmla="*/ 7 h 107"/>
                <a:gd name="T22" fmla="*/ 25 w 55"/>
                <a:gd name="T23" fmla="*/ 1 h 107"/>
                <a:gd name="T24" fmla="*/ 32 w 55"/>
                <a:gd name="T25" fmla="*/ 0 h 107"/>
                <a:gd name="T26" fmla="*/ 39 w 55"/>
                <a:gd name="T27" fmla="*/ 5 h 107"/>
                <a:gd name="T28" fmla="*/ 51 w 55"/>
                <a:gd name="T29" fmla="*/ 9 h 107"/>
                <a:gd name="T30" fmla="*/ 47 w 55"/>
                <a:gd name="T31" fmla="*/ 21 h 107"/>
                <a:gd name="T32" fmla="*/ 52 w 55"/>
                <a:gd name="T33" fmla="*/ 30 h 107"/>
                <a:gd name="T34" fmla="*/ 51 w 55"/>
                <a:gd name="T35" fmla="*/ 47 h 107"/>
                <a:gd name="T36" fmla="*/ 40 w 55"/>
                <a:gd name="T37" fmla="*/ 50 h 107"/>
                <a:gd name="T38" fmla="*/ 40 w 55"/>
                <a:gd name="T39" fmla="*/ 64 h 107"/>
                <a:gd name="T40" fmla="*/ 47 w 55"/>
                <a:gd name="T41" fmla="*/ 67 h 107"/>
                <a:gd name="T42" fmla="*/ 54 w 55"/>
                <a:gd name="T43" fmla="*/ 75 h 107"/>
                <a:gd name="T44" fmla="*/ 51 w 55"/>
                <a:gd name="T45" fmla="*/ 97 h 107"/>
                <a:gd name="T46" fmla="*/ 43 w 55"/>
                <a:gd name="T47" fmla="*/ 99 h 107"/>
                <a:gd name="T48" fmla="*/ 29 w 55"/>
                <a:gd name="T49" fmla="*/ 10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107">
                  <a:moveTo>
                    <a:pt x="29" y="106"/>
                  </a:moveTo>
                  <a:lnTo>
                    <a:pt x="22" y="105"/>
                  </a:lnTo>
                  <a:lnTo>
                    <a:pt x="18" y="89"/>
                  </a:lnTo>
                  <a:lnTo>
                    <a:pt x="5" y="85"/>
                  </a:lnTo>
                  <a:lnTo>
                    <a:pt x="0" y="68"/>
                  </a:lnTo>
                  <a:lnTo>
                    <a:pt x="3" y="53"/>
                  </a:lnTo>
                  <a:lnTo>
                    <a:pt x="17" y="48"/>
                  </a:lnTo>
                  <a:lnTo>
                    <a:pt x="9" y="37"/>
                  </a:lnTo>
                  <a:lnTo>
                    <a:pt x="11" y="25"/>
                  </a:lnTo>
                  <a:lnTo>
                    <a:pt x="18" y="25"/>
                  </a:lnTo>
                  <a:lnTo>
                    <a:pt x="15" y="7"/>
                  </a:lnTo>
                  <a:lnTo>
                    <a:pt x="25" y="1"/>
                  </a:lnTo>
                  <a:lnTo>
                    <a:pt x="32" y="0"/>
                  </a:lnTo>
                  <a:lnTo>
                    <a:pt x="39" y="5"/>
                  </a:lnTo>
                  <a:lnTo>
                    <a:pt x="51" y="9"/>
                  </a:lnTo>
                  <a:lnTo>
                    <a:pt x="47" y="21"/>
                  </a:lnTo>
                  <a:lnTo>
                    <a:pt x="52" y="30"/>
                  </a:lnTo>
                  <a:lnTo>
                    <a:pt x="51" y="47"/>
                  </a:lnTo>
                  <a:lnTo>
                    <a:pt x="40" y="50"/>
                  </a:lnTo>
                  <a:lnTo>
                    <a:pt x="40" y="64"/>
                  </a:lnTo>
                  <a:lnTo>
                    <a:pt x="47" y="67"/>
                  </a:lnTo>
                  <a:lnTo>
                    <a:pt x="54" y="75"/>
                  </a:lnTo>
                  <a:lnTo>
                    <a:pt x="51" y="97"/>
                  </a:lnTo>
                  <a:lnTo>
                    <a:pt x="43" y="99"/>
                  </a:lnTo>
                  <a:lnTo>
                    <a:pt x="29" y="106"/>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59" name="Freeform 171">
              <a:extLst>
                <a:ext uri="{FF2B5EF4-FFF2-40B4-BE49-F238E27FC236}">
                  <a16:creationId xmlns:a16="http://schemas.microsoft.com/office/drawing/2014/main" id="{9E981A74-2194-4111-8DE5-C7D8169437D4}"/>
                </a:ext>
              </a:extLst>
            </p:cNvPr>
            <p:cNvSpPr>
              <a:spLocks/>
            </p:cNvSpPr>
            <p:nvPr/>
          </p:nvSpPr>
          <p:spPr bwMode="auto">
            <a:xfrm>
              <a:off x="5019702" y="3406350"/>
              <a:ext cx="164058" cy="86810"/>
            </a:xfrm>
            <a:custGeom>
              <a:avLst/>
              <a:gdLst>
                <a:gd name="T0" fmla="*/ 0 w 122"/>
                <a:gd name="T1" fmla="*/ 0 h 65"/>
                <a:gd name="T2" fmla="*/ 16 w 122"/>
                <a:gd name="T3" fmla="*/ 0 h 65"/>
                <a:gd name="T4" fmla="*/ 29 w 122"/>
                <a:gd name="T5" fmla="*/ 12 h 65"/>
                <a:gd name="T6" fmla="*/ 43 w 122"/>
                <a:gd name="T7" fmla="*/ 20 h 65"/>
                <a:gd name="T8" fmla="*/ 49 w 122"/>
                <a:gd name="T9" fmla="*/ 10 h 65"/>
                <a:gd name="T10" fmla="*/ 50 w 122"/>
                <a:gd name="T11" fmla="*/ 26 h 65"/>
                <a:gd name="T12" fmla="*/ 61 w 122"/>
                <a:gd name="T13" fmla="*/ 33 h 65"/>
                <a:gd name="T14" fmla="*/ 76 w 122"/>
                <a:gd name="T15" fmla="*/ 41 h 65"/>
                <a:gd name="T16" fmla="*/ 107 w 122"/>
                <a:gd name="T17" fmla="*/ 42 h 65"/>
                <a:gd name="T18" fmla="*/ 121 w 122"/>
                <a:gd name="T19" fmla="*/ 48 h 65"/>
                <a:gd name="T20" fmla="*/ 113 w 122"/>
                <a:gd name="T21" fmla="*/ 63 h 65"/>
                <a:gd name="T22" fmla="*/ 100 w 122"/>
                <a:gd name="T23" fmla="*/ 63 h 65"/>
                <a:gd name="T24" fmla="*/ 84 w 122"/>
                <a:gd name="T25" fmla="*/ 64 h 65"/>
                <a:gd name="T26" fmla="*/ 72 w 122"/>
                <a:gd name="T27" fmla="*/ 56 h 65"/>
                <a:gd name="T28" fmla="*/ 54 w 122"/>
                <a:gd name="T29" fmla="*/ 53 h 65"/>
                <a:gd name="T30" fmla="*/ 32 w 122"/>
                <a:gd name="T31" fmla="*/ 44 h 65"/>
                <a:gd name="T32" fmla="*/ 14 w 122"/>
                <a:gd name="T33" fmla="*/ 39 h 65"/>
                <a:gd name="T34" fmla="*/ 3 w 122"/>
                <a:gd name="T35" fmla="*/ 25 h 65"/>
                <a:gd name="T36" fmla="*/ 0 w 122"/>
                <a:gd name="T3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65">
                  <a:moveTo>
                    <a:pt x="0" y="0"/>
                  </a:moveTo>
                  <a:lnTo>
                    <a:pt x="16" y="0"/>
                  </a:lnTo>
                  <a:lnTo>
                    <a:pt x="29" y="12"/>
                  </a:lnTo>
                  <a:lnTo>
                    <a:pt x="43" y="20"/>
                  </a:lnTo>
                  <a:lnTo>
                    <a:pt x="49" y="10"/>
                  </a:lnTo>
                  <a:lnTo>
                    <a:pt x="50" y="26"/>
                  </a:lnTo>
                  <a:lnTo>
                    <a:pt x="61" y="33"/>
                  </a:lnTo>
                  <a:lnTo>
                    <a:pt x="76" y="41"/>
                  </a:lnTo>
                  <a:lnTo>
                    <a:pt x="107" y="42"/>
                  </a:lnTo>
                  <a:lnTo>
                    <a:pt x="121" y="48"/>
                  </a:lnTo>
                  <a:lnTo>
                    <a:pt x="113" y="63"/>
                  </a:lnTo>
                  <a:lnTo>
                    <a:pt x="100" y="63"/>
                  </a:lnTo>
                  <a:lnTo>
                    <a:pt x="84" y="64"/>
                  </a:lnTo>
                  <a:lnTo>
                    <a:pt x="72" y="56"/>
                  </a:lnTo>
                  <a:lnTo>
                    <a:pt x="54" y="53"/>
                  </a:lnTo>
                  <a:lnTo>
                    <a:pt x="32" y="44"/>
                  </a:lnTo>
                  <a:lnTo>
                    <a:pt x="14" y="39"/>
                  </a:lnTo>
                  <a:lnTo>
                    <a:pt x="3" y="25"/>
                  </a:lnTo>
                  <a:lnTo>
                    <a:pt x="0"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0" name="Freeform 172">
              <a:extLst>
                <a:ext uri="{FF2B5EF4-FFF2-40B4-BE49-F238E27FC236}">
                  <a16:creationId xmlns:a16="http://schemas.microsoft.com/office/drawing/2014/main" id="{0371BB93-EAAE-428F-91BD-E04E14EA8424}"/>
                </a:ext>
              </a:extLst>
            </p:cNvPr>
            <p:cNvSpPr>
              <a:spLocks/>
            </p:cNvSpPr>
            <p:nvPr/>
          </p:nvSpPr>
          <p:spPr bwMode="auto">
            <a:xfrm>
              <a:off x="5373972" y="3610889"/>
              <a:ext cx="153359" cy="263998"/>
            </a:xfrm>
            <a:custGeom>
              <a:avLst/>
              <a:gdLst>
                <a:gd name="T0" fmla="*/ 14 w 115"/>
                <a:gd name="T1" fmla="*/ 178 h 199"/>
                <a:gd name="T2" fmla="*/ 21 w 115"/>
                <a:gd name="T3" fmla="*/ 167 h 199"/>
                <a:gd name="T4" fmla="*/ 30 w 115"/>
                <a:gd name="T5" fmla="*/ 146 h 199"/>
                <a:gd name="T6" fmla="*/ 18 w 115"/>
                <a:gd name="T7" fmla="*/ 135 h 199"/>
                <a:gd name="T8" fmla="*/ 13 w 115"/>
                <a:gd name="T9" fmla="*/ 116 h 199"/>
                <a:gd name="T10" fmla="*/ 11 w 115"/>
                <a:gd name="T11" fmla="*/ 105 h 199"/>
                <a:gd name="T12" fmla="*/ 15 w 115"/>
                <a:gd name="T13" fmla="*/ 79 h 199"/>
                <a:gd name="T14" fmla="*/ 3 w 115"/>
                <a:gd name="T15" fmla="*/ 65 h 199"/>
                <a:gd name="T16" fmla="*/ 0 w 115"/>
                <a:gd name="T17" fmla="*/ 54 h 199"/>
                <a:gd name="T18" fmla="*/ 2 w 115"/>
                <a:gd name="T19" fmla="*/ 27 h 199"/>
                <a:gd name="T20" fmla="*/ 16 w 115"/>
                <a:gd name="T21" fmla="*/ 21 h 199"/>
                <a:gd name="T22" fmla="*/ 25 w 115"/>
                <a:gd name="T23" fmla="*/ 14 h 199"/>
                <a:gd name="T24" fmla="*/ 32 w 115"/>
                <a:gd name="T25" fmla="*/ 0 h 199"/>
                <a:gd name="T26" fmla="*/ 34 w 115"/>
                <a:gd name="T27" fmla="*/ 13 h 199"/>
                <a:gd name="T28" fmla="*/ 38 w 115"/>
                <a:gd name="T29" fmla="*/ 27 h 199"/>
                <a:gd name="T30" fmla="*/ 45 w 115"/>
                <a:gd name="T31" fmla="*/ 34 h 199"/>
                <a:gd name="T32" fmla="*/ 56 w 115"/>
                <a:gd name="T33" fmla="*/ 38 h 199"/>
                <a:gd name="T34" fmla="*/ 70 w 115"/>
                <a:gd name="T35" fmla="*/ 58 h 199"/>
                <a:gd name="T36" fmla="*/ 82 w 115"/>
                <a:gd name="T37" fmla="*/ 48 h 199"/>
                <a:gd name="T38" fmla="*/ 93 w 115"/>
                <a:gd name="T39" fmla="*/ 60 h 199"/>
                <a:gd name="T40" fmla="*/ 101 w 115"/>
                <a:gd name="T41" fmla="*/ 80 h 199"/>
                <a:gd name="T42" fmla="*/ 106 w 115"/>
                <a:gd name="T43" fmla="*/ 91 h 199"/>
                <a:gd name="T44" fmla="*/ 114 w 115"/>
                <a:gd name="T45" fmla="*/ 93 h 199"/>
                <a:gd name="T46" fmla="*/ 114 w 115"/>
                <a:gd name="T47" fmla="*/ 116 h 199"/>
                <a:gd name="T48" fmla="*/ 99 w 115"/>
                <a:gd name="T49" fmla="*/ 119 h 199"/>
                <a:gd name="T50" fmla="*/ 85 w 115"/>
                <a:gd name="T51" fmla="*/ 110 h 199"/>
                <a:gd name="T52" fmla="*/ 70 w 115"/>
                <a:gd name="T53" fmla="*/ 124 h 199"/>
                <a:gd name="T54" fmla="*/ 64 w 115"/>
                <a:gd name="T55" fmla="*/ 141 h 199"/>
                <a:gd name="T56" fmla="*/ 50 w 115"/>
                <a:gd name="T57" fmla="*/ 139 h 199"/>
                <a:gd name="T58" fmla="*/ 40 w 115"/>
                <a:gd name="T59" fmla="*/ 170 h 199"/>
                <a:gd name="T60" fmla="*/ 49 w 115"/>
                <a:gd name="T61" fmla="*/ 185 h 199"/>
                <a:gd name="T62" fmla="*/ 36 w 115"/>
                <a:gd name="T63" fmla="*/ 198 h 199"/>
                <a:gd name="T64" fmla="*/ 25 w 115"/>
                <a:gd name="T65" fmla="*/ 190 h 199"/>
                <a:gd name="T66" fmla="*/ 14 w 115"/>
                <a:gd name="T67" fmla="*/ 178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5" h="199">
                  <a:moveTo>
                    <a:pt x="14" y="178"/>
                  </a:moveTo>
                  <a:lnTo>
                    <a:pt x="21" y="167"/>
                  </a:lnTo>
                  <a:lnTo>
                    <a:pt x="30" y="146"/>
                  </a:lnTo>
                  <a:lnTo>
                    <a:pt x="18" y="135"/>
                  </a:lnTo>
                  <a:lnTo>
                    <a:pt x="13" y="116"/>
                  </a:lnTo>
                  <a:lnTo>
                    <a:pt x="11" y="105"/>
                  </a:lnTo>
                  <a:lnTo>
                    <a:pt x="15" y="79"/>
                  </a:lnTo>
                  <a:lnTo>
                    <a:pt x="3" y="65"/>
                  </a:lnTo>
                  <a:lnTo>
                    <a:pt x="0" y="54"/>
                  </a:lnTo>
                  <a:lnTo>
                    <a:pt x="2" y="27"/>
                  </a:lnTo>
                  <a:lnTo>
                    <a:pt x="16" y="21"/>
                  </a:lnTo>
                  <a:lnTo>
                    <a:pt x="25" y="14"/>
                  </a:lnTo>
                  <a:lnTo>
                    <a:pt x="32" y="0"/>
                  </a:lnTo>
                  <a:lnTo>
                    <a:pt x="34" y="13"/>
                  </a:lnTo>
                  <a:lnTo>
                    <a:pt x="38" y="27"/>
                  </a:lnTo>
                  <a:lnTo>
                    <a:pt x="45" y="34"/>
                  </a:lnTo>
                  <a:lnTo>
                    <a:pt x="56" y="38"/>
                  </a:lnTo>
                  <a:lnTo>
                    <a:pt x="70" y="58"/>
                  </a:lnTo>
                  <a:lnTo>
                    <a:pt x="82" y="48"/>
                  </a:lnTo>
                  <a:lnTo>
                    <a:pt x="93" y="60"/>
                  </a:lnTo>
                  <a:lnTo>
                    <a:pt x="101" y="80"/>
                  </a:lnTo>
                  <a:lnTo>
                    <a:pt x="106" y="91"/>
                  </a:lnTo>
                  <a:lnTo>
                    <a:pt x="114" y="93"/>
                  </a:lnTo>
                  <a:lnTo>
                    <a:pt x="114" y="116"/>
                  </a:lnTo>
                  <a:lnTo>
                    <a:pt x="99" y="119"/>
                  </a:lnTo>
                  <a:lnTo>
                    <a:pt x="85" y="110"/>
                  </a:lnTo>
                  <a:lnTo>
                    <a:pt x="70" y="124"/>
                  </a:lnTo>
                  <a:lnTo>
                    <a:pt x="64" y="141"/>
                  </a:lnTo>
                  <a:lnTo>
                    <a:pt x="50" y="139"/>
                  </a:lnTo>
                  <a:lnTo>
                    <a:pt x="40" y="170"/>
                  </a:lnTo>
                  <a:lnTo>
                    <a:pt x="49" y="185"/>
                  </a:lnTo>
                  <a:lnTo>
                    <a:pt x="36" y="198"/>
                  </a:lnTo>
                  <a:lnTo>
                    <a:pt x="25" y="190"/>
                  </a:lnTo>
                  <a:lnTo>
                    <a:pt x="14" y="178"/>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1" name="Freeform 173">
              <a:extLst>
                <a:ext uri="{FF2B5EF4-FFF2-40B4-BE49-F238E27FC236}">
                  <a16:creationId xmlns:a16="http://schemas.microsoft.com/office/drawing/2014/main" id="{F0C8D27E-FC28-44EF-A882-D819EC7A4776}"/>
                </a:ext>
              </a:extLst>
            </p:cNvPr>
            <p:cNvSpPr>
              <a:spLocks/>
            </p:cNvSpPr>
            <p:nvPr/>
          </p:nvSpPr>
          <p:spPr bwMode="auto">
            <a:xfrm>
              <a:off x="4371791" y="2085168"/>
              <a:ext cx="257975" cy="219999"/>
            </a:xfrm>
            <a:custGeom>
              <a:avLst/>
              <a:gdLst>
                <a:gd name="T0" fmla="*/ 47 w 193"/>
                <a:gd name="T1" fmla="*/ 94 h 166"/>
                <a:gd name="T2" fmla="*/ 58 w 193"/>
                <a:gd name="T3" fmla="*/ 84 h 166"/>
                <a:gd name="T4" fmla="*/ 63 w 193"/>
                <a:gd name="T5" fmla="*/ 77 h 166"/>
                <a:gd name="T6" fmla="*/ 80 w 193"/>
                <a:gd name="T7" fmla="*/ 64 h 166"/>
                <a:gd name="T8" fmla="*/ 100 w 193"/>
                <a:gd name="T9" fmla="*/ 53 h 166"/>
                <a:gd name="T10" fmla="*/ 122 w 193"/>
                <a:gd name="T11" fmla="*/ 37 h 166"/>
                <a:gd name="T12" fmla="*/ 135 w 193"/>
                <a:gd name="T13" fmla="*/ 32 h 166"/>
                <a:gd name="T14" fmla="*/ 162 w 193"/>
                <a:gd name="T15" fmla="*/ 23 h 166"/>
                <a:gd name="T16" fmla="*/ 183 w 193"/>
                <a:gd name="T17" fmla="*/ 16 h 166"/>
                <a:gd name="T18" fmla="*/ 192 w 193"/>
                <a:gd name="T19" fmla="*/ 11 h 166"/>
                <a:gd name="T20" fmla="*/ 185 w 193"/>
                <a:gd name="T21" fmla="*/ 2 h 166"/>
                <a:gd name="T22" fmla="*/ 161 w 193"/>
                <a:gd name="T23" fmla="*/ 0 h 166"/>
                <a:gd name="T24" fmla="*/ 145 w 193"/>
                <a:gd name="T25" fmla="*/ 13 h 166"/>
                <a:gd name="T26" fmla="*/ 122 w 193"/>
                <a:gd name="T27" fmla="*/ 19 h 166"/>
                <a:gd name="T28" fmla="*/ 94 w 193"/>
                <a:gd name="T29" fmla="*/ 20 h 166"/>
                <a:gd name="T30" fmla="*/ 80 w 193"/>
                <a:gd name="T31" fmla="*/ 32 h 166"/>
                <a:gd name="T32" fmla="*/ 64 w 193"/>
                <a:gd name="T33" fmla="*/ 32 h 166"/>
                <a:gd name="T34" fmla="*/ 57 w 193"/>
                <a:gd name="T35" fmla="*/ 44 h 166"/>
                <a:gd name="T36" fmla="*/ 32 w 193"/>
                <a:gd name="T37" fmla="*/ 49 h 166"/>
                <a:gd name="T38" fmla="*/ 28 w 193"/>
                <a:gd name="T39" fmla="*/ 67 h 166"/>
                <a:gd name="T40" fmla="*/ 27 w 193"/>
                <a:gd name="T41" fmla="*/ 77 h 166"/>
                <a:gd name="T42" fmla="*/ 16 w 193"/>
                <a:gd name="T43" fmla="*/ 76 h 166"/>
                <a:gd name="T44" fmla="*/ 16 w 193"/>
                <a:gd name="T45" fmla="*/ 79 h 166"/>
                <a:gd name="T46" fmla="*/ 17 w 193"/>
                <a:gd name="T47" fmla="*/ 84 h 166"/>
                <a:gd name="T48" fmla="*/ 13 w 193"/>
                <a:gd name="T49" fmla="*/ 92 h 166"/>
                <a:gd name="T50" fmla="*/ 6 w 193"/>
                <a:gd name="T51" fmla="*/ 97 h 166"/>
                <a:gd name="T52" fmla="*/ 2 w 193"/>
                <a:gd name="T53" fmla="*/ 113 h 166"/>
                <a:gd name="T54" fmla="*/ 0 w 193"/>
                <a:gd name="T55" fmla="*/ 132 h 166"/>
                <a:gd name="T56" fmla="*/ 12 w 193"/>
                <a:gd name="T57" fmla="*/ 139 h 166"/>
                <a:gd name="T58" fmla="*/ 23 w 193"/>
                <a:gd name="T59" fmla="*/ 162 h 166"/>
                <a:gd name="T60" fmla="*/ 41 w 193"/>
                <a:gd name="T61" fmla="*/ 165 h 166"/>
                <a:gd name="T62" fmla="*/ 66 w 193"/>
                <a:gd name="T63" fmla="*/ 162 h 166"/>
                <a:gd name="T64" fmla="*/ 68 w 193"/>
                <a:gd name="T65" fmla="*/ 152 h 166"/>
                <a:gd name="T66" fmla="*/ 53 w 193"/>
                <a:gd name="T67" fmla="*/ 144 h 166"/>
                <a:gd name="T68" fmla="*/ 43 w 193"/>
                <a:gd name="T69" fmla="*/ 134 h 166"/>
                <a:gd name="T70" fmla="*/ 43 w 193"/>
                <a:gd name="T71" fmla="*/ 114 h 166"/>
                <a:gd name="T72" fmla="*/ 47 w 193"/>
                <a:gd name="T73" fmla="*/ 98 h 166"/>
                <a:gd name="T74" fmla="*/ 47 w 193"/>
                <a:gd name="T75" fmla="*/ 9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3" h="166">
                  <a:moveTo>
                    <a:pt x="47" y="94"/>
                  </a:moveTo>
                  <a:lnTo>
                    <a:pt x="58" y="84"/>
                  </a:lnTo>
                  <a:lnTo>
                    <a:pt x="63" y="77"/>
                  </a:lnTo>
                  <a:lnTo>
                    <a:pt x="80" y="64"/>
                  </a:lnTo>
                  <a:lnTo>
                    <a:pt x="100" y="53"/>
                  </a:lnTo>
                  <a:lnTo>
                    <a:pt x="122" y="37"/>
                  </a:lnTo>
                  <a:lnTo>
                    <a:pt x="135" y="32"/>
                  </a:lnTo>
                  <a:lnTo>
                    <a:pt x="162" y="23"/>
                  </a:lnTo>
                  <a:lnTo>
                    <a:pt x="183" y="16"/>
                  </a:lnTo>
                  <a:lnTo>
                    <a:pt x="192" y="11"/>
                  </a:lnTo>
                  <a:lnTo>
                    <a:pt x="185" y="2"/>
                  </a:lnTo>
                  <a:lnTo>
                    <a:pt x="161" y="0"/>
                  </a:lnTo>
                  <a:lnTo>
                    <a:pt x="145" y="13"/>
                  </a:lnTo>
                  <a:lnTo>
                    <a:pt x="122" y="19"/>
                  </a:lnTo>
                  <a:lnTo>
                    <a:pt x="94" y="20"/>
                  </a:lnTo>
                  <a:lnTo>
                    <a:pt x="80" y="32"/>
                  </a:lnTo>
                  <a:lnTo>
                    <a:pt x="64" y="32"/>
                  </a:lnTo>
                  <a:lnTo>
                    <a:pt x="57" y="44"/>
                  </a:lnTo>
                  <a:lnTo>
                    <a:pt x="32" y="49"/>
                  </a:lnTo>
                  <a:lnTo>
                    <a:pt x="28" y="67"/>
                  </a:lnTo>
                  <a:lnTo>
                    <a:pt x="27" y="77"/>
                  </a:lnTo>
                  <a:lnTo>
                    <a:pt x="16" y="76"/>
                  </a:lnTo>
                  <a:lnTo>
                    <a:pt x="16" y="79"/>
                  </a:lnTo>
                  <a:lnTo>
                    <a:pt x="17" y="84"/>
                  </a:lnTo>
                  <a:lnTo>
                    <a:pt x="13" y="92"/>
                  </a:lnTo>
                  <a:lnTo>
                    <a:pt x="6" y="97"/>
                  </a:lnTo>
                  <a:lnTo>
                    <a:pt x="2" y="113"/>
                  </a:lnTo>
                  <a:lnTo>
                    <a:pt x="0" y="132"/>
                  </a:lnTo>
                  <a:lnTo>
                    <a:pt x="12" y="139"/>
                  </a:lnTo>
                  <a:lnTo>
                    <a:pt x="23" y="162"/>
                  </a:lnTo>
                  <a:lnTo>
                    <a:pt x="41" y="165"/>
                  </a:lnTo>
                  <a:lnTo>
                    <a:pt x="66" y="162"/>
                  </a:lnTo>
                  <a:lnTo>
                    <a:pt x="68" y="152"/>
                  </a:lnTo>
                  <a:lnTo>
                    <a:pt x="53" y="144"/>
                  </a:lnTo>
                  <a:lnTo>
                    <a:pt x="43" y="134"/>
                  </a:lnTo>
                  <a:lnTo>
                    <a:pt x="43" y="114"/>
                  </a:lnTo>
                  <a:lnTo>
                    <a:pt x="47" y="98"/>
                  </a:lnTo>
                  <a:lnTo>
                    <a:pt x="47" y="94"/>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2" name="Freeform 174">
              <a:extLst>
                <a:ext uri="{FF2B5EF4-FFF2-40B4-BE49-F238E27FC236}">
                  <a16:creationId xmlns:a16="http://schemas.microsoft.com/office/drawing/2014/main" id="{FFC87261-0605-4393-AD86-D74A51CBBB31}"/>
                </a:ext>
              </a:extLst>
            </p:cNvPr>
            <p:cNvSpPr>
              <a:spLocks/>
            </p:cNvSpPr>
            <p:nvPr/>
          </p:nvSpPr>
          <p:spPr bwMode="auto">
            <a:xfrm>
              <a:off x="4953128" y="1910359"/>
              <a:ext cx="90351" cy="68973"/>
            </a:xfrm>
            <a:custGeom>
              <a:avLst/>
              <a:gdLst>
                <a:gd name="T0" fmla="*/ 33 w 67"/>
                <a:gd name="T1" fmla="*/ 7 h 52"/>
                <a:gd name="T2" fmla="*/ 22 w 67"/>
                <a:gd name="T3" fmla="*/ 17 h 52"/>
                <a:gd name="T4" fmla="*/ 11 w 67"/>
                <a:gd name="T5" fmla="*/ 19 h 52"/>
                <a:gd name="T6" fmla="*/ 0 w 67"/>
                <a:gd name="T7" fmla="*/ 26 h 52"/>
                <a:gd name="T8" fmla="*/ 8 w 67"/>
                <a:gd name="T9" fmla="*/ 40 h 52"/>
                <a:gd name="T10" fmla="*/ 25 w 67"/>
                <a:gd name="T11" fmla="*/ 51 h 52"/>
                <a:gd name="T12" fmla="*/ 48 w 67"/>
                <a:gd name="T13" fmla="*/ 41 h 52"/>
                <a:gd name="T14" fmla="*/ 66 w 67"/>
                <a:gd name="T15" fmla="*/ 32 h 52"/>
                <a:gd name="T16" fmla="*/ 62 w 67"/>
                <a:gd name="T17" fmla="*/ 11 h 52"/>
                <a:gd name="T18" fmla="*/ 43 w 67"/>
                <a:gd name="T19" fmla="*/ 0 h 52"/>
                <a:gd name="T20" fmla="*/ 33 w 67"/>
                <a:gd name="T21"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52">
                  <a:moveTo>
                    <a:pt x="33" y="7"/>
                  </a:moveTo>
                  <a:lnTo>
                    <a:pt x="22" y="17"/>
                  </a:lnTo>
                  <a:lnTo>
                    <a:pt x="11" y="19"/>
                  </a:lnTo>
                  <a:lnTo>
                    <a:pt x="0" y="26"/>
                  </a:lnTo>
                  <a:lnTo>
                    <a:pt x="8" y="40"/>
                  </a:lnTo>
                  <a:lnTo>
                    <a:pt x="25" y="51"/>
                  </a:lnTo>
                  <a:lnTo>
                    <a:pt x="48" y="41"/>
                  </a:lnTo>
                  <a:lnTo>
                    <a:pt x="66" y="32"/>
                  </a:lnTo>
                  <a:lnTo>
                    <a:pt x="62" y="11"/>
                  </a:lnTo>
                  <a:lnTo>
                    <a:pt x="43" y="0"/>
                  </a:lnTo>
                  <a:lnTo>
                    <a:pt x="33" y="7"/>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3" name="Freeform 175">
              <a:extLst>
                <a:ext uri="{FF2B5EF4-FFF2-40B4-BE49-F238E27FC236}">
                  <a16:creationId xmlns:a16="http://schemas.microsoft.com/office/drawing/2014/main" id="{C940816F-5C66-4602-88E8-514D1819D8A9}"/>
                </a:ext>
              </a:extLst>
            </p:cNvPr>
            <p:cNvSpPr>
              <a:spLocks/>
            </p:cNvSpPr>
            <p:nvPr/>
          </p:nvSpPr>
          <p:spPr bwMode="auto">
            <a:xfrm>
              <a:off x="5013758" y="1960304"/>
              <a:ext cx="86784" cy="58270"/>
            </a:xfrm>
            <a:custGeom>
              <a:avLst/>
              <a:gdLst>
                <a:gd name="T0" fmla="*/ 17 w 64"/>
                <a:gd name="T1" fmla="*/ 15 h 44"/>
                <a:gd name="T2" fmla="*/ 24 w 64"/>
                <a:gd name="T3" fmla="*/ 3 h 44"/>
                <a:gd name="T4" fmla="*/ 36 w 64"/>
                <a:gd name="T5" fmla="*/ 0 h 44"/>
                <a:gd name="T6" fmla="*/ 46 w 64"/>
                <a:gd name="T7" fmla="*/ 3 h 44"/>
                <a:gd name="T8" fmla="*/ 56 w 64"/>
                <a:gd name="T9" fmla="*/ 17 h 44"/>
                <a:gd name="T10" fmla="*/ 56 w 64"/>
                <a:gd name="T11" fmla="*/ 28 h 44"/>
                <a:gd name="T12" fmla="*/ 63 w 64"/>
                <a:gd name="T13" fmla="*/ 26 h 44"/>
                <a:gd name="T14" fmla="*/ 63 w 64"/>
                <a:gd name="T15" fmla="*/ 37 h 44"/>
                <a:gd name="T16" fmla="*/ 41 w 64"/>
                <a:gd name="T17" fmla="*/ 43 h 44"/>
                <a:gd name="T18" fmla="*/ 21 w 64"/>
                <a:gd name="T19" fmla="*/ 34 h 44"/>
                <a:gd name="T20" fmla="*/ 0 w 64"/>
                <a:gd name="T21" fmla="*/ 26 h 44"/>
                <a:gd name="T22" fmla="*/ 4 w 64"/>
                <a:gd name="T23" fmla="*/ 16 h 44"/>
                <a:gd name="T24" fmla="*/ 17 w 64"/>
                <a:gd name="T25" fmla="*/ 1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44">
                  <a:moveTo>
                    <a:pt x="17" y="15"/>
                  </a:moveTo>
                  <a:lnTo>
                    <a:pt x="24" y="3"/>
                  </a:lnTo>
                  <a:lnTo>
                    <a:pt x="36" y="0"/>
                  </a:lnTo>
                  <a:lnTo>
                    <a:pt x="46" y="3"/>
                  </a:lnTo>
                  <a:lnTo>
                    <a:pt x="56" y="17"/>
                  </a:lnTo>
                  <a:lnTo>
                    <a:pt x="56" y="28"/>
                  </a:lnTo>
                  <a:lnTo>
                    <a:pt x="63" y="26"/>
                  </a:lnTo>
                  <a:lnTo>
                    <a:pt x="63" y="37"/>
                  </a:lnTo>
                  <a:lnTo>
                    <a:pt x="41" y="43"/>
                  </a:lnTo>
                  <a:lnTo>
                    <a:pt x="21" y="34"/>
                  </a:lnTo>
                  <a:lnTo>
                    <a:pt x="0" y="26"/>
                  </a:lnTo>
                  <a:lnTo>
                    <a:pt x="4" y="16"/>
                  </a:lnTo>
                  <a:lnTo>
                    <a:pt x="17" y="15"/>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4" name="Freeform 176">
              <a:extLst>
                <a:ext uri="{FF2B5EF4-FFF2-40B4-BE49-F238E27FC236}">
                  <a16:creationId xmlns:a16="http://schemas.microsoft.com/office/drawing/2014/main" id="{0CAFA41C-D246-49F6-B050-30375E30E0F2}"/>
                </a:ext>
              </a:extLst>
            </p:cNvPr>
            <p:cNvSpPr>
              <a:spLocks/>
            </p:cNvSpPr>
            <p:nvPr/>
          </p:nvSpPr>
          <p:spPr bwMode="auto">
            <a:xfrm>
              <a:off x="5110053" y="1984088"/>
              <a:ext cx="71330" cy="57081"/>
            </a:xfrm>
            <a:custGeom>
              <a:avLst/>
              <a:gdLst>
                <a:gd name="T0" fmla="*/ 7 w 54"/>
                <a:gd name="T1" fmla="*/ 19 h 43"/>
                <a:gd name="T2" fmla="*/ 12 w 54"/>
                <a:gd name="T3" fmla="*/ 8 h 43"/>
                <a:gd name="T4" fmla="*/ 24 w 54"/>
                <a:gd name="T5" fmla="*/ 0 h 43"/>
                <a:gd name="T6" fmla="*/ 27 w 54"/>
                <a:gd name="T7" fmla="*/ 8 h 43"/>
                <a:gd name="T8" fmla="*/ 33 w 54"/>
                <a:gd name="T9" fmla="*/ 11 h 43"/>
                <a:gd name="T10" fmla="*/ 41 w 54"/>
                <a:gd name="T11" fmla="*/ 11 h 43"/>
                <a:gd name="T12" fmla="*/ 51 w 54"/>
                <a:gd name="T13" fmla="*/ 15 h 43"/>
                <a:gd name="T14" fmla="*/ 53 w 54"/>
                <a:gd name="T15" fmla="*/ 27 h 43"/>
                <a:gd name="T16" fmla="*/ 46 w 54"/>
                <a:gd name="T17" fmla="*/ 39 h 43"/>
                <a:gd name="T18" fmla="*/ 29 w 54"/>
                <a:gd name="T19" fmla="*/ 42 h 43"/>
                <a:gd name="T20" fmla="*/ 7 w 54"/>
                <a:gd name="T21" fmla="*/ 39 h 43"/>
                <a:gd name="T22" fmla="*/ 0 w 54"/>
                <a:gd name="T23" fmla="*/ 33 h 43"/>
                <a:gd name="T24" fmla="*/ 7 w 54"/>
                <a:gd name="T25" fmla="*/ 1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43">
                  <a:moveTo>
                    <a:pt x="7" y="19"/>
                  </a:moveTo>
                  <a:lnTo>
                    <a:pt x="12" y="8"/>
                  </a:lnTo>
                  <a:lnTo>
                    <a:pt x="24" y="0"/>
                  </a:lnTo>
                  <a:lnTo>
                    <a:pt x="27" y="8"/>
                  </a:lnTo>
                  <a:lnTo>
                    <a:pt x="33" y="11"/>
                  </a:lnTo>
                  <a:lnTo>
                    <a:pt x="41" y="11"/>
                  </a:lnTo>
                  <a:lnTo>
                    <a:pt x="51" y="15"/>
                  </a:lnTo>
                  <a:lnTo>
                    <a:pt x="53" y="27"/>
                  </a:lnTo>
                  <a:lnTo>
                    <a:pt x="46" y="39"/>
                  </a:lnTo>
                  <a:lnTo>
                    <a:pt x="29" y="42"/>
                  </a:lnTo>
                  <a:lnTo>
                    <a:pt x="7" y="39"/>
                  </a:lnTo>
                  <a:lnTo>
                    <a:pt x="0" y="33"/>
                  </a:lnTo>
                  <a:lnTo>
                    <a:pt x="7" y="1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5" name="Freeform 177">
              <a:extLst>
                <a:ext uri="{FF2B5EF4-FFF2-40B4-BE49-F238E27FC236}">
                  <a16:creationId xmlns:a16="http://schemas.microsoft.com/office/drawing/2014/main" id="{FB19AE3B-087D-4F8A-BD78-3F9CFAE92D6A}"/>
                </a:ext>
              </a:extLst>
            </p:cNvPr>
            <p:cNvSpPr>
              <a:spLocks/>
            </p:cNvSpPr>
            <p:nvPr/>
          </p:nvSpPr>
          <p:spPr bwMode="auto">
            <a:xfrm>
              <a:off x="5737753" y="2105385"/>
              <a:ext cx="126016" cy="58270"/>
            </a:xfrm>
            <a:custGeom>
              <a:avLst/>
              <a:gdLst>
                <a:gd name="T0" fmla="*/ 51 w 94"/>
                <a:gd name="T1" fmla="*/ 4 h 44"/>
                <a:gd name="T2" fmla="*/ 49 w 94"/>
                <a:gd name="T3" fmla="*/ 15 h 44"/>
                <a:gd name="T4" fmla="*/ 33 w 94"/>
                <a:gd name="T5" fmla="*/ 15 h 44"/>
                <a:gd name="T6" fmla="*/ 28 w 94"/>
                <a:gd name="T7" fmla="*/ 8 h 44"/>
                <a:gd name="T8" fmla="*/ 13 w 94"/>
                <a:gd name="T9" fmla="*/ 0 h 44"/>
                <a:gd name="T10" fmla="*/ 0 w 94"/>
                <a:gd name="T11" fmla="*/ 8 h 44"/>
                <a:gd name="T12" fmla="*/ 0 w 94"/>
                <a:gd name="T13" fmla="*/ 26 h 44"/>
                <a:gd name="T14" fmla="*/ 19 w 94"/>
                <a:gd name="T15" fmla="*/ 40 h 44"/>
                <a:gd name="T16" fmla="*/ 43 w 94"/>
                <a:gd name="T17" fmla="*/ 43 h 44"/>
                <a:gd name="T18" fmla="*/ 53 w 94"/>
                <a:gd name="T19" fmla="*/ 34 h 44"/>
                <a:gd name="T20" fmla="*/ 67 w 94"/>
                <a:gd name="T21" fmla="*/ 40 h 44"/>
                <a:gd name="T22" fmla="*/ 86 w 94"/>
                <a:gd name="T23" fmla="*/ 39 h 44"/>
                <a:gd name="T24" fmla="*/ 93 w 94"/>
                <a:gd name="T25" fmla="*/ 29 h 44"/>
                <a:gd name="T26" fmla="*/ 79 w 94"/>
                <a:gd name="T27" fmla="*/ 23 h 44"/>
                <a:gd name="T28" fmla="*/ 71 w 94"/>
                <a:gd name="T29" fmla="*/ 8 h 44"/>
                <a:gd name="T30" fmla="*/ 57 w 94"/>
                <a:gd name="T31" fmla="*/ 1 h 44"/>
                <a:gd name="T32" fmla="*/ 51 w 94"/>
                <a:gd name="T33"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44">
                  <a:moveTo>
                    <a:pt x="51" y="4"/>
                  </a:moveTo>
                  <a:lnTo>
                    <a:pt x="49" y="15"/>
                  </a:lnTo>
                  <a:lnTo>
                    <a:pt x="33" y="15"/>
                  </a:lnTo>
                  <a:lnTo>
                    <a:pt x="28" y="8"/>
                  </a:lnTo>
                  <a:lnTo>
                    <a:pt x="13" y="0"/>
                  </a:lnTo>
                  <a:lnTo>
                    <a:pt x="0" y="8"/>
                  </a:lnTo>
                  <a:lnTo>
                    <a:pt x="0" y="26"/>
                  </a:lnTo>
                  <a:lnTo>
                    <a:pt x="19" y="40"/>
                  </a:lnTo>
                  <a:lnTo>
                    <a:pt x="43" y="43"/>
                  </a:lnTo>
                  <a:lnTo>
                    <a:pt x="53" y="34"/>
                  </a:lnTo>
                  <a:lnTo>
                    <a:pt x="67" y="40"/>
                  </a:lnTo>
                  <a:lnTo>
                    <a:pt x="86" y="39"/>
                  </a:lnTo>
                  <a:lnTo>
                    <a:pt x="93" y="29"/>
                  </a:lnTo>
                  <a:lnTo>
                    <a:pt x="79" y="23"/>
                  </a:lnTo>
                  <a:lnTo>
                    <a:pt x="71" y="8"/>
                  </a:lnTo>
                  <a:lnTo>
                    <a:pt x="57" y="1"/>
                  </a:lnTo>
                  <a:lnTo>
                    <a:pt x="51" y="4"/>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6" name="Freeform 178">
              <a:extLst>
                <a:ext uri="{FF2B5EF4-FFF2-40B4-BE49-F238E27FC236}">
                  <a16:creationId xmlns:a16="http://schemas.microsoft.com/office/drawing/2014/main" id="{80A443FB-1DAB-4955-BC48-0E6FBE192BDD}"/>
                </a:ext>
              </a:extLst>
            </p:cNvPr>
            <p:cNvSpPr>
              <a:spLocks/>
            </p:cNvSpPr>
            <p:nvPr/>
          </p:nvSpPr>
          <p:spPr bwMode="auto">
            <a:xfrm>
              <a:off x="5893489" y="2124411"/>
              <a:ext cx="76085" cy="30919"/>
            </a:xfrm>
            <a:custGeom>
              <a:avLst/>
              <a:gdLst>
                <a:gd name="T0" fmla="*/ 1 w 58"/>
                <a:gd name="T1" fmla="*/ 0 h 23"/>
                <a:gd name="T2" fmla="*/ 9 w 58"/>
                <a:gd name="T3" fmla="*/ 6 h 23"/>
                <a:gd name="T4" fmla="*/ 30 w 58"/>
                <a:gd name="T5" fmla="*/ 6 h 23"/>
                <a:gd name="T6" fmla="*/ 54 w 58"/>
                <a:gd name="T7" fmla="*/ 6 h 23"/>
                <a:gd name="T8" fmla="*/ 57 w 58"/>
                <a:gd name="T9" fmla="*/ 19 h 23"/>
                <a:gd name="T10" fmla="*/ 26 w 58"/>
                <a:gd name="T11" fmla="*/ 22 h 23"/>
                <a:gd name="T12" fmla="*/ 9 w 58"/>
                <a:gd name="T13" fmla="*/ 17 h 23"/>
                <a:gd name="T14" fmla="*/ 0 w 58"/>
                <a:gd name="T15" fmla="*/ 7 h 23"/>
                <a:gd name="T16" fmla="*/ 1 w 58"/>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23">
                  <a:moveTo>
                    <a:pt x="1" y="0"/>
                  </a:moveTo>
                  <a:lnTo>
                    <a:pt x="9" y="6"/>
                  </a:lnTo>
                  <a:lnTo>
                    <a:pt x="30" y="6"/>
                  </a:lnTo>
                  <a:lnTo>
                    <a:pt x="54" y="6"/>
                  </a:lnTo>
                  <a:lnTo>
                    <a:pt x="57" y="19"/>
                  </a:lnTo>
                  <a:lnTo>
                    <a:pt x="26" y="22"/>
                  </a:lnTo>
                  <a:lnTo>
                    <a:pt x="9" y="17"/>
                  </a:lnTo>
                  <a:lnTo>
                    <a:pt x="0" y="7"/>
                  </a:lnTo>
                  <a:lnTo>
                    <a:pt x="1"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7" name="Freeform 179">
              <a:extLst>
                <a:ext uri="{FF2B5EF4-FFF2-40B4-BE49-F238E27FC236}">
                  <a16:creationId xmlns:a16="http://schemas.microsoft.com/office/drawing/2014/main" id="{271E6E66-6E09-4981-BC64-ED4EC2D182E9}"/>
                </a:ext>
              </a:extLst>
            </p:cNvPr>
            <p:cNvSpPr>
              <a:spLocks/>
            </p:cNvSpPr>
            <p:nvPr/>
          </p:nvSpPr>
          <p:spPr bwMode="auto">
            <a:xfrm>
              <a:off x="6502169" y="2259978"/>
              <a:ext cx="53497" cy="35675"/>
            </a:xfrm>
            <a:custGeom>
              <a:avLst/>
              <a:gdLst>
                <a:gd name="T0" fmla="*/ 15 w 41"/>
                <a:gd name="T1" fmla="*/ 2 h 27"/>
                <a:gd name="T2" fmla="*/ 3 w 41"/>
                <a:gd name="T3" fmla="*/ 13 h 27"/>
                <a:gd name="T4" fmla="*/ 0 w 41"/>
                <a:gd name="T5" fmla="*/ 26 h 27"/>
                <a:gd name="T6" fmla="*/ 20 w 41"/>
                <a:gd name="T7" fmla="*/ 24 h 27"/>
                <a:gd name="T8" fmla="*/ 36 w 41"/>
                <a:gd name="T9" fmla="*/ 23 h 27"/>
                <a:gd name="T10" fmla="*/ 40 w 41"/>
                <a:gd name="T11" fmla="*/ 8 h 27"/>
                <a:gd name="T12" fmla="*/ 26 w 41"/>
                <a:gd name="T13" fmla="*/ 0 h 27"/>
                <a:gd name="T14" fmla="*/ 15 w 41"/>
                <a:gd name="T15" fmla="*/ 2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27">
                  <a:moveTo>
                    <a:pt x="15" y="2"/>
                  </a:moveTo>
                  <a:lnTo>
                    <a:pt x="3" y="13"/>
                  </a:lnTo>
                  <a:lnTo>
                    <a:pt x="0" y="26"/>
                  </a:lnTo>
                  <a:lnTo>
                    <a:pt x="20" y="24"/>
                  </a:lnTo>
                  <a:lnTo>
                    <a:pt x="36" y="23"/>
                  </a:lnTo>
                  <a:lnTo>
                    <a:pt x="40" y="8"/>
                  </a:lnTo>
                  <a:lnTo>
                    <a:pt x="26" y="0"/>
                  </a:lnTo>
                  <a:lnTo>
                    <a:pt x="15" y="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8" name="Freeform 180">
              <a:extLst>
                <a:ext uri="{FF2B5EF4-FFF2-40B4-BE49-F238E27FC236}">
                  <a16:creationId xmlns:a16="http://schemas.microsoft.com/office/drawing/2014/main" id="{9EC8F80A-6F05-4C82-93A2-FCF81EFE8BBC}"/>
                </a:ext>
              </a:extLst>
            </p:cNvPr>
            <p:cNvSpPr>
              <a:spLocks/>
            </p:cNvSpPr>
            <p:nvPr/>
          </p:nvSpPr>
          <p:spPr bwMode="auto">
            <a:xfrm>
              <a:off x="3279260" y="3507430"/>
              <a:ext cx="316228" cy="355565"/>
            </a:xfrm>
            <a:custGeom>
              <a:avLst/>
              <a:gdLst>
                <a:gd name="T0" fmla="*/ 0 w 237"/>
                <a:gd name="T1" fmla="*/ 191 h 266"/>
                <a:gd name="T2" fmla="*/ 14 w 237"/>
                <a:gd name="T3" fmla="*/ 173 h 266"/>
                <a:gd name="T4" fmla="*/ 26 w 237"/>
                <a:gd name="T5" fmla="*/ 179 h 266"/>
                <a:gd name="T6" fmla="*/ 78 w 237"/>
                <a:gd name="T7" fmla="*/ 182 h 266"/>
                <a:gd name="T8" fmla="*/ 96 w 237"/>
                <a:gd name="T9" fmla="*/ 180 h 266"/>
                <a:gd name="T10" fmla="*/ 95 w 237"/>
                <a:gd name="T11" fmla="*/ 162 h 266"/>
                <a:gd name="T12" fmla="*/ 83 w 237"/>
                <a:gd name="T13" fmla="*/ 158 h 266"/>
                <a:gd name="T14" fmla="*/ 85 w 237"/>
                <a:gd name="T15" fmla="*/ 47 h 266"/>
                <a:gd name="T16" fmla="*/ 78 w 237"/>
                <a:gd name="T17" fmla="*/ 38 h 266"/>
                <a:gd name="T18" fmla="*/ 78 w 237"/>
                <a:gd name="T19" fmla="*/ 16 h 266"/>
                <a:gd name="T20" fmla="*/ 87 w 237"/>
                <a:gd name="T21" fmla="*/ 14 h 266"/>
                <a:gd name="T22" fmla="*/ 88 w 237"/>
                <a:gd name="T23" fmla="*/ 0 h 266"/>
                <a:gd name="T24" fmla="*/ 103 w 237"/>
                <a:gd name="T25" fmla="*/ 9 h 266"/>
                <a:gd name="T26" fmla="*/ 204 w 237"/>
                <a:gd name="T27" fmla="*/ 89 h 266"/>
                <a:gd name="T28" fmla="*/ 217 w 237"/>
                <a:gd name="T29" fmla="*/ 96 h 266"/>
                <a:gd name="T30" fmla="*/ 221 w 237"/>
                <a:gd name="T31" fmla="*/ 119 h 266"/>
                <a:gd name="T32" fmla="*/ 233 w 237"/>
                <a:gd name="T33" fmla="*/ 117 h 266"/>
                <a:gd name="T34" fmla="*/ 236 w 237"/>
                <a:gd name="T35" fmla="*/ 164 h 266"/>
                <a:gd name="T36" fmla="*/ 226 w 237"/>
                <a:gd name="T37" fmla="*/ 166 h 266"/>
                <a:gd name="T38" fmla="*/ 226 w 237"/>
                <a:gd name="T39" fmla="*/ 174 h 266"/>
                <a:gd name="T40" fmla="*/ 188 w 237"/>
                <a:gd name="T41" fmla="*/ 179 h 266"/>
                <a:gd name="T42" fmla="*/ 177 w 237"/>
                <a:gd name="T43" fmla="*/ 187 h 266"/>
                <a:gd name="T44" fmla="*/ 153 w 237"/>
                <a:gd name="T45" fmla="*/ 186 h 266"/>
                <a:gd name="T46" fmla="*/ 145 w 237"/>
                <a:gd name="T47" fmla="*/ 196 h 266"/>
                <a:gd name="T48" fmla="*/ 137 w 237"/>
                <a:gd name="T49" fmla="*/ 203 h 266"/>
                <a:gd name="T50" fmla="*/ 118 w 237"/>
                <a:gd name="T51" fmla="*/ 209 h 266"/>
                <a:gd name="T52" fmla="*/ 115 w 237"/>
                <a:gd name="T53" fmla="*/ 217 h 266"/>
                <a:gd name="T54" fmla="*/ 110 w 237"/>
                <a:gd name="T55" fmla="*/ 228 h 266"/>
                <a:gd name="T56" fmla="*/ 100 w 237"/>
                <a:gd name="T57" fmla="*/ 242 h 266"/>
                <a:gd name="T58" fmla="*/ 95 w 237"/>
                <a:gd name="T59" fmla="*/ 262 h 266"/>
                <a:gd name="T60" fmla="*/ 78 w 237"/>
                <a:gd name="T61" fmla="*/ 264 h 266"/>
                <a:gd name="T62" fmla="*/ 65 w 237"/>
                <a:gd name="T63" fmla="*/ 265 h 266"/>
                <a:gd name="T64" fmla="*/ 60 w 237"/>
                <a:gd name="T65" fmla="*/ 246 h 266"/>
                <a:gd name="T66" fmla="*/ 49 w 237"/>
                <a:gd name="T67" fmla="*/ 235 h 266"/>
                <a:gd name="T68" fmla="*/ 33 w 237"/>
                <a:gd name="T69" fmla="*/ 231 h 266"/>
                <a:gd name="T70" fmla="*/ 19 w 237"/>
                <a:gd name="T71" fmla="*/ 227 h 266"/>
                <a:gd name="T72" fmla="*/ 11 w 237"/>
                <a:gd name="T73" fmla="*/ 210 h 266"/>
                <a:gd name="T74" fmla="*/ 3 w 237"/>
                <a:gd name="T75" fmla="*/ 204 h 266"/>
                <a:gd name="T76" fmla="*/ 0 w 237"/>
                <a:gd name="T77" fmla="*/ 19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7" h="266">
                  <a:moveTo>
                    <a:pt x="0" y="191"/>
                  </a:moveTo>
                  <a:lnTo>
                    <a:pt x="14" y="173"/>
                  </a:lnTo>
                  <a:lnTo>
                    <a:pt x="26" y="179"/>
                  </a:lnTo>
                  <a:lnTo>
                    <a:pt x="78" y="182"/>
                  </a:lnTo>
                  <a:lnTo>
                    <a:pt x="96" y="180"/>
                  </a:lnTo>
                  <a:lnTo>
                    <a:pt x="95" y="162"/>
                  </a:lnTo>
                  <a:lnTo>
                    <a:pt x="83" y="158"/>
                  </a:lnTo>
                  <a:lnTo>
                    <a:pt x="85" y="47"/>
                  </a:lnTo>
                  <a:lnTo>
                    <a:pt x="78" y="38"/>
                  </a:lnTo>
                  <a:lnTo>
                    <a:pt x="78" y="16"/>
                  </a:lnTo>
                  <a:lnTo>
                    <a:pt x="87" y="14"/>
                  </a:lnTo>
                  <a:lnTo>
                    <a:pt x="88" y="0"/>
                  </a:lnTo>
                  <a:lnTo>
                    <a:pt x="103" y="9"/>
                  </a:lnTo>
                  <a:lnTo>
                    <a:pt x="204" y="89"/>
                  </a:lnTo>
                  <a:lnTo>
                    <a:pt x="217" y="96"/>
                  </a:lnTo>
                  <a:lnTo>
                    <a:pt x="221" y="119"/>
                  </a:lnTo>
                  <a:lnTo>
                    <a:pt x="233" y="117"/>
                  </a:lnTo>
                  <a:lnTo>
                    <a:pt x="236" y="164"/>
                  </a:lnTo>
                  <a:lnTo>
                    <a:pt x="226" y="166"/>
                  </a:lnTo>
                  <a:lnTo>
                    <a:pt x="226" y="174"/>
                  </a:lnTo>
                  <a:lnTo>
                    <a:pt x="188" y="179"/>
                  </a:lnTo>
                  <a:lnTo>
                    <a:pt x="177" y="187"/>
                  </a:lnTo>
                  <a:lnTo>
                    <a:pt x="153" y="186"/>
                  </a:lnTo>
                  <a:lnTo>
                    <a:pt x="145" y="196"/>
                  </a:lnTo>
                  <a:lnTo>
                    <a:pt x="137" y="203"/>
                  </a:lnTo>
                  <a:lnTo>
                    <a:pt x="118" y="209"/>
                  </a:lnTo>
                  <a:lnTo>
                    <a:pt x="115" y="217"/>
                  </a:lnTo>
                  <a:lnTo>
                    <a:pt x="110" y="228"/>
                  </a:lnTo>
                  <a:lnTo>
                    <a:pt x="100" y="242"/>
                  </a:lnTo>
                  <a:lnTo>
                    <a:pt x="95" y="262"/>
                  </a:lnTo>
                  <a:lnTo>
                    <a:pt x="78" y="264"/>
                  </a:lnTo>
                  <a:lnTo>
                    <a:pt x="65" y="265"/>
                  </a:lnTo>
                  <a:lnTo>
                    <a:pt x="60" y="246"/>
                  </a:lnTo>
                  <a:lnTo>
                    <a:pt x="49" y="235"/>
                  </a:lnTo>
                  <a:lnTo>
                    <a:pt x="33" y="231"/>
                  </a:lnTo>
                  <a:lnTo>
                    <a:pt x="19" y="227"/>
                  </a:lnTo>
                  <a:lnTo>
                    <a:pt x="11" y="210"/>
                  </a:lnTo>
                  <a:lnTo>
                    <a:pt x="3" y="204"/>
                  </a:lnTo>
                  <a:lnTo>
                    <a:pt x="0" y="191"/>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69" name="Freeform 181">
              <a:extLst>
                <a:ext uri="{FF2B5EF4-FFF2-40B4-BE49-F238E27FC236}">
                  <a16:creationId xmlns:a16="http://schemas.microsoft.com/office/drawing/2014/main" id="{126DEBE6-6BBE-4B5C-B813-A8CAFDFAF0E9}"/>
                </a:ext>
              </a:extLst>
            </p:cNvPr>
            <p:cNvSpPr>
              <a:spLocks/>
            </p:cNvSpPr>
            <p:nvPr/>
          </p:nvSpPr>
          <p:spPr bwMode="auto">
            <a:xfrm>
              <a:off x="3558634" y="3779753"/>
              <a:ext cx="210422" cy="209296"/>
            </a:xfrm>
            <a:custGeom>
              <a:avLst/>
              <a:gdLst>
                <a:gd name="T0" fmla="*/ 126 w 158"/>
                <a:gd name="T1" fmla="*/ 101 h 156"/>
                <a:gd name="T2" fmla="*/ 135 w 158"/>
                <a:gd name="T3" fmla="*/ 84 h 156"/>
                <a:gd name="T4" fmla="*/ 142 w 158"/>
                <a:gd name="T5" fmla="*/ 57 h 156"/>
                <a:gd name="T6" fmla="*/ 146 w 158"/>
                <a:gd name="T7" fmla="*/ 49 h 156"/>
                <a:gd name="T8" fmla="*/ 154 w 158"/>
                <a:gd name="T9" fmla="*/ 44 h 156"/>
                <a:gd name="T10" fmla="*/ 157 w 158"/>
                <a:gd name="T11" fmla="*/ 24 h 156"/>
                <a:gd name="T12" fmla="*/ 154 w 158"/>
                <a:gd name="T13" fmla="*/ 0 h 156"/>
                <a:gd name="T14" fmla="*/ 143 w 158"/>
                <a:gd name="T15" fmla="*/ 6 h 156"/>
                <a:gd name="T16" fmla="*/ 137 w 158"/>
                <a:gd name="T17" fmla="*/ 13 h 156"/>
                <a:gd name="T18" fmla="*/ 129 w 158"/>
                <a:gd name="T19" fmla="*/ 6 h 156"/>
                <a:gd name="T20" fmla="*/ 111 w 158"/>
                <a:gd name="T21" fmla="*/ 6 h 156"/>
                <a:gd name="T22" fmla="*/ 109 w 158"/>
                <a:gd name="T23" fmla="*/ 13 h 156"/>
                <a:gd name="T24" fmla="*/ 96 w 158"/>
                <a:gd name="T25" fmla="*/ 13 h 156"/>
                <a:gd name="T26" fmla="*/ 89 w 158"/>
                <a:gd name="T27" fmla="*/ 4 h 156"/>
                <a:gd name="T28" fmla="*/ 78 w 158"/>
                <a:gd name="T29" fmla="*/ 6 h 156"/>
                <a:gd name="T30" fmla="*/ 60 w 158"/>
                <a:gd name="T31" fmla="*/ 7 h 156"/>
                <a:gd name="T32" fmla="*/ 59 w 158"/>
                <a:gd name="T33" fmla="*/ 13 h 156"/>
                <a:gd name="T34" fmla="*/ 52 w 158"/>
                <a:gd name="T35" fmla="*/ 3 h 156"/>
                <a:gd name="T36" fmla="*/ 41 w 158"/>
                <a:gd name="T37" fmla="*/ 2 h 156"/>
                <a:gd name="T38" fmla="*/ 28 w 158"/>
                <a:gd name="T39" fmla="*/ 6 h 156"/>
                <a:gd name="T40" fmla="*/ 23 w 158"/>
                <a:gd name="T41" fmla="*/ 16 h 156"/>
                <a:gd name="T42" fmla="*/ 18 w 158"/>
                <a:gd name="T43" fmla="*/ 23 h 156"/>
                <a:gd name="T44" fmla="*/ 14 w 158"/>
                <a:gd name="T45" fmla="*/ 23 h 156"/>
                <a:gd name="T46" fmla="*/ 16 w 158"/>
                <a:gd name="T47" fmla="*/ 42 h 156"/>
                <a:gd name="T48" fmla="*/ 8 w 158"/>
                <a:gd name="T49" fmla="*/ 74 h 156"/>
                <a:gd name="T50" fmla="*/ 0 w 158"/>
                <a:gd name="T51" fmla="*/ 85 h 156"/>
                <a:gd name="T52" fmla="*/ 3 w 158"/>
                <a:gd name="T53" fmla="*/ 117 h 156"/>
                <a:gd name="T54" fmla="*/ 15 w 158"/>
                <a:gd name="T55" fmla="*/ 119 h 156"/>
                <a:gd name="T56" fmla="*/ 28 w 158"/>
                <a:gd name="T57" fmla="*/ 117 h 156"/>
                <a:gd name="T58" fmla="*/ 34 w 158"/>
                <a:gd name="T59" fmla="*/ 124 h 156"/>
                <a:gd name="T60" fmla="*/ 40 w 158"/>
                <a:gd name="T61" fmla="*/ 132 h 156"/>
                <a:gd name="T62" fmla="*/ 39 w 158"/>
                <a:gd name="T63" fmla="*/ 147 h 156"/>
                <a:gd name="T64" fmla="*/ 50 w 158"/>
                <a:gd name="T65" fmla="*/ 154 h 156"/>
                <a:gd name="T66" fmla="*/ 63 w 158"/>
                <a:gd name="T67" fmla="*/ 155 h 156"/>
                <a:gd name="T68" fmla="*/ 89 w 158"/>
                <a:gd name="T69" fmla="*/ 133 h 156"/>
                <a:gd name="T70" fmla="*/ 98 w 158"/>
                <a:gd name="T71" fmla="*/ 122 h 156"/>
                <a:gd name="T72" fmla="*/ 110 w 158"/>
                <a:gd name="T73" fmla="*/ 111 h 156"/>
                <a:gd name="T74" fmla="*/ 126 w 158"/>
                <a:gd name="T75" fmla="*/ 10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56">
                  <a:moveTo>
                    <a:pt x="126" y="101"/>
                  </a:moveTo>
                  <a:lnTo>
                    <a:pt x="135" y="84"/>
                  </a:lnTo>
                  <a:lnTo>
                    <a:pt x="142" y="57"/>
                  </a:lnTo>
                  <a:lnTo>
                    <a:pt x="146" y="49"/>
                  </a:lnTo>
                  <a:lnTo>
                    <a:pt x="154" y="44"/>
                  </a:lnTo>
                  <a:lnTo>
                    <a:pt x="157" y="24"/>
                  </a:lnTo>
                  <a:lnTo>
                    <a:pt x="154" y="0"/>
                  </a:lnTo>
                  <a:lnTo>
                    <a:pt x="143" y="6"/>
                  </a:lnTo>
                  <a:lnTo>
                    <a:pt x="137" y="13"/>
                  </a:lnTo>
                  <a:lnTo>
                    <a:pt x="129" y="6"/>
                  </a:lnTo>
                  <a:lnTo>
                    <a:pt x="111" y="6"/>
                  </a:lnTo>
                  <a:lnTo>
                    <a:pt x="109" y="13"/>
                  </a:lnTo>
                  <a:lnTo>
                    <a:pt x="96" y="13"/>
                  </a:lnTo>
                  <a:lnTo>
                    <a:pt x="89" y="4"/>
                  </a:lnTo>
                  <a:lnTo>
                    <a:pt x="78" y="6"/>
                  </a:lnTo>
                  <a:lnTo>
                    <a:pt x="60" y="7"/>
                  </a:lnTo>
                  <a:lnTo>
                    <a:pt x="59" y="13"/>
                  </a:lnTo>
                  <a:lnTo>
                    <a:pt x="52" y="3"/>
                  </a:lnTo>
                  <a:lnTo>
                    <a:pt x="41" y="2"/>
                  </a:lnTo>
                  <a:lnTo>
                    <a:pt x="28" y="6"/>
                  </a:lnTo>
                  <a:lnTo>
                    <a:pt x="23" y="16"/>
                  </a:lnTo>
                  <a:lnTo>
                    <a:pt x="18" y="23"/>
                  </a:lnTo>
                  <a:lnTo>
                    <a:pt x="14" y="23"/>
                  </a:lnTo>
                  <a:lnTo>
                    <a:pt x="16" y="42"/>
                  </a:lnTo>
                  <a:lnTo>
                    <a:pt x="8" y="74"/>
                  </a:lnTo>
                  <a:lnTo>
                    <a:pt x="0" y="85"/>
                  </a:lnTo>
                  <a:lnTo>
                    <a:pt x="3" y="117"/>
                  </a:lnTo>
                  <a:lnTo>
                    <a:pt x="15" y="119"/>
                  </a:lnTo>
                  <a:lnTo>
                    <a:pt x="28" y="117"/>
                  </a:lnTo>
                  <a:lnTo>
                    <a:pt x="34" y="124"/>
                  </a:lnTo>
                  <a:lnTo>
                    <a:pt x="40" y="132"/>
                  </a:lnTo>
                  <a:lnTo>
                    <a:pt x="39" y="147"/>
                  </a:lnTo>
                  <a:lnTo>
                    <a:pt x="50" y="154"/>
                  </a:lnTo>
                  <a:lnTo>
                    <a:pt x="63" y="155"/>
                  </a:lnTo>
                  <a:lnTo>
                    <a:pt x="89" y="133"/>
                  </a:lnTo>
                  <a:lnTo>
                    <a:pt x="98" y="122"/>
                  </a:lnTo>
                  <a:lnTo>
                    <a:pt x="110" y="111"/>
                  </a:lnTo>
                  <a:lnTo>
                    <a:pt x="126" y="101"/>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70" name="Freeform 182">
              <a:extLst>
                <a:ext uri="{FF2B5EF4-FFF2-40B4-BE49-F238E27FC236}">
                  <a16:creationId xmlns:a16="http://schemas.microsoft.com/office/drawing/2014/main" id="{C64959D8-174D-406A-A4A8-0B75E122100B}"/>
                </a:ext>
              </a:extLst>
            </p:cNvPr>
            <p:cNvSpPr>
              <a:spLocks/>
            </p:cNvSpPr>
            <p:nvPr/>
          </p:nvSpPr>
          <p:spPr bwMode="auto">
            <a:xfrm>
              <a:off x="3796399" y="3839212"/>
              <a:ext cx="235388" cy="190269"/>
            </a:xfrm>
            <a:custGeom>
              <a:avLst/>
              <a:gdLst>
                <a:gd name="T0" fmla="*/ 174 w 177"/>
                <a:gd name="T1" fmla="*/ 101 h 142"/>
                <a:gd name="T2" fmla="*/ 166 w 177"/>
                <a:gd name="T3" fmla="*/ 100 h 142"/>
                <a:gd name="T4" fmla="*/ 150 w 177"/>
                <a:gd name="T5" fmla="*/ 103 h 142"/>
                <a:gd name="T6" fmla="*/ 136 w 177"/>
                <a:gd name="T7" fmla="*/ 101 h 142"/>
                <a:gd name="T8" fmla="*/ 135 w 177"/>
                <a:gd name="T9" fmla="*/ 108 h 142"/>
                <a:gd name="T10" fmla="*/ 106 w 177"/>
                <a:gd name="T11" fmla="*/ 110 h 142"/>
                <a:gd name="T12" fmla="*/ 103 w 177"/>
                <a:gd name="T13" fmla="*/ 116 h 142"/>
                <a:gd name="T14" fmla="*/ 79 w 177"/>
                <a:gd name="T15" fmla="*/ 120 h 142"/>
                <a:gd name="T16" fmla="*/ 74 w 177"/>
                <a:gd name="T17" fmla="*/ 109 h 142"/>
                <a:gd name="T18" fmla="*/ 64 w 177"/>
                <a:gd name="T19" fmla="*/ 105 h 142"/>
                <a:gd name="T20" fmla="*/ 58 w 177"/>
                <a:gd name="T21" fmla="*/ 114 h 142"/>
                <a:gd name="T22" fmla="*/ 51 w 177"/>
                <a:gd name="T23" fmla="*/ 117 h 142"/>
                <a:gd name="T24" fmla="*/ 46 w 177"/>
                <a:gd name="T25" fmla="*/ 121 h 142"/>
                <a:gd name="T26" fmla="*/ 35 w 177"/>
                <a:gd name="T27" fmla="*/ 123 h 142"/>
                <a:gd name="T28" fmla="*/ 28 w 177"/>
                <a:gd name="T29" fmla="*/ 132 h 142"/>
                <a:gd name="T30" fmla="*/ 22 w 177"/>
                <a:gd name="T31" fmla="*/ 141 h 142"/>
                <a:gd name="T32" fmla="*/ 17 w 177"/>
                <a:gd name="T33" fmla="*/ 132 h 142"/>
                <a:gd name="T34" fmla="*/ 10 w 177"/>
                <a:gd name="T35" fmla="*/ 111 h 142"/>
                <a:gd name="T36" fmla="*/ 0 w 177"/>
                <a:gd name="T37" fmla="*/ 94 h 142"/>
                <a:gd name="T38" fmla="*/ 6 w 177"/>
                <a:gd name="T39" fmla="*/ 75 h 142"/>
                <a:gd name="T40" fmla="*/ 13 w 177"/>
                <a:gd name="T41" fmla="*/ 66 h 142"/>
                <a:gd name="T42" fmla="*/ 21 w 177"/>
                <a:gd name="T43" fmla="*/ 61 h 142"/>
                <a:gd name="T44" fmla="*/ 35 w 177"/>
                <a:gd name="T45" fmla="*/ 62 h 142"/>
                <a:gd name="T46" fmla="*/ 39 w 177"/>
                <a:gd name="T47" fmla="*/ 53 h 142"/>
                <a:gd name="T48" fmla="*/ 55 w 177"/>
                <a:gd name="T49" fmla="*/ 52 h 142"/>
                <a:gd name="T50" fmla="*/ 62 w 177"/>
                <a:gd name="T51" fmla="*/ 42 h 142"/>
                <a:gd name="T52" fmla="*/ 75 w 177"/>
                <a:gd name="T53" fmla="*/ 38 h 142"/>
                <a:gd name="T54" fmla="*/ 80 w 177"/>
                <a:gd name="T55" fmla="*/ 27 h 142"/>
                <a:gd name="T56" fmla="*/ 90 w 177"/>
                <a:gd name="T57" fmla="*/ 24 h 142"/>
                <a:gd name="T58" fmla="*/ 96 w 177"/>
                <a:gd name="T59" fmla="*/ 12 h 142"/>
                <a:gd name="T60" fmla="*/ 106 w 177"/>
                <a:gd name="T61" fmla="*/ 3 h 142"/>
                <a:gd name="T62" fmla="*/ 113 w 177"/>
                <a:gd name="T63" fmla="*/ 0 h 142"/>
                <a:gd name="T64" fmla="*/ 119 w 177"/>
                <a:gd name="T65" fmla="*/ 11 h 142"/>
                <a:gd name="T66" fmla="*/ 126 w 177"/>
                <a:gd name="T67" fmla="*/ 26 h 142"/>
                <a:gd name="T68" fmla="*/ 124 w 177"/>
                <a:gd name="T69" fmla="*/ 38 h 142"/>
                <a:gd name="T70" fmla="*/ 131 w 177"/>
                <a:gd name="T71" fmla="*/ 41 h 142"/>
                <a:gd name="T72" fmla="*/ 132 w 177"/>
                <a:gd name="T73" fmla="*/ 50 h 142"/>
                <a:gd name="T74" fmla="*/ 143 w 177"/>
                <a:gd name="T75" fmla="*/ 47 h 142"/>
                <a:gd name="T76" fmla="*/ 146 w 177"/>
                <a:gd name="T77" fmla="*/ 61 h 142"/>
                <a:gd name="T78" fmla="*/ 159 w 177"/>
                <a:gd name="T79" fmla="*/ 64 h 142"/>
                <a:gd name="T80" fmla="*/ 162 w 177"/>
                <a:gd name="T81" fmla="*/ 80 h 142"/>
                <a:gd name="T82" fmla="*/ 169 w 177"/>
                <a:gd name="T83" fmla="*/ 83 h 142"/>
                <a:gd name="T84" fmla="*/ 173 w 177"/>
                <a:gd name="T85" fmla="*/ 89 h 142"/>
                <a:gd name="T86" fmla="*/ 176 w 177"/>
                <a:gd name="T87" fmla="*/ 94 h 142"/>
                <a:gd name="T88" fmla="*/ 174 w 177"/>
                <a:gd name="T89" fmla="*/ 10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7" h="142">
                  <a:moveTo>
                    <a:pt x="174" y="101"/>
                  </a:moveTo>
                  <a:lnTo>
                    <a:pt x="166" y="100"/>
                  </a:lnTo>
                  <a:lnTo>
                    <a:pt x="150" y="103"/>
                  </a:lnTo>
                  <a:lnTo>
                    <a:pt x="136" y="101"/>
                  </a:lnTo>
                  <a:lnTo>
                    <a:pt x="135" y="108"/>
                  </a:lnTo>
                  <a:lnTo>
                    <a:pt x="106" y="110"/>
                  </a:lnTo>
                  <a:lnTo>
                    <a:pt x="103" y="116"/>
                  </a:lnTo>
                  <a:lnTo>
                    <a:pt x="79" y="120"/>
                  </a:lnTo>
                  <a:lnTo>
                    <a:pt x="74" y="109"/>
                  </a:lnTo>
                  <a:lnTo>
                    <a:pt x="64" y="105"/>
                  </a:lnTo>
                  <a:lnTo>
                    <a:pt x="58" y="114"/>
                  </a:lnTo>
                  <a:lnTo>
                    <a:pt x="51" y="117"/>
                  </a:lnTo>
                  <a:lnTo>
                    <a:pt x="46" y="121"/>
                  </a:lnTo>
                  <a:lnTo>
                    <a:pt x="35" y="123"/>
                  </a:lnTo>
                  <a:lnTo>
                    <a:pt x="28" y="132"/>
                  </a:lnTo>
                  <a:lnTo>
                    <a:pt x="22" y="141"/>
                  </a:lnTo>
                  <a:lnTo>
                    <a:pt x="17" y="132"/>
                  </a:lnTo>
                  <a:lnTo>
                    <a:pt x="10" y="111"/>
                  </a:lnTo>
                  <a:lnTo>
                    <a:pt x="0" y="94"/>
                  </a:lnTo>
                  <a:lnTo>
                    <a:pt x="6" y="75"/>
                  </a:lnTo>
                  <a:lnTo>
                    <a:pt x="13" y="66"/>
                  </a:lnTo>
                  <a:lnTo>
                    <a:pt x="21" y="61"/>
                  </a:lnTo>
                  <a:lnTo>
                    <a:pt x="35" y="62"/>
                  </a:lnTo>
                  <a:lnTo>
                    <a:pt x="39" y="53"/>
                  </a:lnTo>
                  <a:lnTo>
                    <a:pt x="55" y="52"/>
                  </a:lnTo>
                  <a:lnTo>
                    <a:pt x="62" y="42"/>
                  </a:lnTo>
                  <a:lnTo>
                    <a:pt x="75" y="38"/>
                  </a:lnTo>
                  <a:lnTo>
                    <a:pt x="80" y="27"/>
                  </a:lnTo>
                  <a:lnTo>
                    <a:pt x="90" y="24"/>
                  </a:lnTo>
                  <a:lnTo>
                    <a:pt x="96" y="12"/>
                  </a:lnTo>
                  <a:lnTo>
                    <a:pt x="106" y="3"/>
                  </a:lnTo>
                  <a:lnTo>
                    <a:pt x="113" y="0"/>
                  </a:lnTo>
                  <a:lnTo>
                    <a:pt x="119" y="11"/>
                  </a:lnTo>
                  <a:lnTo>
                    <a:pt x="126" y="26"/>
                  </a:lnTo>
                  <a:lnTo>
                    <a:pt x="124" y="38"/>
                  </a:lnTo>
                  <a:lnTo>
                    <a:pt x="131" y="41"/>
                  </a:lnTo>
                  <a:lnTo>
                    <a:pt x="132" y="50"/>
                  </a:lnTo>
                  <a:lnTo>
                    <a:pt x="143" y="47"/>
                  </a:lnTo>
                  <a:lnTo>
                    <a:pt x="146" y="61"/>
                  </a:lnTo>
                  <a:lnTo>
                    <a:pt x="159" y="64"/>
                  </a:lnTo>
                  <a:lnTo>
                    <a:pt x="162" y="80"/>
                  </a:lnTo>
                  <a:lnTo>
                    <a:pt x="169" y="83"/>
                  </a:lnTo>
                  <a:lnTo>
                    <a:pt x="173" y="89"/>
                  </a:lnTo>
                  <a:lnTo>
                    <a:pt x="176" y="94"/>
                  </a:lnTo>
                  <a:lnTo>
                    <a:pt x="174" y="101"/>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71" name="Freeform 183">
              <a:extLst>
                <a:ext uri="{FF2B5EF4-FFF2-40B4-BE49-F238E27FC236}">
                  <a16:creationId xmlns:a16="http://schemas.microsoft.com/office/drawing/2014/main" id="{BE10D0AD-8DE8-4089-9EE4-D07AE15382F3}"/>
                </a:ext>
              </a:extLst>
            </p:cNvPr>
            <p:cNvSpPr>
              <a:spLocks/>
            </p:cNvSpPr>
            <p:nvPr/>
          </p:nvSpPr>
          <p:spPr bwMode="auto">
            <a:xfrm>
              <a:off x="3980667" y="3373053"/>
              <a:ext cx="204478" cy="239026"/>
            </a:xfrm>
            <a:custGeom>
              <a:avLst/>
              <a:gdLst>
                <a:gd name="T0" fmla="*/ 0 w 172"/>
                <a:gd name="T1" fmla="*/ 2 h 201"/>
                <a:gd name="T2" fmla="*/ 0 w 172"/>
                <a:gd name="T3" fmla="*/ 201 h 201"/>
                <a:gd name="T4" fmla="*/ 10 w 172"/>
                <a:gd name="T5" fmla="*/ 195 h 201"/>
                <a:gd name="T6" fmla="*/ 22 w 172"/>
                <a:gd name="T7" fmla="*/ 186 h 201"/>
                <a:gd name="T8" fmla="*/ 129 w 172"/>
                <a:gd name="T9" fmla="*/ 186 h 201"/>
                <a:gd name="T10" fmla="*/ 138 w 172"/>
                <a:gd name="T11" fmla="*/ 195 h 201"/>
                <a:gd name="T12" fmla="*/ 166 w 172"/>
                <a:gd name="T13" fmla="*/ 172 h 201"/>
                <a:gd name="T14" fmla="*/ 166 w 172"/>
                <a:gd name="T15" fmla="*/ 149 h 201"/>
                <a:gd name="T16" fmla="*/ 172 w 172"/>
                <a:gd name="T17" fmla="*/ 146 h 201"/>
                <a:gd name="T18" fmla="*/ 134 w 172"/>
                <a:gd name="T19" fmla="*/ 85 h 201"/>
                <a:gd name="T20" fmla="*/ 112 w 172"/>
                <a:gd name="T21" fmla="*/ 48 h 201"/>
                <a:gd name="T22" fmla="*/ 112 w 172"/>
                <a:gd name="T23" fmla="*/ 32 h 201"/>
                <a:gd name="T24" fmla="*/ 125 w 172"/>
                <a:gd name="T25" fmla="*/ 45 h 201"/>
                <a:gd name="T26" fmla="*/ 143 w 172"/>
                <a:gd name="T27" fmla="*/ 65 h 201"/>
                <a:gd name="T28" fmla="*/ 151 w 172"/>
                <a:gd name="T29" fmla="*/ 48 h 201"/>
                <a:gd name="T30" fmla="*/ 151 w 172"/>
                <a:gd name="T31" fmla="*/ 28 h 201"/>
                <a:gd name="T32" fmla="*/ 136 w 172"/>
                <a:gd name="T33" fmla="*/ 5 h 201"/>
                <a:gd name="T34" fmla="*/ 112 w 172"/>
                <a:gd name="T35" fmla="*/ 2 h 201"/>
                <a:gd name="T36" fmla="*/ 91 w 172"/>
                <a:gd name="T37" fmla="*/ 3 h 201"/>
                <a:gd name="T38" fmla="*/ 67 w 172"/>
                <a:gd name="T39" fmla="*/ 19 h 201"/>
                <a:gd name="T40" fmla="*/ 55 w 172"/>
                <a:gd name="T41" fmla="*/ 12 h 201"/>
                <a:gd name="T42" fmla="*/ 44 w 172"/>
                <a:gd name="T43" fmla="*/ 0 h 201"/>
                <a:gd name="T44" fmla="*/ 0 w 172"/>
                <a:gd name="T45" fmla="*/ 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201">
                  <a:moveTo>
                    <a:pt x="0" y="2"/>
                  </a:moveTo>
                  <a:lnTo>
                    <a:pt x="0" y="201"/>
                  </a:lnTo>
                  <a:lnTo>
                    <a:pt x="10" y="195"/>
                  </a:lnTo>
                  <a:lnTo>
                    <a:pt x="22" y="186"/>
                  </a:lnTo>
                  <a:lnTo>
                    <a:pt x="129" y="186"/>
                  </a:lnTo>
                  <a:lnTo>
                    <a:pt x="138" y="195"/>
                  </a:lnTo>
                  <a:lnTo>
                    <a:pt x="166" y="172"/>
                  </a:lnTo>
                  <a:lnTo>
                    <a:pt x="166" y="149"/>
                  </a:lnTo>
                  <a:lnTo>
                    <a:pt x="172" y="146"/>
                  </a:lnTo>
                  <a:lnTo>
                    <a:pt x="134" y="85"/>
                  </a:lnTo>
                  <a:lnTo>
                    <a:pt x="112" y="48"/>
                  </a:lnTo>
                  <a:lnTo>
                    <a:pt x="112" y="32"/>
                  </a:lnTo>
                  <a:lnTo>
                    <a:pt x="125" y="45"/>
                  </a:lnTo>
                  <a:lnTo>
                    <a:pt x="143" y="65"/>
                  </a:lnTo>
                  <a:lnTo>
                    <a:pt x="151" y="48"/>
                  </a:lnTo>
                  <a:lnTo>
                    <a:pt x="151" y="28"/>
                  </a:lnTo>
                  <a:lnTo>
                    <a:pt x="136" y="5"/>
                  </a:lnTo>
                  <a:lnTo>
                    <a:pt x="112" y="2"/>
                  </a:lnTo>
                  <a:lnTo>
                    <a:pt x="91" y="3"/>
                  </a:lnTo>
                  <a:lnTo>
                    <a:pt x="67" y="19"/>
                  </a:lnTo>
                  <a:lnTo>
                    <a:pt x="55" y="12"/>
                  </a:lnTo>
                  <a:lnTo>
                    <a:pt x="44" y="0"/>
                  </a:lnTo>
                  <a:lnTo>
                    <a:pt x="0" y="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72" name="Freeform 184">
              <a:extLst>
                <a:ext uri="{FF2B5EF4-FFF2-40B4-BE49-F238E27FC236}">
                  <a16:creationId xmlns:a16="http://schemas.microsoft.com/office/drawing/2014/main" id="{D26219CC-9273-41D3-AF55-AEEB0FACF5AA}"/>
                </a:ext>
              </a:extLst>
            </p:cNvPr>
            <p:cNvSpPr>
              <a:spLocks/>
            </p:cNvSpPr>
            <p:nvPr/>
          </p:nvSpPr>
          <p:spPr bwMode="auto">
            <a:xfrm>
              <a:off x="4678509" y="3269594"/>
              <a:ext cx="237765" cy="285404"/>
            </a:xfrm>
            <a:custGeom>
              <a:avLst/>
              <a:gdLst>
                <a:gd name="T0" fmla="*/ 136 w 177"/>
                <a:gd name="T1" fmla="*/ 0 h 214"/>
                <a:gd name="T2" fmla="*/ 123 w 177"/>
                <a:gd name="T3" fmla="*/ 4 h 214"/>
                <a:gd name="T4" fmla="*/ 119 w 177"/>
                <a:gd name="T5" fmla="*/ 20 h 214"/>
                <a:gd name="T6" fmla="*/ 113 w 177"/>
                <a:gd name="T7" fmla="*/ 38 h 214"/>
                <a:gd name="T8" fmla="*/ 107 w 177"/>
                <a:gd name="T9" fmla="*/ 54 h 214"/>
                <a:gd name="T10" fmla="*/ 97 w 177"/>
                <a:gd name="T11" fmla="*/ 60 h 214"/>
                <a:gd name="T12" fmla="*/ 94 w 177"/>
                <a:gd name="T13" fmla="*/ 78 h 214"/>
                <a:gd name="T14" fmla="*/ 81 w 177"/>
                <a:gd name="T15" fmla="*/ 78 h 214"/>
                <a:gd name="T16" fmla="*/ 65 w 177"/>
                <a:gd name="T17" fmla="*/ 89 h 214"/>
                <a:gd name="T18" fmla="*/ 53 w 177"/>
                <a:gd name="T19" fmla="*/ 97 h 214"/>
                <a:gd name="T20" fmla="*/ 47 w 177"/>
                <a:gd name="T21" fmla="*/ 112 h 214"/>
                <a:gd name="T22" fmla="*/ 6 w 177"/>
                <a:gd name="T23" fmla="*/ 117 h 214"/>
                <a:gd name="T24" fmla="*/ 0 w 177"/>
                <a:gd name="T25" fmla="*/ 129 h 214"/>
                <a:gd name="T26" fmla="*/ 4 w 177"/>
                <a:gd name="T27" fmla="*/ 145 h 214"/>
                <a:gd name="T28" fmla="*/ 15 w 177"/>
                <a:gd name="T29" fmla="*/ 147 h 214"/>
                <a:gd name="T30" fmla="*/ 20 w 177"/>
                <a:gd name="T31" fmla="*/ 155 h 214"/>
                <a:gd name="T32" fmla="*/ 12 w 177"/>
                <a:gd name="T33" fmla="*/ 166 h 214"/>
                <a:gd name="T34" fmla="*/ 0 w 177"/>
                <a:gd name="T35" fmla="*/ 170 h 214"/>
                <a:gd name="T36" fmla="*/ 12 w 177"/>
                <a:gd name="T37" fmla="*/ 174 h 214"/>
                <a:gd name="T38" fmla="*/ 18 w 177"/>
                <a:gd name="T39" fmla="*/ 187 h 214"/>
                <a:gd name="T40" fmla="*/ 42 w 177"/>
                <a:gd name="T41" fmla="*/ 187 h 214"/>
                <a:gd name="T42" fmla="*/ 59 w 177"/>
                <a:gd name="T43" fmla="*/ 181 h 214"/>
                <a:gd name="T44" fmla="*/ 61 w 177"/>
                <a:gd name="T45" fmla="*/ 193 h 214"/>
                <a:gd name="T46" fmla="*/ 78 w 177"/>
                <a:gd name="T47" fmla="*/ 204 h 214"/>
                <a:gd name="T48" fmla="*/ 91 w 177"/>
                <a:gd name="T49" fmla="*/ 213 h 214"/>
                <a:gd name="T50" fmla="*/ 99 w 177"/>
                <a:gd name="T51" fmla="*/ 204 h 214"/>
                <a:gd name="T52" fmla="*/ 127 w 177"/>
                <a:gd name="T53" fmla="*/ 204 h 214"/>
                <a:gd name="T54" fmla="*/ 129 w 177"/>
                <a:gd name="T55" fmla="*/ 192 h 214"/>
                <a:gd name="T56" fmla="*/ 113 w 177"/>
                <a:gd name="T57" fmla="*/ 171 h 214"/>
                <a:gd name="T58" fmla="*/ 102 w 177"/>
                <a:gd name="T59" fmla="*/ 158 h 214"/>
                <a:gd name="T60" fmla="*/ 106 w 177"/>
                <a:gd name="T61" fmla="*/ 144 h 214"/>
                <a:gd name="T62" fmla="*/ 115 w 177"/>
                <a:gd name="T63" fmla="*/ 135 h 214"/>
                <a:gd name="T64" fmla="*/ 140 w 177"/>
                <a:gd name="T65" fmla="*/ 144 h 214"/>
                <a:gd name="T66" fmla="*/ 144 w 177"/>
                <a:gd name="T67" fmla="*/ 134 h 214"/>
                <a:gd name="T68" fmla="*/ 146 w 177"/>
                <a:gd name="T69" fmla="*/ 123 h 214"/>
                <a:gd name="T70" fmla="*/ 161 w 177"/>
                <a:gd name="T71" fmla="*/ 109 h 214"/>
                <a:gd name="T72" fmla="*/ 167 w 177"/>
                <a:gd name="T73" fmla="*/ 95 h 214"/>
                <a:gd name="T74" fmla="*/ 176 w 177"/>
                <a:gd name="T75" fmla="*/ 85 h 214"/>
                <a:gd name="T76" fmla="*/ 174 w 177"/>
                <a:gd name="T77" fmla="*/ 63 h 214"/>
                <a:gd name="T78" fmla="*/ 161 w 177"/>
                <a:gd name="T79" fmla="*/ 52 h 214"/>
                <a:gd name="T80" fmla="*/ 162 w 177"/>
                <a:gd name="T81" fmla="*/ 32 h 214"/>
                <a:gd name="T82" fmla="*/ 155 w 177"/>
                <a:gd name="T83" fmla="*/ 22 h 214"/>
                <a:gd name="T84" fmla="*/ 157 w 177"/>
                <a:gd name="T85" fmla="*/ 9 h 214"/>
                <a:gd name="T86" fmla="*/ 146 w 177"/>
                <a:gd name="T87" fmla="*/ 2 h 214"/>
                <a:gd name="T88" fmla="*/ 136 w 177"/>
                <a:gd name="T89"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7" h="214">
                  <a:moveTo>
                    <a:pt x="136" y="0"/>
                  </a:moveTo>
                  <a:lnTo>
                    <a:pt x="123" y="4"/>
                  </a:lnTo>
                  <a:lnTo>
                    <a:pt x="119" y="20"/>
                  </a:lnTo>
                  <a:lnTo>
                    <a:pt x="113" y="38"/>
                  </a:lnTo>
                  <a:lnTo>
                    <a:pt x="107" y="54"/>
                  </a:lnTo>
                  <a:lnTo>
                    <a:pt x="97" y="60"/>
                  </a:lnTo>
                  <a:lnTo>
                    <a:pt x="94" y="78"/>
                  </a:lnTo>
                  <a:lnTo>
                    <a:pt x="81" y="78"/>
                  </a:lnTo>
                  <a:lnTo>
                    <a:pt x="65" y="89"/>
                  </a:lnTo>
                  <a:lnTo>
                    <a:pt x="53" y="97"/>
                  </a:lnTo>
                  <a:lnTo>
                    <a:pt x="47" y="112"/>
                  </a:lnTo>
                  <a:lnTo>
                    <a:pt x="6" y="117"/>
                  </a:lnTo>
                  <a:lnTo>
                    <a:pt x="0" y="129"/>
                  </a:lnTo>
                  <a:lnTo>
                    <a:pt x="4" y="145"/>
                  </a:lnTo>
                  <a:lnTo>
                    <a:pt x="15" y="147"/>
                  </a:lnTo>
                  <a:lnTo>
                    <a:pt x="20" y="155"/>
                  </a:lnTo>
                  <a:lnTo>
                    <a:pt x="12" y="166"/>
                  </a:lnTo>
                  <a:lnTo>
                    <a:pt x="0" y="170"/>
                  </a:lnTo>
                  <a:lnTo>
                    <a:pt x="12" y="174"/>
                  </a:lnTo>
                  <a:lnTo>
                    <a:pt x="18" y="187"/>
                  </a:lnTo>
                  <a:lnTo>
                    <a:pt x="42" y="187"/>
                  </a:lnTo>
                  <a:lnTo>
                    <a:pt x="59" y="181"/>
                  </a:lnTo>
                  <a:lnTo>
                    <a:pt x="61" y="193"/>
                  </a:lnTo>
                  <a:lnTo>
                    <a:pt x="78" y="204"/>
                  </a:lnTo>
                  <a:lnTo>
                    <a:pt x="91" y="213"/>
                  </a:lnTo>
                  <a:lnTo>
                    <a:pt x="99" y="204"/>
                  </a:lnTo>
                  <a:lnTo>
                    <a:pt x="127" y="204"/>
                  </a:lnTo>
                  <a:lnTo>
                    <a:pt x="129" y="192"/>
                  </a:lnTo>
                  <a:lnTo>
                    <a:pt x="113" y="171"/>
                  </a:lnTo>
                  <a:lnTo>
                    <a:pt x="102" y="158"/>
                  </a:lnTo>
                  <a:lnTo>
                    <a:pt x="106" y="144"/>
                  </a:lnTo>
                  <a:lnTo>
                    <a:pt x="115" y="135"/>
                  </a:lnTo>
                  <a:lnTo>
                    <a:pt x="140" y="144"/>
                  </a:lnTo>
                  <a:lnTo>
                    <a:pt x="144" y="134"/>
                  </a:lnTo>
                  <a:lnTo>
                    <a:pt x="146" y="123"/>
                  </a:lnTo>
                  <a:lnTo>
                    <a:pt x="161" y="109"/>
                  </a:lnTo>
                  <a:lnTo>
                    <a:pt x="167" y="95"/>
                  </a:lnTo>
                  <a:lnTo>
                    <a:pt x="176" y="85"/>
                  </a:lnTo>
                  <a:lnTo>
                    <a:pt x="174" y="63"/>
                  </a:lnTo>
                  <a:lnTo>
                    <a:pt x="161" y="52"/>
                  </a:lnTo>
                  <a:lnTo>
                    <a:pt x="162" y="32"/>
                  </a:lnTo>
                  <a:lnTo>
                    <a:pt x="155" y="22"/>
                  </a:lnTo>
                  <a:lnTo>
                    <a:pt x="157" y="9"/>
                  </a:lnTo>
                  <a:lnTo>
                    <a:pt x="146" y="2"/>
                  </a:lnTo>
                  <a:lnTo>
                    <a:pt x="136"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73" name="Freeform 185">
              <a:extLst>
                <a:ext uri="{FF2B5EF4-FFF2-40B4-BE49-F238E27FC236}">
                  <a16:creationId xmlns:a16="http://schemas.microsoft.com/office/drawing/2014/main" id="{A24DBCAA-0A45-43C6-A88C-DB995E154D39}"/>
                </a:ext>
              </a:extLst>
            </p:cNvPr>
            <p:cNvSpPr>
              <a:spLocks/>
            </p:cNvSpPr>
            <p:nvPr/>
          </p:nvSpPr>
          <p:spPr bwMode="auto">
            <a:xfrm>
              <a:off x="5854258" y="3194676"/>
              <a:ext cx="72518" cy="117729"/>
            </a:xfrm>
            <a:custGeom>
              <a:avLst/>
              <a:gdLst>
                <a:gd name="T0" fmla="*/ 25 w 55"/>
                <a:gd name="T1" fmla="*/ 0 h 87"/>
                <a:gd name="T2" fmla="*/ 20 w 55"/>
                <a:gd name="T3" fmla="*/ 15 h 87"/>
                <a:gd name="T4" fmla="*/ 0 w 55"/>
                <a:gd name="T5" fmla="*/ 23 h 87"/>
                <a:gd name="T6" fmla="*/ 8 w 55"/>
                <a:gd name="T7" fmla="*/ 35 h 87"/>
                <a:gd name="T8" fmla="*/ 7 w 55"/>
                <a:gd name="T9" fmla="*/ 46 h 87"/>
                <a:gd name="T10" fmla="*/ 19 w 55"/>
                <a:gd name="T11" fmla="*/ 51 h 87"/>
                <a:gd name="T12" fmla="*/ 17 w 55"/>
                <a:gd name="T13" fmla="*/ 79 h 87"/>
                <a:gd name="T14" fmla="*/ 32 w 55"/>
                <a:gd name="T15" fmla="*/ 86 h 87"/>
                <a:gd name="T16" fmla="*/ 54 w 55"/>
                <a:gd name="T17" fmla="*/ 72 h 87"/>
                <a:gd name="T18" fmla="*/ 54 w 55"/>
                <a:gd name="T19" fmla="*/ 38 h 87"/>
                <a:gd name="T20" fmla="*/ 25 w 55"/>
                <a:gd name="T2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87">
                  <a:moveTo>
                    <a:pt x="25" y="0"/>
                  </a:moveTo>
                  <a:lnTo>
                    <a:pt x="20" y="15"/>
                  </a:lnTo>
                  <a:lnTo>
                    <a:pt x="0" y="23"/>
                  </a:lnTo>
                  <a:lnTo>
                    <a:pt x="8" y="35"/>
                  </a:lnTo>
                  <a:lnTo>
                    <a:pt x="7" y="46"/>
                  </a:lnTo>
                  <a:lnTo>
                    <a:pt x="19" y="51"/>
                  </a:lnTo>
                  <a:lnTo>
                    <a:pt x="17" y="79"/>
                  </a:lnTo>
                  <a:lnTo>
                    <a:pt x="32" y="86"/>
                  </a:lnTo>
                  <a:lnTo>
                    <a:pt x="54" y="72"/>
                  </a:lnTo>
                  <a:lnTo>
                    <a:pt x="54" y="38"/>
                  </a:lnTo>
                  <a:lnTo>
                    <a:pt x="25"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74" name="Freeform 186">
              <a:extLst>
                <a:ext uri="{FF2B5EF4-FFF2-40B4-BE49-F238E27FC236}">
                  <a16:creationId xmlns:a16="http://schemas.microsoft.com/office/drawing/2014/main" id="{B86CC695-4780-4E78-A0FD-BD3940346392}"/>
                </a:ext>
              </a:extLst>
            </p:cNvPr>
            <p:cNvSpPr>
              <a:spLocks/>
            </p:cNvSpPr>
            <p:nvPr/>
          </p:nvSpPr>
          <p:spPr bwMode="auto">
            <a:xfrm>
              <a:off x="6059925" y="2798678"/>
              <a:ext cx="71330" cy="145080"/>
            </a:xfrm>
            <a:custGeom>
              <a:avLst/>
              <a:gdLst>
                <a:gd name="T0" fmla="*/ 3 w 54"/>
                <a:gd name="T1" fmla="*/ 9 h 109"/>
                <a:gd name="T2" fmla="*/ 3 w 54"/>
                <a:gd name="T3" fmla="*/ 20 h 109"/>
                <a:gd name="T4" fmla="*/ 8 w 54"/>
                <a:gd name="T5" fmla="*/ 34 h 109"/>
                <a:gd name="T6" fmla="*/ 12 w 54"/>
                <a:gd name="T7" fmla="*/ 52 h 109"/>
                <a:gd name="T8" fmla="*/ 17 w 54"/>
                <a:gd name="T9" fmla="*/ 72 h 109"/>
                <a:gd name="T10" fmla="*/ 26 w 54"/>
                <a:gd name="T11" fmla="*/ 81 h 109"/>
                <a:gd name="T12" fmla="*/ 21 w 54"/>
                <a:gd name="T13" fmla="*/ 95 h 109"/>
                <a:gd name="T14" fmla="*/ 23 w 54"/>
                <a:gd name="T15" fmla="*/ 101 h 109"/>
                <a:gd name="T16" fmla="*/ 29 w 54"/>
                <a:gd name="T17" fmla="*/ 101 h 109"/>
                <a:gd name="T18" fmla="*/ 45 w 54"/>
                <a:gd name="T19" fmla="*/ 108 h 109"/>
                <a:gd name="T20" fmla="*/ 53 w 54"/>
                <a:gd name="T21" fmla="*/ 102 h 109"/>
                <a:gd name="T22" fmla="*/ 45 w 54"/>
                <a:gd name="T23" fmla="*/ 83 h 109"/>
                <a:gd name="T24" fmla="*/ 34 w 54"/>
                <a:gd name="T25" fmla="*/ 55 h 109"/>
                <a:gd name="T26" fmla="*/ 44 w 54"/>
                <a:gd name="T27" fmla="*/ 57 h 109"/>
                <a:gd name="T28" fmla="*/ 30 w 54"/>
                <a:gd name="T29" fmla="*/ 37 h 109"/>
                <a:gd name="T30" fmla="*/ 19 w 54"/>
                <a:gd name="T31" fmla="*/ 23 h 109"/>
                <a:gd name="T32" fmla="*/ 16 w 54"/>
                <a:gd name="T33" fmla="*/ 3 h 109"/>
                <a:gd name="T34" fmla="*/ 0 w 54"/>
                <a:gd name="T35" fmla="*/ 0 h 109"/>
                <a:gd name="T36" fmla="*/ 3 w 54"/>
                <a:gd name="T37" fmla="*/ 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109">
                  <a:moveTo>
                    <a:pt x="3" y="9"/>
                  </a:moveTo>
                  <a:lnTo>
                    <a:pt x="3" y="20"/>
                  </a:lnTo>
                  <a:lnTo>
                    <a:pt x="8" y="34"/>
                  </a:lnTo>
                  <a:lnTo>
                    <a:pt x="12" y="52"/>
                  </a:lnTo>
                  <a:lnTo>
                    <a:pt x="17" y="72"/>
                  </a:lnTo>
                  <a:lnTo>
                    <a:pt x="26" y="81"/>
                  </a:lnTo>
                  <a:lnTo>
                    <a:pt x="21" y="95"/>
                  </a:lnTo>
                  <a:lnTo>
                    <a:pt x="23" y="101"/>
                  </a:lnTo>
                  <a:lnTo>
                    <a:pt x="29" y="101"/>
                  </a:lnTo>
                  <a:lnTo>
                    <a:pt x="45" y="108"/>
                  </a:lnTo>
                  <a:lnTo>
                    <a:pt x="53" y="102"/>
                  </a:lnTo>
                  <a:lnTo>
                    <a:pt x="45" y="83"/>
                  </a:lnTo>
                  <a:lnTo>
                    <a:pt x="34" y="55"/>
                  </a:lnTo>
                  <a:lnTo>
                    <a:pt x="44" y="57"/>
                  </a:lnTo>
                  <a:lnTo>
                    <a:pt x="30" y="37"/>
                  </a:lnTo>
                  <a:lnTo>
                    <a:pt x="19" y="23"/>
                  </a:lnTo>
                  <a:lnTo>
                    <a:pt x="16" y="3"/>
                  </a:lnTo>
                  <a:lnTo>
                    <a:pt x="0" y="0"/>
                  </a:lnTo>
                  <a:lnTo>
                    <a:pt x="3" y="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75" name="Freeform 187">
              <a:extLst>
                <a:ext uri="{FF2B5EF4-FFF2-40B4-BE49-F238E27FC236}">
                  <a16:creationId xmlns:a16="http://schemas.microsoft.com/office/drawing/2014/main" id="{DFC54DD0-45AC-4315-BF9E-57A9C8F80287}"/>
                </a:ext>
              </a:extLst>
            </p:cNvPr>
            <p:cNvSpPr>
              <a:spLocks/>
            </p:cNvSpPr>
            <p:nvPr/>
          </p:nvSpPr>
          <p:spPr bwMode="auto">
            <a:xfrm>
              <a:off x="4800958" y="3336188"/>
              <a:ext cx="545671" cy="569618"/>
            </a:xfrm>
            <a:custGeom>
              <a:avLst/>
              <a:gdLst>
                <a:gd name="T0" fmla="*/ 407 w 409"/>
                <a:gd name="T1" fmla="*/ 105 h 426"/>
                <a:gd name="T2" fmla="*/ 377 w 409"/>
                <a:gd name="T3" fmla="*/ 129 h 426"/>
                <a:gd name="T4" fmla="*/ 359 w 409"/>
                <a:gd name="T5" fmla="*/ 163 h 426"/>
                <a:gd name="T6" fmla="*/ 349 w 409"/>
                <a:gd name="T7" fmla="*/ 184 h 426"/>
                <a:gd name="T8" fmla="*/ 341 w 409"/>
                <a:gd name="T9" fmla="*/ 143 h 426"/>
                <a:gd name="T10" fmla="*/ 309 w 409"/>
                <a:gd name="T11" fmla="*/ 131 h 426"/>
                <a:gd name="T12" fmla="*/ 281 w 409"/>
                <a:gd name="T13" fmla="*/ 148 h 426"/>
                <a:gd name="T14" fmla="*/ 292 w 409"/>
                <a:gd name="T15" fmla="*/ 190 h 426"/>
                <a:gd name="T16" fmla="*/ 272 w 409"/>
                <a:gd name="T17" fmla="*/ 198 h 426"/>
                <a:gd name="T18" fmla="*/ 267 w 409"/>
                <a:gd name="T19" fmla="*/ 221 h 426"/>
                <a:gd name="T20" fmla="*/ 238 w 409"/>
                <a:gd name="T21" fmla="*/ 243 h 426"/>
                <a:gd name="T22" fmla="*/ 213 w 409"/>
                <a:gd name="T23" fmla="*/ 262 h 426"/>
                <a:gd name="T24" fmla="*/ 191 w 409"/>
                <a:gd name="T25" fmla="*/ 293 h 426"/>
                <a:gd name="T26" fmla="*/ 176 w 409"/>
                <a:gd name="T27" fmla="*/ 357 h 426"/>
                <a:gd name="T28" fmla="*/ 176 w 409"/>
                <a:gd name="T29" fmla="*/ 383 h 426"/>
                <a:gd name="T30" fmla="*/ 156 w 409"/>
                <a:gd name="T31" fmla="*/ 417 h 426"/>
                <a:gd name="T32" fmla="*/ 131 w 409"/>
                <a:gd name="T33" fmla="*/ 419 h 426"/>
                <a:gd name="T34" fmla="*/ 110 w 409"/>
                <a:gd name="T35" fmla="*/ 361 h 426"/>
                <a:gd name="T36" fmla="*/ 77 w 409"/>
                <a:gd name="T37" fmla="*/ 290 h 426"/>
                <a:gd name="T38" fmla="*/ 70 w 409"/>
                <a:gd name="T39" fmla="*/ 224 h 426"/>
                <a:gd name="T40" fmla="*/ 59 w 409"/>
                <a:gd name="T41" fmla="*/ 184 h 426"/>
                <a:gd name="T42" fmla="*/ 48 w 409"/>
                <a:gd name="T43" fmla="*/ 208 h 426"/>
                <a:gd name="T44" fmla="*/ 11 w 409"/>
                <a:gd name="T45" fmla="*/ 185 h 426"/>
                <a:gd name="T46" fmla="*/ 7 w 409"/>
                <a:gd name="T47" fmla="*/ 175 h 426"/>
                <a:gd name="T48" fmla="*/ 8 w 409"/>
                <a:gd name="T49" fmla="*/ 154 h 426"/>
                <a:gd name="T50" fmla="*/ 38 w 409"/>
                <a:gd name="T51" fmla="*/ 142 h 426"/>
                <a:gd name="T52" fmla="*/ 11 w 409"/>
                <a:gd name="T53" fmla="*/ 109 h 426"/>
                <a:gd name="T54" fmla="*/ 25 w 409"/>
                <a:gd name="T55" fmla="*/ 86 h 426"/>
                <a:gd name="T56" fmla="*/ 53 w 409"/>
                <a:gd name="T57" fmla="*/ 84 h 426"/>
                <a:gd name="T58" fmla="*/ 70 w 409"/>
                <a:gd name="T59" fmla="*/ 59 h 426"/>
                <a:gd name="T60" fmla="*/ 86 w 409"/>
                <a:gd name="T61" fmla="*/ 36 h 426"/>
                <a:gd name="T62" fmla="*/ 104 w 409"/>
                <a:gd name="T63" fmla="*/ 0 h 426"/>
                <a:gd name="T64" fmla="*/ 132 w 409"/>
                <a:gd name="T65" fmla="*/ 10 h 426"/>
                <a:gd name="T66" fmla="*/ 154 w 409"/>
                <a:gd name="T67" fmla="*/ 41 h 426"/>
                <a:gd name="T68" fmla="*/ 169 w 409"/>
                <a:gd name="T69" fmla="*/ 78 h 426"/>
                <a:gd name="T70" fmla="*/ 198 w 409"/>
                <a:gd name="T71" fmla="*/ 97 h 426"/>
                <a:gd name="T72" fmla="*/ 238 w 409"/>
                <a:gd name="T73" fmla="*/ 109 h 426"/>
                <a:gd name="T74" fmla="*/ 265 w 409"/>
                <a:gd name="T75" fmla="*/ 115 h 426"/>
                <a:gd name="T76" fmla="*/ 287 w 409"/>
                <a:gd name="T77" fmla="*/ 101 h 426"/>
                <a:gd name="T78" fmla="*/ 310 w 409"/>
                <a:gd name="T79" fmla="*/ 94 h 426"/>
                <a:gd name="T80" fmla="*/ 342 w 409"/>
                <a:gd name="T81" fmla="*/ 83 h 426"/>
                <a:gd name="T82" fmla="*/ 383 w 409"/>
                <a:gd name="T83" fmla="*/ 73 h 426"/>
                <a:gd name="T84" fmla="*/ 408 w 409"/>
                <a:gd name="T85" fmla="*/ 97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9" h="426">
                  <a:moveTo>
                    <a:pt x="408" y="97"/>
                  </a:moveTo>
                  <a:lnTo>
                    <a:pt x="407" y="105"/>
                  </a:lnTo>
                  <a:lnTo>
                    <a:pt x="388" y="115"/>
                  </a:lnTo>
                  <a:lnTo>
                    <a:pt x="377" y="129"/>
                  </a:lnTo>
                  <a:lnTo>
                    <a:pt x="372" y="148"/>
                  </a:lnTo>
                  <a:lnTo>
                    <a:pt x="359" y="163"/>
                  </a:lnTo>
                  <a:lnTo>
                    <a:pt x="359" y="192"/>
                  </a:lnTo>
                  <a:lnTo>
                    <a:pt x="349" y="184"/>
                  </a:lnTo>
                  <a:lnTo>
                    <a:pt x="344" y="160"/>
                  </a:lnTo>
                  <a:lnTo>
                    <a:pt x="341" y="143"/>
                  </a:lnTo>
                  <a:lnTo>
                    <a:pt x="323" y="133"/>
                  </a:lnTo>
                  <a:lnTo>
                    <a:pt x="309" y="131"/>
                  </a:lnTo>
                  <a:lnTo>
                    <a:pt x="291" y="118"/>
                  </a:lnTo>
                  <a:lnTo>
                    <a:pt x="281" y="148"/>
                  </a:lnTo>
                  <a:lnTo>
                    <a:pt x="291" y="152"/>
                  </a:lnTo>
                  <a:lnTo>
                    <a:pt x="292" y="190"/>
                  </a:lnTo>
                  <a:lnTo>
                    <a:pt x="282" y="192"/>
                  </a:lnTo>
                  <a:lnTo>
                    <a:pt x="272" y="198"/>
                  </a:lnTo>
                  <a:lnTo>
                    <a:pt x="272" y="216"/>
                  </a:lnTo>
                  <a:lnTo>
                    <a:pt x="267" y="221"/>
                  </a:lnTo>
                  <a:lnTo>
                    <a:pt x="256" y="237"/>
                  </a:lnTo>
                  <a:lnTo>
                    <a:pt x="238" y="243"/>
                  </a:lnTo>
                  <a:lnTo>
                    <a:pt x="228" y="256"/>
                  </a:lnTo>
                  <a:lnTo>
                    <a:pt x="213" y="262"/>
                  </a:lnTo>
                  <a:lnTo>
                    <a:pt x="206" y="282"/>
                  </a:lnTo>
                  <a:lnTo>
                    <a:pt x="191" y="293"/>
                  </a:lnTo>
                  <a:lnTo>
                    <a:pt x="170" y="305"/>
                  </a:lnTo>
                  <a:lnTo>
                    <a:pt x="176" y="357"/>
                  </a:lnTo>
                  <a:lnTo>
                    <a:pt x="170" y="359"/>
                  </a:lnTo>
                  <a:lnTo>
                    <a:pt x="176" y="383"/>
                  </a:lnTo>
                  <a:lnTo>
                    <a:pt x="165" y="400"/>
                  </a:lnTo>
                  <a:lnTo>
                    <a:pt x="156" y="417"/>
                  </a:lnTo>
                  <a:lnTo>
                    <a:pt x="139" y="425"/>
                  </a:lnTo>
                  <a:lnTo>
                    <a:pt x="131" y="419"/>
                  </a:lnTo>
                  <a:lnTo>
                    <a:pt x="128" y="400"/>
                  </a:lnTo>
                  <a:lnTo>
                    <a:pt x="110" y="361"/>
                  </a:lnTo>
                  <a:lnTo>
                    <a:pt x="95" y="316"/>
                  </a:lnTo>
                  <a:lnTo>
                    <a:pt x="77" y="290"/>
                  </a:lnTo>
                  <a:lnTo>
                    <a:pt x="70" y="255"/>
                  </a:lnTo>
                  <a:lnTo>
                    <a:pt x="70" y="224"/>
                  </a:lnTo>
                  <a:lnTo>
                    <a:pt x="66" y="199"/>
                  </a:lnTo>
                  <a:lnTo>
                    <a:pt x="59" y="184"/>
                  </a:lnTo>
                  <a:lnTo>
                    <a:pt x="59" y="198"/>
                  </a:lnTo>
                  <a:lnTo>
                    <a:pt x="48" y="208"/>
                  </a:lnTo>
                  <a:lnTo>
                    <a:pt x="27" y="207"/>
                  </a:lnTo>
                  <a:lnTo>
                    <a:pt x="11" y="185"/>
                  </a:lnTo>
                  <a:lnTo>
                    <a:pt x="20" y="174"/>
                  </a:lnTo>
                  <a:lnTo>
                    <a:pt x="7" y="175"/>
                  </a:lnTo>
                  <a:lnTo>
                    <a:pt x="0" y="163"/>
                  </a:lnTo>
                  <a:lnTo>
                    <a:pt x="8" y="154"/>
                  </a:lnTo>
                  <a:lnTo>
                    <a:pt x="36" y="154"/>
                  </a:lnTo>
                  <a:lnTo>
                    <a:pt x="38" y="142"/>
                  </a:lnTo>
                  <a:lnTo>
                    <a:pt x="23" y="121"/>
                  </a:lnTo>
                  <a:lnTo>
                    <a:pt x="11" y="109"/>
                  </a:lnTo>
                  <a:lnTo>
                    <a:pt x="15" y="94"/>
                  </a:lnTo>
                  <a:lnTo>
                    <a:pt x="25" y="86"/>
                  </a:lnTo>
                  <a:lnTo>
                    <a:pt x="49" y="94"/>
                  </a:lnTo>
                  <a:lnTo>
                    <a:pt x="53" y="84"/>
                  </a:lnTo>
                  <a:lnTo>
                    <a:pt x="55" y="73"/>
                  </a:lnTo>
                  <a:lnTo>
                    <a:pt x="70" y="59"/>
                  </a:lnTo>
                  <a:lnTo>
                    <a:pt x="76" y="46"/>
                  </a:lnTo>
                  <a:lnTo>
                    <a:pt x="86" y="36"/>
                  </a:lnTo>
                  <a:lnTo>
                    <a:pt x="84" y="14"/>
                  </a:lnTo>
                  <a:lnTo>
                    <a:pt x="104" y="0"/>
                  </a:lnTo>
                  <a:lnTo>
                    <a:pt x="121" y="2"/>
                  </a:lnTo>
                  <a:lnTo>
                    <a:pt x="132" y="10"/>
                  </a:lnTo>
                  <a:lnTo>
                    <a:pt x="132" y="36"/>
                  </a:lnTo>
                  <a:lnTo>
                    <a:pt x="154" y="41"/>
                  </a:lnTo>
                  <a:lnTo>
                    <a:pt x="166" y="53"/>
                  </a:lnTo>
                  <a:lnTo>
                    <a:pt x="169" y="78"/>
                  </a:lnTo>
                  <a:lnTo>
                    <a:pt x="180" y="92"/>
                  </a:lnTo>
                  <a:lnTo>
                    <a:pt x="198" y="97"/>
                  </a:lnTo>
                  <a:lnTo>
                    <a:pt x="220" y="105"/>
                  </a:lnTo>
                  <a:lnTo>
                    <a:pt x="238" y="109"/>
                  </a:lnTo>
                  <a:lnTo>
                    <a:pt x="250" y="116"/>
                  </a:lnTo>
                  <a:lnTo>
                    <a:pt x="265" y="115"/>
                  </a:lnTo>
                  <a:lnTo>
                    <a:pt x="279" y="115"/>
                  </a:lnTo>
                  <a:lnTo>
                    <a:pt x="287" y="101"/>
                  </a:lnTo>
                  <a:lnTo>
                    <a:pt x="294" y="87"/>
                  </a:lnTo>
                  <a:lnTo>
                    <a:pt x="310" y="94"/>
                  </a:lnTo>
                  <a:lnTo>
                    <a:pt x="334" y="94"/>
                  </a:lnTo>
                  <a:lnTo>
                    <a:pt x="342" y="83"/>
                  </a:lnTo>
                  <a:lnTo>
                    <a:pt x="360" y="73"/>
                  </a:lnTo>
                  <a:lnTo>
                    <a:pt x="383" y="73"/>
                  </a:lnTo>
                  <a:lnTo>
                    <a:pt x="399" y="82"/>
                  </a:lnTo>
                  <a:lnTo>
                    <a:pt x="408" y="97"/>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76" name="Freeform 188">
              <a:extLst>
                <a:ext uri="{FF2B5EF4-FFF2-40B4-BE49-F238E27FC236}">
                  <a16:creationId xmlns:a16="http://schemas.microsoft.com/office/drawing/2014/main" id="{C855A210-DFB1-4647-B824-37A8F8D98902}"/>
                </a:ext>
              </a:extLst>
            </p:cNvPr>
            <p:cNvSpPr>
              <a:spLocks/>
            </p:cNvSpPr>
            <p:nvPr/>
          </p:nvSpPr>
          <p:spPr bwMode="auto">
            <a:xfrm>
              <a:off x="5173060" y="3494349"/>
              <a:ext cx="108183" cy="114161"/>
            </a:xfrm>
            <a:custGeom>
              <a:avLst/>
              <a:gdLst>
                <a:gd name="T0" fmla="*/ 79 w 80"/>
                <a:gd name="T1" fmla="*/ 72 h 85"/>
                <a:gd name="T2" fmla="*/ 72 w 80"/>
                <a:gd name="T3" fmla="*/ 84 h 85"/>
                <a:gd name="T4" fmla="*/ 64 w 80"/>
                <a:gd name="T5" fmla="*/ 82 h 85"/>
                <a:gd name="T6" fmla="*/ 52 w 80"/>
                <a:gd name="T7" fmla="*/ 66 h 85"/>
                <a:gd name="T8" fmla="*/ 54 w 80"/>
                <a:gd name="T9" fmla="*/ 52 h 85"/>
                <a:gd name="T10" fmla="*/ 46 w 80"/>
                <a:gd name="T11" fmla="*/ 41 h 85"/>
                <a:gd name="T12" fmla="*/ 42 w 80"/>
                <a:gd name="T13" fmla="*/ 52 h 85"/>
                <a:gd name="T14" fmla="*/ 29 w 80"/>
                <a:gd name="T15" fmla="*/ 57 h 85"/>
                <a:gd name="T16" fmla="*/ 28 w 80"/>
                <a:gd name="T17" fmla="*/ 73 h 85"/>
                <a:gd name="T18" fmla="*/ 11 w 80"/>
                <a:gd name="T19" fmla="*/ 71 h 85"/>
                <a:gd name="T20" fmla="*/ 10 w 80"/>
                <a:gd name="T21" fmla="*/ 33 h 85"/>
                <a:gd name="T22" fmla="*/ 0 w 80"/>
                <a:gd name="T23" fmla="*/ 30 h 85"/>
                <a:gd name="T24" fmla="*/ 10 w 80"/>
                <a:gd name="T25" fmla="*/ 0 h 85"/>
                <a:gd name="T26" fmla="*/ 28 w 80"/>
                <a:gd name="T27" fmla="*/ 12 h 85"/>
                <a:gd name="T28" fmla="*/ 43 w 80"/>
                <a:gd name="T29" fmla="*/ 15 h 85"/>
                <a:gd name="T30" fmla="*/ 61 w 80"/>
                <a:gd name="T31" fmla="*/ 24 h 85"/>
                <a:gd name="T32" fmla="*/ 64 w 80"/>
                <a:gd name="T33" fmla="*/ 42 h 85"/>
                <a:gd name="T34" fmla="*/ 70 w 80"/>
                <a:gd name="T35" fmla="*/ 65 h 85"/>
                <a:gd name="T36" fmla="*/ 79 w 80"/>
                <a:gd name="T37" fmla="*/ 7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85">
                  <a:moveTo>
                    <a:pt x="79" y="72"/>
                  </a:moveTo>
                  <a:lnTo>
                    <a:pt x="72" y="84"/>
                  </a:lnTo>
                  <a:lnTo>
                    <a:pt x="64" y="82"/>
                  </a:lnTo>
                  <a:lnTo>
                    <a:pt x="52" y="66"/>
                  </a:lnTo>
                  <a:lnTo>
                    <a:pt x="54" y="52"/>
                  </a:lnTo>
                  <a:lnTo>
                    <a:pt x="46" y="41"/>
                  </a:lnTo>
                  <a:lnTo>
                    <a:pt x="42" y="52"/>
                  </a:lnTo>
                  <a:lnTo>
                    <a:pt x="29" y="57"/>
                  </a:lnTo>
                  <a:lnTo>
                    <a:pt x="28" y="73"/>
                  </a:lnTo>
                  <a:lnTo>
                    <a:pt x="11" y="71"/>
                  </a:lnTo>
                  <a:lnTo>
                    <a:pt x="10" y="33"/>
                  </a:lnTo>
                  <a:lnTo>
                    <a:pt x="0" y="30"/>
                  </a:lnTo>
                  <a:lnTo>
                    <a:pt x="10" y="0"/>
                  </a:lnTo>
                  <a:lnTo>
                    <a:pt x="28" y="12"/>
                  </a:lnTo>
                  <a:lnTo>
                    <a:pt x="43" y="15"/>
                  </a:lnTo>
                  <a:lnTo>
                    <a:pt x="61" y="24"/>
                  </a:lnTo>
                  <a:lnTo>
                    <a:pt x="64" y="42"/>
                  </a:lnTo>
                  <a:lnTo>
                    <a:pt x="70" y="65"/>
                  </a:lnTo>
                  <a:lnTo>
                    <a:pt x="79" y="7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77" name="Freeform 189">
              <a:extLst>
                <a:ext uri="{FF2B5EF4-FFF2-40B4-BE49-F238E27FC236}">
                  <a16:creationId xmlns:a16="http://schemas.microsoft.com/office/drawing/2014/main" id="{1B789AFF-241E-4905-BE0F-C25681590BB0}"/>
                </a:ext>
              </a:extLst>
            </p:cNvPr>
            <p:cNvSpPr>
              <a:spLocks/>
            </p:cNvSpPr>
            <p:nvPr/>
          </p:nvSpPr>
          <p:spPr bwMode="auto">
            <a:xfrm>
              <a:off x="3293526" y="3273162"/>
              <a:ext cx="199723" cy="186702"/>
            </a:xfrm>
            <a:custGeom>
              <a:avLst/>
              <a:gdLst>
                <a:gd name="T0" fmla="*/ 118 w 149"/>
                <a:gd name="T1" fmla="*/ 19 h 140"/>
                <a:gd name="T2" fmla="*/ 135 w 149"/>
                <a:gd name="T3" fmla="*/ 16 h 140"/>
                <a:gd name="T4" fmla="*/ 146 w 149"/>
                <a:gd name="T5" fmla="*/ 27 h 140"/>
                <a:gd name="T6" fmla="*/ 139 w 149"/>
                <a:gd name="T7" fmla="*/ 41 h 140"/>
                <a:gd name="T8" fmla="*/ 148 w 149"/>
                <a:gd name="T9" fmla="*/ 46 h 140"/>
                <a:gd name="T10" fmla="*/ 141 w 149"/>
                <a:gd name="T11" fmla="*/ 70 h 140"/>
                <a:gd name="T12" fmla="*/ 126 w 149"/>
                <a:gd name="T13" fmla="*/ 71 h 140"/>
                <a:gd name="T14" fmla="*/ 122 w 149"/>
                <a:gd name="T15" fmla="*/ 82 h 140"/>
                <a:gd name="T16" fmla="*/ 130 w 149"/>
                <a:gd name="T17" fmla="*/ 89 h 140"/>
                <a:gd name="T18" fmla="*/ 111 w 149"/>
                <a:gd name="T19" fmla="*/ 105 h 140"/>
                <a:gd name="T20" fmla="*/ 100 w 149"/>
                <a:gd name="T21" fmla="*/ 118 h 140"/>
                <a:gd name="T22" fmla="*/ 88 w 149"/>
                <a:gd name="T23" fmla="*/ 124 h 140"/>
                <a:gd name="T24" fmla="*/ 77 w 149"/>
                <a:gd name="T25" fmla="*/ 124 h 140"/>
                <a:gd name="T26" fmla="*/ 74 w 149"/>
                <a:gd name="T27" fmla="*/ 131 h 140"/>
                <a:gd name="T28" fmla="*/ 63 w 149"/>
                <a:gd name="T29" fmla="*/ 130 h 140"/>
                <a:gd name="T30" fmla="*/ 61 w 149"/>
                <a:gd name="T31" fmla="*/ 139 h 140"/>
                <a:gd name="T32" fmla="*/ 46 w 149"/>
                <a:gd name="T33" fmla="*/ 139 h 140"/>
                <a:gd name="T34" fmla="*/ 48 w 149"/>
                <a:gd name="T35" fmla="*/ 132 h 140"/>
                <a:gd name="T36" fmla="*/ 37 w 149"/>
                <a:gd name="T37" fmla="*/ 132 h 140"/>
                <a:gd name="T38" fmla="*/ 0 w 149"/>
                <a:gd name="T39" fmla="*/ 132 h 140"/>
                <a:gd name="T40" fmla="*/ 9 w 149"/>
                <a:gd name="T41" fmla="*/ 120 h 140"/>
                <a:gd name="T42" fmla="*/ 17 w 149"/>
                <a:gd name="T43" fmla="*/ 115 h 140"/>
                <a:gd name="T44" fmla="*/ 25 w 149"/>
                <a:gd name="T45" fmla="*/ 108 h 140"/>
                <a:gd name="T46" fmla="*/ 31 w 149"/>
                <a:gd name="T47" fmla="*/ 64 h 140"/>
                <a:gd name="T48" fmla="*/ 36 w 149"/>
                <a:gd name="T49" fmla="*/ 49 h 140"/>
                <a:gd name="T50" fmla="*/ 42 w 149"/>
                <a:gd name="T51" fmla="*/ 51 h 140"/>
                <a:gd name="T52" fmla="*/ 43 w 149"/>
                <a:gd name="T53" fmla="*/ 41 h 140"/>
                <a:gd name="T54" fmla="*/ 67 w 149"/>
                <a:gd name="T55" fmla="*/ 40 h 140"/>
                <a:gd name="T56" fmla="*/ 67 w 149"/>
                <a:gd name="T57" fmla="*/ 28 h 140"/>
                <a:gd name="T58" fmla="*/ 76 w 149"/>
                <a:gd name="T59" fmla="*/ 19 h 140"/>
                <a:gd name="T60" fmla="*/ 82 w 149"/>
                <a:gd name="T61" fmla="*/ 9 h 140"/>
                <a:gd name="T62" fmla="*/ 85 w 149"/>
                <a:gd name="T63" fmla="*/ 0 h 140"/>
                <a:gd name="T64" fmla="*/ 96 w 149"/>
                <a:gd name="T65" fmla="*/ 7 h 140"/>
                <a:gd name="T66" fmla="*/ 108 w 149"/>
                <a:gd name="T67" fmla="*/ 8 h 140"/>
                <a:gd name="T68" fmla="*/ 118 w 149"/>
                <a:gd name="T69" fmla="*/ 1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9" h="140">
                  <a:moveTo>
                    <a:pt x="118" y="19"/>
                  </a:moveTo>
                  <a:lnTo>
                    <a:pt x="135" y="16"/>
                  </a:lnTo>
                  <a:lnTo>
                    <a:pt x="146" y="27"/>
                  </a:lnTo>
                  <a:lnTo>
                    <a:pt x="139" y="41"/>
                  </a:lnTo>
                  <a:lnTo>
                    <a:pt x="148" y="46"/>
                  </a:lnTo>
                  <a:lnTo>
                    <a:pt x="141" y="70"/>
                  </a:lnTo>
                  <a:lnTo>
                    <a:pt x="126" y="71"/>
                  </a:lnTo>
                  <a:lnTo>
                    <a:pt x="122" y="82"/>
                  </a:lnTo>
                  <a:lnTo>
                    <a:pt x="130" y="89"/>
                  </a:lnTo>
                  <a:lnTo>
                    <a:pt x="111" y="105"/>
                  </a:lnTo>
                  <a:lnTo>
                    <a:pt x="100" y="118"/>
                  </a:lnTo>
                  <a:lnTo>
                    <a:pt x="88" y="124"/>
                  </a:lnTo>
                  <a:lnTo>
                    <a:pt x="77" y="124"/>
                  </a:lnTo>
                  <a:lnTo>
                    <a:pt x="74" y="131"/>
                  </a:lnTo>
                  <a:lnTo>
                    <a:pt x="63" y="130"/>
                  </a:lnTo>
                  <a:lnTo>
                    <a:pt x="61" y="139"/>
                  </a:lnTo>
                  <a:lnTo>
                    <a:pt x="46" y="139"/>
                  </a:lnTo>
                  <a:lnTo>
                    <a:pt x="48" y="132"/>
                  </a:lnTo>
                  <a:lnTo>
                    <a:pt x="37" y="132"/>
                  </a:lnTo>
                  <a:lnTo>
                    <a:pt x="0" y="132"/>
                  </a:lnTo>
                  <a:lnTo>
                    <a:pt x="9" y="120"/>
                  </a:lnTo>
                  <a:lnTo>
                    <a:pt x="17" y="115"/>
                  </a:lnTo>
                  <a:lnTo>
                    <a:pt x="25" y="108"/>
                  </a:lnTo>
                  <a:lnTo>
                    <a:pt x="31" y="64"/>
                  </a:lnTo>
                  <a:lnTo>
                    <a:pt x="36" y="49"/>
                  </a:lnTo>
                  <a:lnTo>
                    <a:pt x="42" y="51"/>
                  </a:lnTo>
                  <a:lnTo>
                    <a:pt x="43" y="41"/>
                  </a:lnTo>
                  <a:lnTo>
                    <a:pt x="67" y="40"/>
                  </a:lnTo>
                  <a:lnTo>
                    <a:pt x="67" y="28"/>
                  </a:lnTo>
                  <a:lnTo>
                    <a:pt x="76" y="19"/>
                  </a:lnTo>
                  <a:lnTo>
                    <a:pt x="82" y="9"/>
                  </a:lnTo>
                  <a:lnTo>
                    <a:pt x="85" y="0"/>
                  </a:lnTo>
                  <a:lnTo>
                    <a:pt x="96" y="7"/>
                  </a:lnTo>
                  <a:lnTo>
                    <a:pt x="108" y="8"/>
                  </a:lnTo>
                  <a:lnTo>
                    <a:pt x="118" y="1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78" name="Freeform 190">
              <a:extLst>
                <a:ext uri="{FF2B5EF4-FFF2-40B4-BE49-F238E27FC236}">
                  <a16:creationId xmlns:a16="http://schemas.microsoft.com/office/drawing/2014/main" id="{9D583804-9842-4557-8A3A-B914665BCC0F}"/>
                </a:ext>
              </a:extLst>
            </p:cNvPr>
            <p:cNvSpPr>
              <a:spLocks/>
            </p:cNvSpPr>
            <p:nvPr/>
          </p:nvSpPr>
          <p:spPr bwMode="auto">
            <a:xfrm>
              <a:off x="3355345" y="3242243"/>
              <a:ext cx="380425" cy="426916"/>
            </a:xfrm>
            <a:custGeom>
              <a:avLst/>
              <a:gdLst>
                <a:gd name="T0" fmla="*/ 89 w 285"/>
                <a:gd name="T1" fmla="*/ 41 h 320"/>
                <a:gd name="T2" fmla="*/ 100 w 285"/>
                <a:gd name="T3" fmla="*/ 52 h 320"/>
                <a:gd name="T4" fmla="*/ 94 w 285"/>
                <a:gd name="T5" fmla="*/ 65 h 320"/>
                <a:gd name="T6" fmla="*/ 102 w 285"/>
                <a:gd name="T7" fmla="*/ 70 h 320"/>
                <a:gd name="T8" fmla="*/ 95 w 285"/>
                <a:gd name="T9" fmla="*/ 95 h 320"/>
                <a:gd name="T10" fmla="*/ 80 w 285"/>
                <a:gd name="T11" fmla="*/ 96 h 320"/>
                <a:gd name="T12" fmla="*/ 77 w 285"/>
                <a:gd name="T13" fmla="*/ 107 h 320"/>
                <a:gd name="T14" fmla="*/ 84 w 285"/>
                <a:gd name="T15" fmla="*/ 113 h 320"/>
                <a:gd name="T16" fmla="*/ 65 w 285"/>
                <a:gd name="T17" fmla="*/ 129 h 320"/>
                <a:gd name="T18" fmla="*/ 54 w 285"/>
                <a:gd name="T19" fmla="*/ 142 h 320"/>
                <a:gd name="T20" fmla="*/ 42 w 285"/>
                <a:gd name="T21" fmla="*/ 148 h 320"/>
                <a:gd name="T22" fmla="*/ 31 w 285"/>
                <a:gd name="T23" fmla="*/ 148 h 320"/>
                <a:gd name="T24" fmla="*/ 28 w 285"/>
                <a:gd name="T25" fmla="*/ 156 h 320"/>
                <a:gd name="T26" fmla="*/ 17 w 285"/>
                <a:gd name="T27" fmla="*/ 154 h 320"/>
                <a:gd name="T28" fmla="*/ 15 w 285"/>
                <a:gd name="T29" fmla="*/ 163 h 320"/>
                <a:gd name="T30" fmla="*/ 0 w 285"/>
                <a:gd name="T31" fmla="*/ 163 h 320"/>
                <a:gd name="T32" fmla="*/ 31 w 285"/>
                <a:gd name="T33" fmla="*/ 200 h 320"/>
                <a:gd name="T34" fmla="*/ 46 w 285"/>
                <a:gd name="T35" fmla="*/ 209 h 320"/>
                <a:gd name="T36" fmla="*/ 146 w 285"/>
                <a:gd name="T37" fmla="*/ 289 h 320"/>
                <a:gd name="T38" fmla="*/ 160 w 285"/>
                <a:gd name="T39" fmla="*/ 295 h 320"/>
                <a:gd name="T40" fmla="*/ 163 w 285"/>
                <a:gd name="T41" fmla="*/ 319 h 320"/>
                <a:gd name="T42" fmla="*/ 176 w 285"/>
                <a:gd name="T43" fmla="*/ 316 h 320"/>
                <a:gd name="T44" fmla="*/ 178 w 285"/>
                <a:gd name="T45" fmla="*/ 309 h 320"/>
                <a:gd name="T46" fmla="*/ 202 w 285"/>
                <a:gd name="T47" fmla="*/ 307 h 320"/>
                <a:gd name="T48" fmla="*/ 212 w 285"/>
                <a:gd name="T49" fmla="*/ 296 h 320"/>
                <a:gd name="T50" fmla="*/ 220 w 285"/>
                <a:gd name="T51" fmla="*/ 291 h 320"/>
                <a:gd name="T52" fmla="*/ 223 w 285"/>
                <a:gd name="T53" fmla="*/ 282 h 320"/>
                <a:gd name="T54" fmla="*/ 246 w 285"/>
                <a:gd name="T55" fmla="*/ 274 h 320"/>
                <a:gd name="T56" fmla="*/ 253 w 285"/>
                <a:gd name="T57" fmla="*/ 264 h 320"/>
                <a:gd name="T58" fmla="*/ 264 w 285"/>
                <a:gd name="T59" fmla="*/ 254 h 320"/>
                <a:gd name="T60" fmla="*/ 279 w 285"/>
                <a:gd name="T61" fmla="*/ 248 h 320"/>
                <a:gd name="T62" fmla="*/ 284 w 285"/>
                <a:gd name="T63" fmla="*/ 241 h 320"/>
                <a:gd name="T64" fmla="*/ 282 w 285"/>
                <a:gd name="T65" fmla="*/ 227 h 320"/>
                <a:gd name="T66" fmla="*/ 259 w 285"/>
                <a:gd name="T67" fmla="*/ 223 h 320"/>
                <a:gd name="T68" fmla="*/ 252 w 285"/>
                <a:gd name="T69" fmla="*/ 216 h 320"/>
                <a:gd name="T70" fmla="*/ 250 w 285"/>
                <a:gd name="T71" fmla="*/ 198 h 320"/>
                <a:gd name="T72" fmla="*/ 253 w 285"/>
                <a:gd name="T73" fmla="*/ 102 h 320"/>
                <a:gd name="T74" fmla="*/ 246 w 285"/>
                <a:gd name="T75" fmla="*/ 101 h 320"/>
                <a:gd name="T76" fmla="*/ 242 w 285"/>
                <a:gd name="T77" fmla="*/ 85 h 320"/>
                <a:gd name="T78" fmla="*/ 229 w 285"/>
                <a:gd name="T79" fmla="*/ 80 h 320"/>
                <a:gd name="T80" fmla="*/ 224 w 285"/>
                <a:gd name="T81" fmla="*/ 63 h 320"/>
                <a:gd name="T82" fmla="*/ 227 w 285"/>
                <a:gd name="T83" fmla="*/ 48 h 320"/>
                <a:gd name="T84" fmla="*/ 241 w 285"/>
                <a:gd name="T85" fmla="*/ 44 h 320"/>
                <a:gd name="T86" fmla="*/ 233 w 285"/>
                <a:gd name="T87" fmla="*/ 33 h 320"/>
                <a:gd name="T88" fmla="*/ 235 w 285"/>
                <a:gd name="T89" fmla="*/ 21 h 320"/>
                <a:gd name="T90" fmla="*/ 242 w 285"/>
                <a:gd name="T91" fmla="*/ 21 h 320"/>
                <a:gd name="T92" fmla="*/ 239 w 285"/>
                <a:gd name="T93" fmla="*/ 3 h 320"/>
                <a:gd name="T94" fmla="*/ 196 w 285"/>
                <a:gd name="T95" fmla="*/ 0 h 320"/>
                <a:gd name="T96" fmla="*/ 176 w 285"/>
                <a:gd name="T97" fmla="*/ 3 h 320"/>
                <a:gd name="T98" fmla="*/ 160 w 285"/>
                <a:gd name="T99" fmla="*/ 8 h 320"/>
                <a:gd name="T100" fmla="*/ 128 w 285"/>
                <a:gd name="T101" fmla="*/ 11 h 320"/>
                <a:gd name="T102" fmla="*/ 117 w 285"/>
                <a:gd name="T103" fmla="*/ 21 h 320"/>
                <a:gd name="T104" fmla="*/ 96 w 285"/>
                <a:gd name="T105" fmla="*/ 25 h 320"/>
                <a:gd name="T106" fmla="*/ 89 w 285"/>
                <a:gd name="T107" fmla="*/ 4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5" h="320">
                  <a:moveTo>
                    <a:pt x="89" y="41"/>
                  </a:moveTo>
                  <a:lnTo>
                    <a:pt x="100" y="52"/>
                  </a:lnTo>
                  <a:lnTo>
                    <a:pt x="94" y="65"/>
                  </a:lnTo>
                  <a:lnTo>
                    <a:pt x="102" y="70"/>
                  </a:lnTo>
                  <a:lnTo>
                    <a:pt x="95" y="95"/>
                  </a:lnTo>
                  <a:lnTo>
                    <a:pt x="80" y="96"/>
                  </a:lnTo>
                  <a:lnTo>
                    <a:pt x="77" y="107"/>
                  </a:lnTo>
                  <a:lnTo>
                    <a:pt x="84" y="113"/>
                  </a:lnTo>
                  <a:lnTo>
                    <a:pt x="65" y="129"/>
                  </a:lnTo>
                  <a:lnTo>
                    <a:pt x="54" y="142"/>
                  </a:lnTo>
                  <a:lnTo>
                    <a:pt x="42" y="148"/>
                  </a:lnTo>
                  <a:lnTo>
                    <a:pt x="31" y="148"/>
                  </a:lnTo>
                  <a:lnTo>
                    <a:pt x="28" y="156"/>
                  </a:lnTo>
                  <a:lnTo>
                    <a:pt x="17" y="154"/>
                  </a:lnTo>
                  <a:lnTo>
                    <a:pt x="15" y="163"/>
                  </a:lnTo>
                  <a:lnTo>
                    <a:pt x="0" y="163"/>
                  </a:lnTo>
                  <a:lnTo>
                    <a:pt x="31" y="200"/>
                  </a:lnTo>
                  <a:lnTo>
                    <a:pt x="46" y="209"/>
                  </a:lnTo>
                  <a:lnTo>
                    <a:pt x="146" y="289"/>
                  </a:lnTo>
                  <a:lnTo>
                    <a:pt x="160" y="295"/>
                  </a:lnTo>
                  <a:lnTo>
                    <a:pt x="163" y="319"/>
                  </a:lnTo>
                  <a:lnTo>
                    <a:pt x="176" y="316"/>
                  </a:lnTo>
                  <a:lnTo>
                    <a:pt x="178" y="309"/>
                  </a:lnTo>
                  <a:lnTo>
                    <a:pt x="202" y="307"/>
                  </a:lnTo>
                  <a:lnTo>
                    <a:pt x="212" y="296"/>
                  </a:lnTo>
                  <a:lnTo>
                    <a:pt x="220" y="291"/>
                  </a:lnTo>
                  <a:lnTo>
                    <a:pt x="223" y="282"/>
                  </a:lnTo>
                  <a:lnTo>
                    <a:pt x="246" y="274"/>
                  </a:lnTo>
                  <a:lnTo>
                    <a:pt x="253" y="264"/>
                  </a:lnTo>
                  <a:lnTo>
                    <a:pt x="264" y="254"/>
                  </a:lnTo>
                  <a:lnTo>
                    <a:pt x="279" y="248"/>
                  </a:lnTo>
                  <a:lnTo>
                    <a:pt x="284" y="241"/>
                  </a:lnTo>
                  <a:lnTo>
                    <a:pt x="282" y="227"/>
                  </a:lnTo>
                  <a:lnTo>
                    <a:pt x="259" y="223"/>
                  </a:lnTo>
                  <a:lnTo>
                    <a:pt x="252" y="216"/>
                  </a:lnTo>
                  <a:lnTo>
                    <a:pt x="250" y="198"/>
                  </a:lnTo>
                  <a:lnTo>
                    <a:pt x="253" y="102"/>
                  </a:lnTo>
                  <a:lnTo>
                    <a:pt x="246" y="101"/>
                  </a:lnTo>
                  <a:lnTo>
                    <a:pt x="242" y="85"/>
                  </a:lnTo>
                  <a:lnTo>
                    <a:pt x="229" y="80"/>
                  </a:lnTo>
                  <a:lnTo>
                    <a:pt x="224" y="63"/>
                  </a:lnTo>
                  <a:lnTo>
                    <a:pt x="227" y="48"/>
                  </a:lnTo>
                  <a:lnTo>
                    <a:pt x="241" y="44"/>
                  </a:lnTo>
                  <a:lnTo>
                    <a:pt x="233" y="33"/>
                  </a:lnTo>
                  <a:lnTo>
                    <a:pt x="235" y="21"/>
                  </a:lnTo>
                  <a:lnTo>
                    <a:pt x="242" y="21"/>
                  </a:lnTo>
                  <a:lnTo>
                    <a:pt x="239" y="3"/>
                  </a:lnTo>
                  <a:lnTo>
                    <a:pt x="196" y="0"/>
                  </a:lnTo>
                  <a:lnTo>
                    <a:pt x="176" y="3"/>
                  </a:lnTo>
                  <a:lnTo>
                    <a:pt x="160" y="8"/>
                  </a:lnTo>
                  <a:lnTo>
                    <a:pt x="128" y="11"/>
                  </a:lnTo>
                  <a:lnTo>
                    <a:pt x="117" y="21"/>
                  </a:lnTo>
                  <a:lnTo>
                    <a:pt x="96" y="25"/>
                  </a:lnTo>
                  <a:lnTo>
                    <a:pt x="89" y="41"/>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79" name="Freeform 191">
              <a:extLst>
                <a:ext uri="{FF2B5EF4-FFF2-40B4-BE49-F238E27FC236}">
                  <a16:creationId xmlns:a16="http://schemas.microsoft.com/office/drawing/2014/main" id="{341B28F3-23BB-4066-A2E8-36D709142A12}"/>
                </a:ext>
              </a:extLst>
            </p:cNvPr>
            <p:cNvSpPr>
              <a:spLocks/>
            </p:cNvSpPr>
            <p:nvPr/>
          </p:nvSpPr>
          <p:spPr bwMode="auto">
            <a:xfrm>
              <a:off x="3643041" y="3779753"/>
              <a:ext cx="183079" cy="279458"/>
            </a:xfrm>
            <a:custGeom>
              <a:avLst/>
              <a:gdLst>
                <a:gd name="T0" fmla="*/ 0 w 138"/>
                <a:gd name="T1" fmla="*/ 157 h 209"/>
                <a:gd name="T2" fmla="*/ 26 w 138"/>
                <a:gd name="T3" fmla="*/ 135 h 209"/>
                <a:gd name="T4" fmla="*/ 35 w 138"/>
                <a:gd name="T5" fmla="*/ 124 h 209"/>
                <a:gd name="T6" fmla="*/ 47 w 138"/>
                <a:gd name="T7" fmla="*/ 113 h 209"/>
                <a:gd name="T8" fmla="*/ 63 w 138"/>
                <a:gd name="T9" fmla="*/ 102 h 209"/>
                <a:gd name="T10" fmla="*/ 72 w 138"/>
                <a:gd name="T11" fmla="*/ 85 h 209"/>
                <a:gd name="T12" fmla="*/ 79 w 138"/>
                <a:gd name="T13" fmla="*/ 58 h 209"/>
                <a:gd name="T14" fmla="*/ 83 w 138"/>
                <a:gd name="T15" fmla="*/ 51 h 209"/>
                <a:gd name="T16" fmla="*/ 92 w 138"/>
                <a:gd name="T17" fmla="*/ 45 h 209"/>
                <a:gd name="T18" fmla="*/ 94 w 138"/>
                <a:gd name="T19" fmla="*/ 25 h 209"/>
                <a:gd name="T20" fmla="*/ 91 w 138"/>
                <a:gd name="T21" fmla="*/ 1 h 209"/>
                <a:gd name="T22" fmla="*/ 97 w 138"/>
                <a:gd name="T23" fmla="*/ 0 h 209"/>
                <a:gd name="T24" fmla="*/ 100 w 138"/>
                <a:gd name="T25" fmla="*/ 10 h 209"/>
                <a:gd name="T26" fmla="*/ 104 w 138"/>
                <a:gd name="T27" fmla="*/ 18 h 209"/>
                <a:gd name="T28" fmla="*/ 111 w 138"/>
                <a:gd name="T29" fmla="*/ 32 h 209"/>
                <a:gd name="T30" fmla="*/ 111 w 138"/>
                <a:gd name="T31" fmla="*/ 40 h 209"/>
                <a:gd name="T32" fmla="*/ 105 w 138"/>
                <a:gd name="T33" fmla="*/ 43 h 209"/>
                <a:gd name="T34" fmla="*/ 108 w 138"/>
                <a:gd name="T35" fmla="*/ 46 h 209"/>
                <a:gd name="T36" fmla="*/ 111 w 138"/>
                <a:gd name="T37" fmla="*/ 54 h 209"/>
                <a:gd name="T38" fmla="*/ 116 w 138"/>
                <a:gd name="T39" fmla="*/ 62 h 209"/>
                <a:gd name="T40" fmla="*/ 115 w 138"/>
                <a:gd name="T41" fmla="*/ 69 h 209"/>
                <a:gd name="T42" fmla="*/ 108 w 138"/>
                <a:gd name="T43" fmla="*/ 73 h 209"/>
                <a:gd name="T44" fmla="*/ 109 w 138"/>
                <a:gd name="T45" fmla="*/ 81 h 209"/>
                <a:gd name="T46" fmla="*/ 120 w 138"/>
                <a:gd name="T47" fmla="*/ 95 h 209"/>
                <a:gd name="T48" fmla="*/ 128 w 138"/>
                <a:gd name="T49" fmla="*/ 111 h 209"/>
                <a:gd name="T50" fmla="*/ 121 w 138"/>
                <a:gd name="T51" fmla="*/ 120 h 209"/>
                <a:gd name="T52" fmla="*/ 115 w 138"/>
                <a:gd name="T53" fmla="*/ 139 h 209"/>
                <a:gd name="T54" fmla="*/ 125 w 138"/>
                <a:gd name="T55" fmla="*/ 156 h 209"/>
                <a:gd name="T56" fmla="*/ 132 w 138"/>
                <a:gd name="T57" fmla="*/ 176 h 209"/>
                <a:gd name="T58" fmla="*/ 137 w 138"/>
                <a:gd name="T59" fmla="*/ 185 h 209"/>
                <a:gd name="T60" fmla="*/ 92 w 138"/>
                <a:gd name="T61" fmla="*/ 190 h 209"/>
                <a:gd name="T62" fmla="*/ 69 w 138"/>
                <a:gd name="T63" fmla="*/ 193 h 209"/>
                <a:gd name="T64" fmla="*/ 60 w 138"/>
                <a:gd name="T65" fmla="*/ 200 h 209"/>
                <a:gd name="T66" fmla="*/ 60 w 138"/>
                <a:gd name="T67" fmla="*/ 206 h 209"/>
                <a:gd name="T68" fmla="*/ 40 w 138"/>
                <a:gd name="T69" fmla="*/ 208 h 209"/>
                <a:gd name="T70" fmla="*/ 37 w 138"/>
                <a:gd name="T71" fmla="*/ 193 h 209"/>
                <a:gd name="T72" fmla="*/ 44 w 138"/>
                <a:gd name="T73" fmla="*/ 178 h 209"/>
                <a:gd name="T74" fmla="*/ 37 w 138"/>
                <a:gd name="T75" fmla="*/ 170 h 209"/>
                <a:gd name="T76" fmla="*/ 22 w 138"/>
                <a:gd name="T77" fmla="*/ 164 h 209"/>
                <a:gd name="T78" fmla="*/ 0 w 138"/>
                <a:gd name="T79" fmla="*/ 1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8" h="209">
                  <a:moveTo>
                    <a:pt x="0" y="157"/>
                  </a:moveTo>
                  <a:lnTo>
                    <a:pt x="26" y="135"/>
                  </a:lnTo>
                  <a:lnTo>
                    <a:pt x="35" y="124"/>
                  </a:lnTo>
                  <a:lnTo>
                    <a:pt x="47" y="113"/>
                  </a:lnTo>
                  <a:lnTo>
                    <a:pt x="63" y="102"/>
                  </a:lnTo>
                  <a:lnTo>
                    <a:pt x="72" y="85"/>
                  </a:lnTo>
                  <a:lnTo>
                    <a:pt x="79" y="58"/>
                  </a:lnTo>
                  <a:lnTo>
                    <a:pt x="83" y="51"/>
                  </a:lnTo>
                  <a:lnTo>
                    <a:pt x="92" y="45"/>
                  </a:lnTo>
                  <a:lnTo>
                    <a:pt x="94" y="25"/>
                  </a:lnTo>
                  <a:lnTo>
                    <a:pt x="91" y="1"/>
                  </a:lnTo>
                  <a:lnTo>
                    <a:pt x="97" y="0"/>
                  </a:lnTo>
                  <a:lnTo>
                    <a:pt x="100" y="10"/>
                  </a:lnTo>
                  <a:lnTo>
                    <a:pt x="104" y="18"/>
                  </a:lnTo>
                  <a:lnTo>
                    <a:pt x="111" y="32"/>
                  </a:lnTo>
                  <a:lnTo>
                    <a:pt x="111" y="40"/>
                  </a:lnTo>
                  <a:lnTo>
                    <a:pt x="105" y="43"/>
                  </a:lnTo>
                  <a:lnTo>
                    <a:pt x="108" y="46"/>
                  </a:lnTo>
                  <a:lnTo>
                    <a:pt x="111" y="54"/>
                  </a:lnTo>
                  <a:lnTo>
                    <a:pt x="116" y="62"/>
                  </a:lnTo>
                  <a:lnTo>
                    <a:pt x="115" y="69"/>
                  </a:lnTo>
                  <a:lnTo>
                    <a:pt x="108" y="73"/>
                  </a:lnTo>
                  <a:lnTo>
                    <a:pt x="109" y="81"/>
                  </a:lnTo>
                  <a:lnTo>
                    <a:pt x="120" y="95"/>
                  </a:lnTo>
                  <a:lnTo>
                    <a:pt x="128" y="111"/>
                  </a:lnTo>
                  <a:lnTo>
                    <a:pt x="121" y="120"/>
                  </a:lnTo>
                  <a:lnTo>
                    <a:pt x="115" y="139"/>
                  </a:lnTo>
                  <a:lnTo>
                    <a:pt x="125" y="156"/>
                  </a:lnTo>
                  <a:lnTo>
                    <a:pt x="132" y="176"/>
                  </a:lnTo>
                  <a:lnTo>
                    <a:pt x="137" y="185"/>
                  </a:lnTo>
                  <a:lnTo>
                    <a:pt x="92" y="190"/>
                  </a:lnTo>
                  <a:lnTo>
                    <a:pt x="69" y="193"/>
                  </a:lnTo>
                  <a:lnTo>
                    <a:pt x="60" y="200"/>
                  </a:lnTo>
                  <a:lnTo>
                    <a:pt x="60" y="206"/>
                  </a:lnTo>
                  <a:lnTo>
                    <a:pt x="40" y="208"/>
                  </a:lnTo>
                  <a:lnTo>
                    <a:pt x="37" y="193"/>
                  </a:lnTo>
                  <a:lnTo>
                    <a:pt x="44" y="178"/>
                  </a:lnTo>
                  <a:lnTo>
                    <a:pt x="37" y="170"/>
                  </a:lnTo>
                  <a:lnTo>
                    <a:pt x="22" y="164"/>
                  </a:lnTo>
                  <a:lnTo>
                    <a:pt x="0" y="157"/>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80" name="Freeform 192">
              <a:extLst>
                <a:ext uri="{FF2B5EF4-FFF2-40B4-BE49-F238E27FC236}">
                  <a16:creationId xmlns:a16="http://schemas.microsoft.com/office/drawing/2014/main" id="{0474C5A2-F352-4C44-BC85-877677F915BC}"/>
                </a:ext>
              </a:extLst>
            </p:cNvPr>
            <p:cNvSpPr>
              <a:spLocks/>
            </p:cNvSpPr>
            <p:nvPr/>
          </p:nvSpPr>
          <p:spPr bwMode="auto">
            <a:xfrm>
              <a:off x="4408645" y="2804624"/>
              <a:ext cx="706163" cy="359133"/>
            </a:xfrm>
            <a:custGeom>
              <a:avLst/>
              <a:gdLst>
                <a:gd name="T0" fmla="*/ 516 w 531"/>
                <a:gd name="T1" fmla="*/ 78 h 270"/>
                <a:gd name="T2" fmla="*/ 486 w 531"/>
                <a:gd name="T3" fmla="*/ 58 h 270"/>
                <a:gd name="T4" fmla="*/ 449 w 531"/>
                <a:gd name="T5" fmla="*/ 16 h 270"/>
                <a:gd name="T6" fmla="*/ 408 w 531"/>
                <a:gd name="T7" fmla="*/ 25 h 270"/>
                <a:gd name="T8" fmla="*/ 391 w 531"/>
                <a:gd name="T9" fmla="*/ 11 h 270"/>
                <a:gd name="T10" fmla="*/ 351 w 531"/>
                <a:gd name="T11" fmla="*/ 5 h 270"/>
                <a:gd name="T12" fmla="*/ 294 w 531"/>
                <a:gd name="T13" fmla="*/ 7 h 270"/>
                <a:gd name="T14" fmla="*/ 265 w 531"/>
                <a:gd name="T15" fmla="*/ 3 h 270"/>
                <a:gd name="T16" fmla="*/ 252 w 531"/>
                <a:gd name="T17" fmla="*/ 32 h 270"/>
                <a:gd name="T18" fmla="*/ 250 w 531"/>
                <a:gd name="T19" fmla="*/ 34 h 270"/>
                <a:gd name="T20" fmla="*/ 247 w 531"/>
                <a:gd name="T21" fmla="*/ 36 h 270"/>
                <a:gd name="T22" fmla="*/ 244 w 531"/>
                <a:gd name="T23" fmla="*/ 37 h 270"/>
                <a:gd name="T24" fmla="*/ 242 w 531"/>
                <a:gd name="T25" fmla="*/ 39 h 270"/>
                <a:gd name="T26" fmla="*/ 239 w 531"/>
                <a:gd name="T27" fmla="*/ 40 h 270"/>
                <a:gd name="T28" fmla="*/ 237 w 531"/>
                <a:gd name="T29" fmla="*/ 40 h 270"/>
                <a:gd name="T30" fmla="*/ 237 w 531"/>
                <a:gd name="T31" fmla="*/ 43 h 270"/>
                <a:gd name="T32" fmla="*/ 238 w 531"/>
                <a:gd name="T33" fmla="*/ 47 h 270"/>
                <a:gd name="T34" fmla="*/ 240 w 531"/>
                <a:gd name="T35" fmla="*/ 52 h 270"/>
                <a:gd name="T36" fmla="*/ 242 w 531"/>
                <a:gd name="T37" fmla="*/ 56 h 270"/>
                <a:gd name="T38" fmla="*/ 236 w 531"/>
                <a:gd name="T39" fmla="*/ 67 h 270"/>
                <a:gd name="T40" fmla="*/ 196 w 531"/>
                <a:gd name="T41" fmla="*/ 47 h 270"/>
                <a:gd name="T42" fmla="*/ 164 w 531"/>
                <a:gd name="T43" fmla="*/ 44 h 270"/>
                <a:gd name="T44" fmla="*/ 130 w 531"/>
                <a:gd name="T45" fmla="*/ 12 h 270"/>
                <a:gd name="T46" fmla="*/ 85 w 531"/>
                <a:gd name="T47" fmla="*/ 7 h 270"/>
                <a:gd name="T48" fmla="*/ 59 w 531"/>
                <a:gd name="T49" fmla="*/ 25 h 270"/>
                <a:gd name="T50" fmla="*/ 20 w 531"/>
                <a:gd name="T51" fmla="*/ 34 h 270"/>
                <a:gd name="T52" fmla="*/ 7 w 531"/>
                <a:gd name="T53" fmla="*/ 74 h 270"/>
                <a:gd name="T54" fmla="*/ 25 w 531"/>
                <a:gd name="T55" fmla="*/ 104 h 270"/>
                <a:gd name="T56" fmla="*/ 6 w 531"/>
                <a:gd name="T57" fmla="*/ 145 h 270"/>
                <a:gd name="T58" fmla="*/ 43 w 531"/>
                <a:gd name="T59" fmla="*/ 145 h 270"/>
                <a:gd name="T60" fmla="*/ 59 w 531"/>
                <a:gd name="T61" fmla="*/ 144 h 270"/>
                <a:gd name="T62" fmla="*/ 59 w 531"/>
                <a:gd name="T63" fmla="*/ 171 h 270"/>
                <a:gd name="T64" fmla="*/ 31 w 531"/>
                <a:gd name="T65" fmla="*/ 178 h 270"/>
                <a:gd name="T66" fmla="*/ 19 w 531"/>
                <a:gd name="T67" fmla="*/ 190 h 270"/>
                <a:gd name="T68" fmla="*/ 26 w 531"/>
                <a:gd name="T69" fmla="*/ 215 h 270"/>
                <a:gd name="T70" fmla="*/ 54 w 531"/>
                <a:gd name="T71" fmla="*/ 240 h 270"/>
                <a:gd name="T72" fmla="*/ 75 w 531"/>
                <a:gd name="T73" fmla="*/ 228 h 270"/>
                <a:gd name="T74" fmla="*/ 93 w 531"/>
                <a:gd name="T75" fmla="*/ 242 h 270"/>
                <a:gd name="T76" fmla="*/ 105 w 531"/>
                <a:gd name="T77" fmla="*/ 256 h 270"/>
                <a:gd name="T78" fmla="*/ 130 w 531"/>
                <a:gd name="T79" fmla="*/ 189 h 270"/>
                <a:gd name="T80" fmla="*/ 174 w 531"/>
                <a:gd name="T81" fmla="*/ 161 h 270"/>
                <a:gd name="T82" fmla="*/ 202 w 531"/>
                <a:gd name="T83" fmla="*/ 145 h 270"/>
                <a:gd name="T84" fmla="*/ 210 w 531"/>
                <a:gd name="T85" fmla="*/ 178 h 270"/>
                <a:gd name="T86" fmla="*/ 214 w 531"/>
                <a:gd name="T87" fmla="*/ 201 h 270"/>
                <a:gd name="T88" fmla="*/ 237 w 531"/>
                <a:gd name="T89" fmla="*/ 209 h 270"/>
                <a:gd name="T90" fmla="*/ 269 w 531"/>
                <a:gd name="T91" fmla="*/ 218 h 270"/>
                <a:gd name="T92" fmla="*/ 275 w 531"/>
                <a:gd name="T93" fmla="*/ 253 h 270"/>
                <a:gd name="T94" fmla="*/ 302 w 531"/>
                <a:gd name="T95" fmla="*/ 269 h 270"/>
                <a:gd name="T96" fmla="*/ 354 w 531"/>
                <a:gd name="T97" fmla="*/ 244 h 270"/>
                <a:gd name="T98" fmla="*/ 347 w 531"/>
                <a:gd name="T99" fmla="*/ 226 h 270"/>
                <a:gd name="T100" fmla="*/ 323 w 531"/>
                <a:gd name="T101" fmla="*/ 217 h 270"/>
                <a:gd name="T102" fmla="*/ 328 w 531"/>
                <a:gd name="T103" fmla="*/ 199 h 270"/>
                <a:gd name="T104" fmla="*/ 338 w 531"/>
                <a:gd name="T105" fmla="*/ 186 h 270"/>
                <a:gd name="T106" fmla="*/ 357 w 531"/>
                <a:gd name="T107" fmla="*/ 189 h 270"/>
                <a:gd name="T108" fmla="*/ 387 w 531"/>
                <a:gd name="T109" fmla="*/ 193 h 270"/>
                <a:gd name="T110" fmla="*/ 437 w 531"/>
                <a:gd name="T111" fmla="*/ 189 h 270"/>
                <a:gd name="T112" fmla="*/ 459 w 531"/>
                <a:gd name="T113" fmla="*/ 195 h 270"/>
                <a:gd name="T114" fmla="*/ 475 w 531"/>
                <a:gd name="T115" fmla="*/ 167 h 270"/>
                <a:gd name="T116" fmla="*/ 499 w 531"/>
                <a:gd name="T117" fmla="*/ 140 h 270"/>
                <a:gd name="T118" fmla="*/ 517 w 531"/>
                <a:gd name="T119" fmla="*/ 130 h 270"/>
                <a:gd name="T120" fmla="*/ 530 w 531"/>
                <a:gd name="T121" fmla="*/ 11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1" h="270">
                  <a:moveTo>
                    <a:pt x="530" y="113"/>
                  </a:moveTo>
                  <a:lnTo>
                    <a:pt x="516" y="78"/>
                  </a:lnTo>
                  <a:lnTo>
                    <a:pt x="494" y="69"/>
                  </a:lnTo>
                  <a:lnTo>
                    <a:pt x="486" y="58"/>
                  </a:lnTo>
                  <a:lnTo>
                    <a:pt x="471" y="57"/>
                  </a:lnTo>
                  <a:lnTo>
                    <a:pt x="449" y="16"/>
                  </a:lnTo>
                  <a:lnTo>
                    <a:pt x="431" y="16"/>
                  </a:lnTo>
                  <a:lnTo>
                    <a:pt x="408" y="25"/>
                  </a:lnTo>
                  <a:lnTo>
                    <a:pt x="393" y="23"/>
                  </a:lnTo>
                  <a:lnTo>
                    <a:pt x="391" y="11"/>
                  </a:lnTo>
                  <a:lnTo>
                    <a:pt x="379" y="0"/>
                  </a:lnTo>
                  <a:lnTo>
                    <a:pt x="351" y="5"/>
                  </a:lnTo>
                  <a:lnTo>
                    <a:pt x="330" y="10"/>
                  </a:lnTo>
                  <a:lnTo>
                    <a:pt x="294" y="7"/>
                  </a:lnTo>
                  <a:lnTo>
                    <a:pt x="275" y="2"/>
                  </a:lnTo>
                  <a:lnTo>
                    <a:pt x="265" y="3"/>
                  </a:lnTo>
                  <a:lnTo>
                    <a:pt x="269" y="25"/>
                  </a:lnTo>
                  <a:lnTo>
                    <a:pt x="252" y="32"/>
                  </a:lnTo>
                  <a:lnTo>
                    <a:pt x="251" y="33"/>
                  </a:lnTo>
                  <a:lnTo>
                    <a:pt x="250" y="34"/>
                  </a:lnTo>
                  <a:lnTo>
                    <a:pt x="248" y="35"/>
                  </a:lnTo>
                  <a:lnTo>
                    <a:pt x="247" y="36"/>
                  </a:lnTo>
                  <a:lnTo>
                    <a:pt x="246" y="36"/>
                  </a:lnTo>
                  <a:lnTo>
                    <a:pt x="244" y="37"/>
                  </a:lnTo>
                  <a:lnTo>
                    <a:pt x="243" y="38"/>
                  </a:lnTo>
                  <a:lnTo>
                    <a:pt x="242" y="39"/>
                  </a:lnTo>
                  <a:lnTo>
                    <a:pt x="240" y="40"/>
                  </a:lnTo>
                  <a:lnTo>
                    <a:pt x="239" y="40"/>
                  </a:lnTo>
                  <a:lnTo>
                    <a:pt x="238" y="40"/>
                  </a:lnTo>
                  <a:lnTo>
                    <a:pt x="237" y="40"/>
                  </a:lnTo>
                  <a:lnTo>
                    <a:pt x="237" y="41"/>
                  </a:lnTo>
                  <a:lnTo>
                    <a:pt x="237" y="43"/>
                  </a:lnTo>
                  <a:lnTo>
                    <a:pt x="237" y="45"/>
                  </a:lnTo>
                  <a:lnTo>
                    <a:pt x="238" y="47"/>
                  </a:lnTo>
                  <a:lnTo>
                    <a:pt x="239" y="50"/>
                  </a:lnTo>
                  <a:lnTo>
                    <a:pt x="240" y="52"/>
                  </a:lnTo>
                  <a:lnTo>
                    <a:pt x="241" y="54"/>
                  </a:lnTo>
                  <a:lnTo>
                    <a:pt x="242" y="56"/>
                  </a:lnTo>
                  <a:lnTo>
                    <a:pt x="243" y="58"/>
                  </a:lnTo>
                  <a:lnTo>
                    <a:pt x="236" y="67"/>
                  </a:lnTo>
                  <a:lnTo>
                    <a:pt x="222" y="62"/>
                  </a:lnTo>
                  <a:lnTo>
                    <a:pt x="196" y="47"/>
                  </a:lnTo>
                  <a:lnTo>
                    <a:pt x="177" y="49"/>
                  </a:lnTo>
                  <a:lnTo>
                    <a:pt x="164" y="44"/>
                  </a:lnTo>
                  <a:lnTo>
                    <a:pt x="165" y="35"/>
                  </a:lnTo>
                  <a:lnTo>
                    <a:pt x="130" y="12"/>
                  </a:lnTo>
                  <a:lnTo>
                    <a:pt x="107" y="11"/>
                  </a:lnTo>
                  <a:lnTo>
                    <a:pt x="85" y="7"/>
                  </a:lnTo>
                  <a:lnTo>
                    <a:pt x="66" y="12"/>
                  </a:lnTo>
                  <a:lnTo>
                    <a:pt x="59" y="25"/>
                  </a:lnTo>
                  <a:lnTo>
                    <a:pt x="44" y="7"/>
                  </a:lnTo>
                  <a:lnTo>
                    <a:pt x="20" y="34"/>
                  </a:lnTo>
                  <a:lnTo>
                    <a:pt x="0" y="58"/>
                  </a:lnTo>
                  <a:lnTo>
                    <a:pt x="7" y="74"/>
                  </a:lnTo>
                  <a:lnTo>
                    <a:pt x="24" y="85"/>
                  </a:lnTo>
                  <a:lnTo>
                    <a:pt x="25" y="104"/>
                  </a:lnTo>
                  <a:lnTo>
                    <a:pt x="12" y="118"/>
                  </a:lnTo>
                  <a:lnTo>
                    <a:pt x="6" y="145"/>
                  </a:lnTo>
                  <a:lnTo>
                    <a:pt x="25" y="140"/>
                  </a:lnTo>
                  <a:lnTo>
                    <a:pt x="43" y="145"/>
                  </a:lnTo>
                  <a:lnTo>
                    <a:pt x="48" y="138"/>
                  </a:lnTo>
                  <a:lnTo>
                    <a:pt x="59" y="144"/>
                  </a:lnTo>
                  <a:lnTo>
                    <a:pt x="54" y="162"/>
                  </a:lnTo>
                  <a:lnTo>
                    <a:pt x="59" y="171"/>
                  </a:lnTo>
                  <a:lnTo>
                    <a:pt x="38" y="171"/>
                  </a:lnTo>
                  <a:lnTo>
                    <a:pt x="31" y="178"/>
                  </a:lnTo>
                  <a:lnTo>
                    <a:pt x="30" y="189"/>
                  </a:lnTo>
                  <a:lnTo>
                    <a:pt x="19" y="190"/>
                  </a:lnTo>
                  <a:lnTo>
                    <a:pt x="20" y="200"/>
                  </a:lnTo>
                  <a:lnTo>
                    <a:pt x="26" y="215"/>
                  </a:lnTo>
                  <a:lnTo>
                    <a:pt x="48" y="215"/>
                  </a:lnTo>
                  <a:lnTo>
                    <a:pt x="54" y="240"/>
                  </a:lnTo>
                  <a:lnTo>
                    <a:pt x="59" y="226"/>
                  </a:lnTo>
                  <a:lnTo>
                    <a:pt x="75" y="228"/>
                  </a:lnTo>
                  <a:lnTo>
                    <a:pt x="80" y="248"/>
                  </a:lnTo>
                  <a:lnTo>
                    <a:pt x="93" y="242"/>
                  </a:lnTo>
                  <a:lnTo>
                    <a:pt x="105" y="247"/>
                  </a:lnTo>
                  <a:lnTo>
                    <a:pt x="105" y="256"/>
                  </a:lnTo>
                  <a:lnTo>
                    <a:pt x="119" y="261"/>
                  </a:lnTo>
                  <a:lnTo>
                    <a:pt x="130" y="189"/>
                  </a:lnTo>
                  <a:lnTo>
                    <a:pt x="160" y="164"/>
                  </a:lnTo>
                  <a:lnTo>
                    <a:pt x="174" y="161"/>
                  </a:lnTo>
                  <a:lnTo>
                    <a:pt x="174" y="145"/>
                  </a:lnTo>
                  <a:lnTo>
                    <a:pt x="202" y="145"/>
                  </a:lnTo>
                  <a:lnTo>
                    <a:pt x="202" y="167"/>
                  </a:lnTo>
                  <a:lnTo>
                    <a:pt x="210" y="178"/>
                  </a:lnTo>
                  <a:lnTo>
                    <a:pt x="204" y="184"/>
                  </a:lnTo>
                  <a:lnTo>
                    <a:pt x="214" y="201"/>
                  </a:lnTo>
                  <a:lnTo>
                    <a:pt x="219" y="214"/>
                  </a:lnTo>
                  <a:lnTo>
                    <a:pt x="237" y="209"/>
                  </a:lnTo>
                  <a:lnTo>
                    <a:pt x="254" y="211"/>
                  </a:lnTo>
                  <a:lnTo>
                    <a:pt x="269" y="218"/>
                  </a:lnTo>
                  <a:lnTo>
                    <a:pt x="270" y="240"/>
                  </a:lnTo>
                  <a:lnTo>
                    <a:pt x="275" y="253"/>
                  </a:lnTo>
                  <a:lnTo>
                    <a:pt x="295" y="263"/>
                  </a:lnTo>
                  <a:lnTo>
                    <a:pt x="302" y="269"/>
                  </a:lnTo>
                  <a:lnTo>
                    <a:pt x="320" y="256"/>
                  </a:lnTo>
                  <a:lnTo>
                    <a:pt x="354" y="244"/>
                  </a:lnTo>
                  <a:lnTo>
                    <a:pt x="359" y="237"/>
                  </a:lnTo>
                  <a:lnTo>
                    <a:pt x="347" y="226"/>
                  </a:lnTo>
                  <a:lnTo>
                    <a:pt x="335" y="228"/>
                  </a:lnTo>
                  <a:lnTo>
                    <a:pt x="323" y="217"/>
                  </a:lnTo>
                  <a:lnTo>
                    <a:pt x="330" y="207"/>
                  </a:lnTo>
                  <a:lnTo>
                    <a:pt x="328" y="199"/>
                  </a:lnTo>
                  <a:lnTo>
                    <a:pt x="328" y="195"/>
                  </a:lnTo>
                  <a:lnTo>
                    <a:pt x="338" y="186"/>
                  </a:lnTo>
                  <a:lnTo>
                    <a:pt x="351" y="200"/>
                  </a:lnTo>
                  <a:lnTo>
                    <a:pt x="357" y="189"/>
                  </a:lnTo>
                  <a:lnTo>
                    <a:pt x="376" y="184"/>
                  </a:lnTo>
                  <a:lnTo>
                    <a:pt x="387" y="193"/>
                  </a:lnTo>
                  <a:lnTo>
                    <a:pt x="417" y="189"/>
                  </a:lnTo>
                  <a:lnTo>
                    <a:pt x="437" y="189"/>
                  </a:lnTo>
                  <a:lnTo>
                    <a:pt x="453" y="203"/>
                  </a:lnTo>
                  <a:lnTo>
                    <a:pt x="459" y="195"/>
                  </a:lnTo>
                  <a:lnTo>
                    <a:pt x="460" y="175"/>
                  </a:lnTo>
                  <a:lnTo>
                    <a:pt x="475" y="167"/>
                  </a:lnTo>
                  <a:lnTo>
                    <a:pt x="493" y="173"/>
                  </a:lnTo>
                  <a:lnTo>
                    <a:pt x="499" y="140"/>
                  </a:lnTo>
                  <a:lnTo>
                    <a:pt x="505" y="133"/>
                  </a:lnTo>
                  <a:lnTo>
                    <a:pt x="517" y="130"/>
                  </a:lnTo>
                  <a:lnTo>
                    <a:pt x="521" y="119"/>
                  </a:lnTo>
                  <a:lnTo>
                    <a:pt x="530" y="11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81" name="Freeform 193">
              <a:extLst>
                <a:ext uri="{FF2B5EF4-FFF2-40B4-BE49-F238E27FC236}">
                  <a16:creationId xmlns:a16="http://schemas.microsoft.com/office/drawing/2014/main" id="{12B08925-99C8-47F9-B55D-DA97DCB151C8}"/>
                </a:ext>
              </a:extLst>
            </p:cNvPr>
            <p:cNvSpPr>
              <a:spLocks/>
            </p:cNvSpPr>
            <p:nvPr/>
          </p:nvSpPr>
          <p:spPr bwMode="auto">
            <a:xfrm>
              <a:off x="4809280" y="3049595"/>
              <a:ext cx="200912" cy="149837"/>
            </a:xfrm>
            <a:custGeom>
              <a:avLst/>
              <a:gdLst>
                <a:gd name="T0" fmla="*/ 144 w 169"/>
                <a:gd name="T1" fmla="*/ 21 h 126"/>
                <a:gd name="T2" fmla="*/ 134 w 169"/>
                <a:gd name="T3" fmla="*/ 33 h 126"/>
                <a:gd name="T4" fmla="*/ 144 w 169"/>
                <a:gd name="T5" fmla="*/ 42 h 126"/>
                <a:gd name="T6" fmla="*/ 143 w 169"/>
                <a:gd name="T7" fmla="*/ 87 h 126"/>
                <a:gd name="T8" fmla="*/ 130 w 169"/>
                <a:gd name="T9" fmla="*/ 91 h 126"/>
                <a:gd name="T10" fmla="*/ 124 w 169"/>
                <a:gd name="T11" fmla="*/ 102 h 126"/>
                <a:gd name="T12" fmla="*/ 97 w 169"/>
                <a:gd name="T13" fmla="*/ 108 h 126"/>
                <a:gd name="T14" fmla="*/ 98 w 169"/>
                <a:gd name="T15" fmla="*/ 117 h 126"/>
                <a:gd name="T16" fmla="*/ 91 w 169"/>
                <a:gd name="T17" fmla="*/ 126 h 126"/>
                <a:gd name="T18" fmla="*/ 76 w 169"/>
                <a:gd name="T19" fmla="*/ 85 h 126"/>
                <a:gd name="T20" fmla="*/ 57 w 169"/>
                <a:gd name="T21" fmla="*/ 99 h 126"/>
                <a:gd name="T22" fmla="*/ 40 w 169"/>
                <a:gd name="T23" fmla="*/ 101 h 126"/>
                <a:gd name="T24" fmla="*/ 0 w 169"/>
                <a:gd name="T25" fmla="*/ 96 h 126"/>
                <a:gd name="T26" fmla="*/ 20 w 169"/>
                <a:gd name="T27" fmla="*/ 81 h 126"/>
                <a:gd name="T28" fmla="*/ 58 w 169"/>
                <a:gd name="T29" fmla="*/ 68 h 126"/>
                <a:gd name="T30" fmla="*/ 64 w 169"/>
                <a:gd name="T31" fmla="*/ 60 h 126"/>
                <a:gd name="T32" fmla="*/ 50 w 169"/>
                <a:gd name="T33" fmla="*/ 47 h 126"/>
                <a:gd name="T34" fmla="*/ 37 w 169"/>
                <a:gd name="T35" fmla="*/ 50 h 126"/>
                <a:gd name="T36" fmla="*/ 23 w 169"/>
                <a:gd name="T37" fmla="*/ 38 h 126"/>
                <a:gd name="T38" fmla="*/ 31 w 169"/>
                <a:gd name="T39" fmla="*/ 27 h 126"/>
                <a:gd name="T40" fmla="*/ 29 w 169"/>
                <a:gd name="T41" fmla="*/ 12 h 126"/>
                <a:gd name="T42" fmla="*/ 40 w 169"/>
                <a:gd name="T43" fmla="*/ 3 h 126"/>
                <a:gd name="T44" fmla="*/ 55 w 169"/>
                <a:gd name="T45" fmla="*/ 18 h 126"/>
                <a:gd name="T46" fmla="*/ 62 w 169"/>
                <a:gd name="T47" fmla="*/ 6 h 126"/>
                <a:gd name="T48" fmla="*/ 83 w 169"/>
                <a:gd name="T49" fmla="*/ 0 h 126"/>
                <a:gd name="T50" fmla="*/ 95 w 169"/>
                <a:gd name="T51" fmla="*/ 10 h 126"/>
                <a:gd name="T52" fmla="*/ 129 w 169"/>
                <a:gd name="T53" fmla="*/ 6 h 126"/>
                <a:gd name="T54" fmla="*/ 151 w 169"/>
                <a:gd name="T55" fmla="*/ 7 h 126"/>
                <a:gd name="T56" fmla="*/ 169 w 169"/>
                <a:gd name="T57" fmla="*/ 2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9" h="126">
                  <a:moveTo>
                    <a:pt x="144" y="21"/>
                  </a:moveTo>
                  <a:lnTo>
                    <a:pt x="134" y="33"/>
                  </a:lnTo>
                  <a:lnTo>
                    <a:pt x="144" y="42"/>
                  </a:lnTo>
                  <a:lnTo>
                    <a:pt x="143" y="87"/>
                  </a:lnTo>
                  <a:lnTo>
                    <a:pt x="130" y="91"/>
                  </a:lnTo>
                  <a:lnTo>
                    <a:pt x="124" y="102"/>
                  </a:lnTo>
                  <a:lnTo>
                    <a:pt x="97" y="108"/>
                  </a:lnTo>
                  <a:lnTo>
                    <a:pt x="98" y="117"/>
                  </a:lnTo>
                  <a:lnTo>
                    <a:pt x="91" y="126"/>
                  </a:lnTo>
                  <a:lnTo>
                    <a:pt x="76" y="85"/>
                  </a:lnTo>
                  <a:lnTo>
                    <a:pt x="57" y="99"/>
                  </a:lnTo>
                  <a:lnTo>
                    <a:pt x="40" y="101"/>
                  </a:lnTo>
                  <a:lnTo>
                    <a:pt x="0" y="96"/>
                  </a:lnTo>
                  <a:lnTo>
                    <a:pt x="20" y="81"/>
                  </a:lnTo>
                  <a:lnTo>
                    <a:pt x="58" y="68"/>
                  </a:lnTo>
                  <a:lnTo>
                    <a:pt x="64" y="60"/>
                  </a:lnTo>
                  <a:lnTo>
                    <a:pt x="50" y="47"/>
                  </a:lnTo>
                  <a:lnTo>
                    <a:pt x="37" y="50"/>
                  </a:lnTo>
                  <a:lnTo>
                    <a:pt x="23" y="38"/>
                  </a:lnTo>
                  <a:lnTo>
                    <a:pt x="31" y="27"/>
                  </a:lnTo>
                  <a:lnTo>
                    <a:pt x="29" y="12"/>
                  </a:lnTo>
                  <a:lnTo>
                    <a:pt x="40" y="3"/>
                  </a:lnTo>
                  <a:lnTo>
                    <a:pt x="55" y="18"/>
                  </a:lnTo>
                  <a:lnTo>
                    <a:pt x="62" y="6"/>
                  </a:lnTo>
                  <a:lnTo>
                    <a:pt x="83" y="0"/>
                  </a:lnTo>
                  <a:lnTo>
                    <a:pt x="95" y="10"/>
                  </a:lnTo>
                  <a:lnTo>
                    <a:pt x="129" y="6"/>
                  </a:lnTo>
                  <a:lnTo>
                    <a:pt x="151" y="7"/>
                  </a:lnTo>
                  <a:lnTo>
                    <a:pt x="169" y="2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82" name="Freeform 194">
              <a:extLst>
                <a:ext uri="{FF2B5EF4-FFF2-40B4-BE49-F238E27FC236}">
                  <a16:creationId xmlns:a16="http://schemas.microsoft.com/office/drawing/2014/main" id="{692A4FDB-0B93-4826-9574-B7E12A7529C9}"/>
                </a:ext>
              </a:extLst>
            </p:cNvPr>
            <p:cNvSpPr>
              <a:spLocks/>
            </p:cNvSpPr>
            <p:nvPr/>
          </p:nvSpPr>
          <p:spPr bwMode="auto">
            <a:xfrm>
              <a:off x="4217244" y="3042460"/>
              <a:ext cx="118883" cy="86810"/>
            </a:xfrm>
            <a:custGeom>
              <a:avLst/>
              <a:gdLst>
                <a:gd name="T0" fmla="*/ 0 w 90"/>
                <a:gd name="T1" fmla="*/ 18 h 65"/>
                <a:gd name="T2" fmla="*/ 32 w 90"/>
                <a:gd name="T3" fmla="*/ 0 h 65"/>
                <a:gd name="T4" fmla="*/ 50 w 90"/>
                <a:gd name="T5" fmla="*/ 9 h 65"/>
                <a:gd name="T6" fmla="*/ 62 w 90"/>
                <a:gd name="T7" fmla="*/ 9 h 65"/>
                <a:gd name="T8" fmla="*/ 74 w 90"/>
                <a:gd name="T9" fmla="*/ 21 h 65"/>
                <a:gd name="T10" fmla="*/ 89 w 90"/>
                <a:gd name="T11" fmla="*/ 37 h 65"/>
                <a:gd name="T12" fmla="*/ 80 w 90"/>
                <a:gd name="T13" fmla="*/ 55 h 65"/>
                <a:gd name="T14" fmla="*/ 64 w 90"/>
                <a:gd name="T15" fmla="*/ 62 h 65"/>
                <a:gd name="T16" fmla="*/ 45 w 90"/>
                <a:gd name="T17" fmla="*/ 64 h 65"/>
                <a:gd name="T18" fmla="*/ 42 w 90"/>
                <a:gd name="T19" fmla="*/ 50 h 65"/>
                <a:gd name="T20" fmla="*/ 35 w 90"/>
                <a:gd name="T21" fmla="*/ 37 h 65"/>
                <a:gd name="T22" fmla="*/ 15 w 90"/>
                <a:gd name="T23" fmla="*/ 31 h 65"/>
                <a:gd name="T24" fmla="*/ 0 w 90"/>
                <a:gd name="T25" fmla="*/ 1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 h="65">
                  <a:moveTo>
                    <a:pt x="0" y="18"/>
                  </a:moveTo>
                  <a:lnTo>
                    <a:pt x="32" y="0"/>
                  </a:lnTo>
                  <a:lnTo>
                    <a:pt x="50" y="9"/>
                  </a:lnTo>
                  <a:lnTo>
                    <a:pt x="62" y="9"/>
                  </a:lnTo>
                  <a:lnTo>
                    <a:pt x="74" y="21"/>
                  </a:lnTo>
                  <a:lnTo>
                    <a:pt x="89" y="37"/>
                  </a:lnTo>
                  <a:lnTo>
                    <a:pt x="80" y="55"/>
                  </a:lnTo>
                  <a:lnTo>
                    <a:pt x="64" y="62"/>
                  </a:lnTo>
                  <a:lnTo>
                    <a:pt x="45" y="64"/>
                  </a:lnTo>
                  <a:lnTo>
                    <a:pt x="42" y="50"/>
                  </a:lnTo>
                  <a:lnTo>
                    <a:pt x="35" y="37"/>
                  </a:lnTo>
                  <a:lnTo>
                    <a:pt x="15" y="31"/>
                  </a:lnTo>
                  <a:lnTo>
                    <a:pt x="0" y="18"/>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83" name="Freeform 196">
              <a:extLst>
                <a:ext uri="{FF2B5EF4-FFF2-40B4-BE49-F238E27FC236}">
                  <a16:creationId xmlns:a16="http://schemas.microsoft.com/office/drawing/2014/main" id="{7FBFC9C0-E753-446E-A472-542CCC01ABC4}"/>
                </a:ext>
              </a:extLst>
            </p:cNvPr>
            <p:cNvSpPr>
              <a:spLocks/>
            </p:cNvSpPr>
            <p:nvPr/>
          </p:nvSpPr>
          <p:spPr bwMode="auto">
            <a:xfrm>
              <a:off x="6090835" y="3003217"/>
              <a:ext cx="93917" cy="117729"/>
            </a:xfrm>
            <a:custGeom>
              <a:avLst/>
              <a:gdLst>
                <a:gd name="T0" fmla="*/ 12 w 71"/>
                <a:gd name="T1" fmla="*/ 8 h 89"/>
                <a:gd name="T2" fmla="*/ 15 w 71"/>
                <a:gd name="T3" fmla="*/ 26 h 89"/>
                <a:gd name="T4" fmla="*/ 17 w 71"/>
                <a:gd name="T5" fmla="*/ 42 h 89"/>
                <a:gd name="T6" fmla="*/ 8 w 71"/>
                <a:gd name="T7" fmla="*/ 58 h 89"/>
                <a:gd name="T8" fmla="*/ 0 w 71"/>
                <a:gd name="T9" fmla="*/ 73 h 89"/>
                <a:gd name="T10" fmla="*/ 9 w 71"/>
                <a:gd name="T11" fmla="*/ 80 h 89"/>
                <a:gd name="T12" fmla="*/ 26 w 71"/>
                <a:gd name="T13" fmla="*/ 74 h 89"/>
                <a:gd name="T14" fmla="*/ 42 w 71"/>
                <a:gd name="T15" fmla="*/ 77 h 89"/>
                <a:gd name="T16" fmla="*/ 42 w 71"/>
                <a:gd name="T17" fmla="*/ 78 h 89"/>
                <a:gd name="T18" fmla="*/ 42 w 71"/>
                <a:gd name="T19" fmla="*/ 79 h 89"/>
                <a:gd name="T20" fmla="*/ 43 w 71"/>
                <a:gd name="T21" fmla="*/ 80 h 89"/>
                <a:gd name="T22" fmla="*/ 44 w 71"/>
                <a:gd name="T23" fmla="*/ 80 h 89"/>
                <a:gd name="T24" fmla="*/ 44 w 71"/>
                <a:gd name="T25" fmla="*/ 83 h 89"/>
                <a:gd name="T26" fmla="*/ 45 w 71"/>
                <a:gd name="T27" fmla="*/ 85 h 89"/>
                <a:gd name="T28" fmla="*/ 46 w 71"/>
                <a:gd name="T29" fmla="*/ 85 h 89"/>
                <a:gd name="T30" fmla="*/ 48 w 71"/>
                <a:gd name="T31" fmla="*/ 87 h 89"/>
                <a:gd name="T32" fmla="*/ 48 w 71"/>
                <a:gd name="T33" fmla="*/ 88 h 89"/>
                <a:gd name="T34" fmla="*/ 49 w 71"/>
                <a:gd name="T35" fmla="*/ 88 h 89"/>
                <a:gd name="T36" fmla="*/ 50 w 71"/>
                <a:gd name="T37" fmla="*/ 87 h 89"/>
                <a:gd name="T38" fmla="*/ 50 w 71"/>
                <a:gd name="T39" fmla="*/ 86 h 89"/>
                <a:gd name="T40" fmla="*/ 50 w 71"/>
                <a:gd name="T41" fmla="*/ 85 h 89"/>
                <a:gd name="T42" fmla="*/ 51 w 71"/>
                <a:gd name="T43" fmla="*/ 83 h 89"/>
                <a:gd name="T44" fmla="*/ 51 w 71"/>
                <a:gd name="T45" fmla="*/ 80 h 89"/>
                <a:gd name="T46" fmla="*/ 53 w 71"/>
                <a:gd name="T47" fmla="*/ 78 h 89"/>
                <a:gd name="T48" fmla="*/ 55 w 71"/>
                <a:gd name="T49" fmla="*/ 76 h 89"/>
                <a:gd name="T50" fmla="*/ 55 w 71"/>
                <a:gd name="T51" fmla="*/ 74 h 89"/>
                <a:gd name="T52" fmla="*/ 57 w 71"/>
                <a:gd name="T53" fmla="*/ 71 h 89"/>
                <a:gd name="T54" fmla="*/ 58 w 71"/>
                <a:gd name="T55" fmla="*/ 69 h 89"/>
                <a:gd name="T56" fmla="*/ 59 w 71"/>
                <a:gd name="T57" fmla="*/ 68 h 89"/>
                <a:gd name="T58" fmla="*/ 59 w 71"/>
                <a:gd name="T59" fmla="*/ 67 h 89"/>
                <a:gd name="T60" fmla="*/ 60 w 71"/>
                <a:gd name="T61" fmla="*/ 66 h 89"/>
                <a:gd name="T62" fmla="*/ 70 w 71"/>
                <a:gd name="T63" fmla="*/ 61 h 89"/>
                <a:gd name="T64" fmla="*/ 67 w 71"/>
                <a:gd name="T65" fmla="*/ 42 h 89"/>
                <a:gd name="T66" fmla="*/ 52 w 71"/>
                <a:gd name="T67" fmla="*/ 37 h 89"/>
                <a:gd name="T68" fmla="*/ 31 w 71"/>
                <a:gd name="T69" fmla="*/ 30 h 89"/>
                <a:gd name="T70" fmla="*/ 25 w 71"/>
                <a:gd name="T71" fmla="*/ 14 h 89"/>
                <a:gd name="T72" fmla="*/ 18 w 71"/>
                <a:gd name="T73" fmla="*/ 0 h 89"/>
                <a:gd name="T74" fmla="*/ 12 w 71"/>
                <a:gd name="T75"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89">
                  <a:moveTo>
                    <a:pt x="12" y="8"/>
                  </a:moveTo>
                  <a:lnTo>
                    <a:pt x="15" y="26"/>
                  </a:lnTo>
                  <a:lnTo>
                    <a:pt x="17" y="42"/>
                  </a:lnTo>
                  <a:lnTo>
                    <a:pt x="8" y="58"/>
                  </a:lnTo>
                  <a:lnTo>
                    <a:pt x="0" y="73"/>
                  </a:lnTo>
                  <a:lnTo>
                    <a:pt x="9" y="80"/>
                  </a:lnTo>
                  <a:lnTo>
                    <a:pt x="26" y="74"/>
                  </a:lnTo>
                  <a:lnTo>
                    <a:pt x="42" y="77"/>
                  </a:lnTo>
                  <a:lnTo>
                    <a:pt x="42" y="78"/>
                  </a:lnTo>
                  <a:lnTo>
                    <a:pt x="42" y="79"/>
                  </a:lnTo>
                  <a:lnTo>
                    <a:pt x="43" y="80"/>
                  </a:lnTo>
                  <a:lnTo>
                    <a:pt x="44" y="80"/>
                  </a:lnTo>
                  <a:lnTo>
                    <a:pt x="44" y="83"/>
                  </a:lnTo>
                  <a:lnTo>
                    <a:pt x="45" y="85"/>
                  </a:lnTo>
                  <a:lnTo>
                    <a:pt x="46" y="85"/>
                  </a:lnTo>
                  <a:lnTo>
                    <a:pt x="48" y="87"/>
                  </a:lnTo>
                  <a:lnTo>
                    <a:pt x="48" y="88"/>
                  </a:lnTo>
                  <a:lnTo>
                    <a:pt x="49" y="88"/>
                  </a:lnTo>
                  <a:lnTo>
                    <a:pt x="50" y="87"/>
                  </a:lnTo>
                  <a:lnTo>
                    <a:pt x="50" y="86"/>
                  </a:lnTo>
                  <a:lnTo>
                    <a:pt x="50" y="85"/>
                  </a:lnTo>
                  <a:lnTo>
                    <a:pt x="51" y="83"/>
                  </a:lnTo>
                  <a:lnTo>
                    <a:pt x="51" y="80"/>
                  </a:lnTo>
                  <a:lnTo>
                    <a:pt x="53" y="78"/>
                  </a:lnTo>
                  <a:lnTo>
                    <a:pt x="55" y="76"/>
                  </a:lnTo>
                  <a:lnTo>
                    <a:pt x="55" y="74"/>
                  </a:lnTo>
                  <a:lnTo>
                    <a:pt x="57" y="71"/>
                  </a:lnTo>
                  <a:lnTo>
                    <a:pt x="58" y="69"/>
                  </a:lnTo>
                  <a:lnTo>
                    <a:pt x="59" y="68"/>
                  </a:lnTo>
                  <a:lnTo>
                    <a:pt x="59" y="67"/>
                  </a:lnTo>
                  <a:lnTo>
                    <a:pt x="60" y="66"/>
                  </a:lnTo>
                  <a:lnTo>
                    <a:pt x="70" y="61"/>
                  </a:lnTo>
                  <a:lnTo>
                    <a:pt x="67" y="42"/>
                  </a:lnTo>
                  <a:lnTo>
                    <a:pt x="52" y="37"/>
                  </a:lnTo>
                  <a:lnTo>
                    <a:pt x="31" y="30"/>
                  </a:lnTo>
                  <a:lnTo>
                    <a:pt x="25" y="14"/>
                  </a:lnTo>
                  <a:lnTo>
                    <a:pt x="18" y="0"/>
                  </a:lnTo>
                  <a:lnTo>
                    <a:pt x="12" y="8"/>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84" name="Freeform 197">
              <a:extLst>
                <a:ext uri="{FF2B5EF4-FFF2-40B4-BE49-F238E27FC236}">
                  <a16:creationId xmlns:a16="http://schemas.microsoft.com/office/drawing/2014/main" id="{ED6BB01F-16F6-4235-9520-F86E506134D1}"/>
                </a:ext>
              </a:extLst>
            </p:cNvPr>
            <p:cNvSpPr>
              <a:spLocks/>
            </p:cNvSpPr>
            <p:nvPr/>
          </p:nvSpPr>
          <p:spPr bwMode="auto">
            <a:xfrm>
              <a:off x="5982651" y="3129270"/>
              <a:ext cx="181890" cy="191458"/>
            </a:xfrm>
            <a:custGeom>
              <a:avLst/>
              <a:gdLst>
                <a:gd name="T0" fmla="*/ 99 w 136"/>
                <a:gd name="T1" fmla="*/ 0 h 143"/>
                <a:gd name="T2" fmla="*/ 114 w 136"/>
                <a:gd name="T3" fmla="*/ 0 h 143"/>
                <a:gd name="T4" fmla="*/ 118 w 136"/>
                <a:gd name="T5" fmla="*/ 25 h 143"/>
                <a:gd name="T6" fmla="*/ 123 w 136"/>
                <a:gd name="T7" fmla="*/ 34 h 143"/>
                <a:gd name="T8" fmla="*/ 135 w 136"/>
                <a:gd name="T9" fmla="*/ 45 h 143"/>
                <a:gd name="T10" fmla="*/ 117 w 136"/>
                <a:gd name="T11" fmla="*/ 60 h 143"/>
                <a:gd name="T12" fmla="*/ 125 w 136"/>
                <a:gd name="T13" fmla="*/ 87 h 143"/>
                <a:gd name="T14" fmla="*/ 121 w 136"/>
                <a:gd name="T15" fmla="*/ 103 h 143"/>
                <a:gd name="T16" fmla="*/ 114 w 136"/>
                <a:gd name="T17" fmla="*/ 112 h 143"/>
                <a:gd name="T18" fmla="*/ 106 w 136"/>
                <a:gd name="T19" fmla="*/ 114 h 143"/>
                <a:gd name="T20" fmla="*/ 101 w 136"/>
                <a:gd name="T21" fmla="*/ 127 h 143"/>
                <a:gd name="T22" fmla="*/ 91 w 136"/>
                <a:gd name="T23" fmla="*/ 116 h 143"/>
                <a:gd name="T24" fmla="*/ 86 w 136"/>
                <a:gd name="T25" fmla="*/ 122 h 143"/>
                <a:gd name="T26" fmla="*/ 67 w 136"/>
                <a:gd name="T27" fmla="*/ 123 h 143"/>
                <a:gd name="T28" fmla="*/ 63 w 136"/>
                <a:gd name="T29" fmla="*/ 114 h 143"/>
                <a:gd name="T30" fmla="*/ 55 w 136"/>
                <a:gd name="T31" fmla="*/ 116 h 143"/>
                <a:gd name="T32" fmla="*/ 55 w 136"/>
                <a:gd name="T33" fmla="*/ 139 h 143"/>
                <a:gd name="T34" fmla="*/ 46 w 136"/>
                <a:gd name="T35" fmla="*/ 133 h 143"/>
                <a:gd name="T36" fmla="*/ 40 w 136"/>
                <a:gd name="T37" fmla="*/ 124 h 143"/>
                <a:gd name="T38" fmla="*/ 36 w 136"/>
                <a:gd name="T39" fmla="*/ 139 h 143"/>
                <a:gd name="T40" fmla="*/ 26 w 136"/>
                <a:gd name="T41" fmla="*/ 142 h 143"/>
                <a:gd name="T42" fmla="*/ 19 w 136"/>
                <a:gd name="T43" fmla="*/ 131 h 143"/>
                <a:gd name="T44" fmla="*/ 7 w 136"/>
                <a:gd name="T45" fmla="*/ 129 h 143"/>
                <a:gd name="T46" fmla="*/ 0 w 136"/>
                <a:gd name="T47" fmla="*/ 123 h 143"/>
                <a:gd name="T48" fmla="*/ 11 w 136"/>
                <a:gd name="T49" fmla="*/ 112 h 143"/>
                <a:gd name="T50" fmla="*/ 23 w 136"/>
                <a:gd name="T51" fmla="*/ 105 h 143"/>
                <a:gd name="T52" fmla="*/ 32 w 136"/>
                <a:gd name="T53" fmla="*/ 97 h 143"/>
                <a:gd name="T54" fmla="*/ 54 w 136"/>
                <a:gd name="T55" fmla="*/ 99 h 143"/>
                <a:gd name="T56" fmla="*/ 55 w 136"/>
                <a:gd name="T57" fmla="*/ 84 h 143"/>
                <a:gd name="T58" fmla="*/ 60 w 136"/>
                <a:gd name="T59" fmla="*/ 72 h 143"/>
                <a:gd name="T60" fmla="*/ 68 w 136"/>
                <a:gd name="T61" fmla="*/ 76 h 143"/>
                <a:gd name="T62" fmla="*/ 88 w 136"/>
                <a:gd name="T63" fmla="*/ 73 h 143"/>
                <a:gd name="T64" fmla="*/ 91 w 136"/>
                <a:gd name="T65" fmla="*/ 62 h 143"/>
                <a:gd name="T66" fmla="*/ 91 w 136"/>
                <a:gd name="T67" fmla="*/ 44 h 143"/>
                <a:gd name="T68" fmla="*/ 97 w 136"/>
                <a:gd name="T69" fmla="*/ 34 h 143"/>
                <a:gd name="T70" fmla="*/ 92 w 136"/>
                <a:gd name="T71" fmla="*/ 10 h 143"/>
                <a:gd name="T72" fmla="*/ 99 w 136"/>
                <a:gd name="T7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6" h="143">
                  <a:moveTo>
                    <a:pt x="99" y="0"/>
                  </a:moveTo>
                  <a:lnTo>
                    <a:pt x="114" y="0"/>
                  </a:lnTo>
                  <a:lnTo>
                    <a:pt x="118" y="25"/>
                  </a:lnTo>
                  <a:lnTo>
                    <a:pt x="123" y="34"/>
                  </a:lnTo>
                  <a:lnTo>
                    <a:pt x="135" y="45"/>
                  </a:lnTo>
                  <a:lnTo>
                    <a:pt x="117" y="60"/>
                  </a:lnTo>
                  <a:lnTo>
                    <a:pt x="125" y="87"/>
                  </a:lnTo>
                  <a:lnTo>
                    <a:pt x="121" y="103"/>
                  </a:lnTo>
                  <a:lnTo>
                    <a:pt x="114" y="112"/>
                  </a:lnTo>
                  <a:lnTo>
                    <a:pt x="106" y="114"/>
                  </a:lnTo>
                  <a:lnTo>
                    <a:pt x="101" y="127"/>
                  </a:lnTo>
                  <a:lnTo>
                    <a:pt x="91" y="116"/>
                  </a:lnTo>
                  <a:lnTo>
                    <a:pt x="86" y="122"/>
                  </a:lnTo>
                  <a:lnTo>
                    <a:pt x="67" y="123"/>
                  </a:lnTo>
                  <a:lnTo>
                    <a:pt x="63" y="114"/>
                  </a:lnTo>
                  <a:lnTo>
                    <a:pt x="55" y="116"/>
                  </a:lnTo>
                  <a:lnTo>
                    <a:pt x="55" y="139"/>
                  </a:lnTo>
                  <a:lnTo>
                    <a:pt x="46" y="133"/>
                  </a:lnTo>
                  <a:lnTo>
                    <a:pt x="40" y="124"/>
                  </a:lnTo>
                  <a:lnTo>
                    <a:pt x="36" y="139"/>
                  </a:lnTo>
                  <a:lnTo>
                    <a:pt x="26" y="142"/>
                  </a:lnTo>
                  <a:lnTo>
                    <a:pt x="19" y="131"/>
                  </a:lnTo>
                  <a:lnTo>
                    <a:pt x="7" y="129"/>
                  </a:lnTo>
                  <a:lnTo>
                    <a:pt x="0" y="123"/>
                  </a:lnTo>
                  <a:lnTo>
                    <a:pt x="11" y="112"/>
                  </a:lnTo>
                  <a:lnTo>
                    <a:pt x="23" y="105"/>
                  </a:lnTo>
                  <a:lnTo>
                    <a:pt x="32" y="97"/>
                  </a:lnTo>
                  <a:lnTo>
                    <a:pt x="54" y="99"/>
                  </a:lnTo>
                  <a:lnTo>
                    <a:pt x="55" y="84"/>
                  </a:lnTo>
                  <a:lnTo>
                    <a:pt x="60" y="72"/>
                  </a:lnTo>
                  <a:lnTo>
                    <a:pt x="68" y="76"/>
                  </a:lnTo>
                  <a:lnTo>
                    <a:pt x="88" y="73"/>
                  </a:lnTo>
                  <a:lnTo>
                    <a:pt x="91" y="62"/>
                  </a:lnTo>
                  <a:lnTo>
                    <a:pt x="91" y="44"/>
                  </a:lnTo>
                  <a:lnTo>
                    <a:pt x="97" y="34"/>
                  </a:lnTo>
                  <a:lnTo>
                    <a:pt x="92" y="10"/>
                  </a:lnTo>
                  <a:lnTo>
                    <a:pt x="99"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85" name="Freeform 198">
              <a:extLst>
                <a:ext uri="{FF2B5EF4-FFF2-40B4-BE49-F238E27FC236}">
                  <a16:creationId xmlns:a16="http://schemas.microsoft.com/office/drawing/2014/main" id="{DEEAC13E-B9B4-4488-BEB2-92B13D7F34A7}"/>
                </a:ext>
              </a:extLst>
            </p:cNvPr>
            <p:cNvSpPr>
              <a:spLocks/>
            </p:cNvSpPr>
            <p:nvPr/>
          </p:nvSpPr>
          <p:spPr bwMode="auto">
            <a:xfrm>
              <a:off x="5938665" y="3308837"/>
              <a:ext cx="43987" cy="73729"/>
            </a:xfrm>
            <a:custGeom>
              <a:avLst/>
              <a:gdLst>
                <a:gd name="T0" fmla="*/ 14 w 34"/>
                <a:gd name="T1" fmla="*/ 5 h 54"/>
                <a:gd name="T2" fmla="*/ 8 w 34"/>
                <a:gd name="T3" fmla="*/ 15 h 54"/>
                <a:gd name="T4" fmla="*/ 0 w 34"/>
                <a:gd name="T5" fmla="*/ 21 h 54"/>
                <a:gd name="T6" fmla="*/ 7 w 34"/>
                <a:gd name="T7" fmla="*/ 36 h 54"/>
                <a:gd name="T8" fmla="*/ 14 w 34"/>
                <a:gd name="T9" fmla="*/ 28 h 54"/>
                <a:gd name="T10" fmla="*/ 21 w 34"/>
                <a:gd name="T11" fmla="*/ 31 h 54"/>
                <a:gd name="T12" fmla="*/ 19 w 34"/>
                <a:gd name="T13" fmla="*/ 40 h 54"/>
                <a:gd name="T14" fmla="*/ 25 w 34"/>
                <a:gd name="T15" fmla="*/ 53 h 54"/>
                <a:gd name="T16" fmla="*/ 33 w 34"/>
                <a:gd name="T17" fmla="*/ 47 h 54"/>
                <a:gd name="T18" fmla="*/ 33 w 34"/>
                <a:gd name="T19" fmla="*/ 32 h 54"/>
                <a:gd name="T20" fmla="*/ 31 w 34"/>
                <a:gd name="T21" fmla="*/ 8 h 54"/>
                <a:gd name="T22" fmla="*/ 25 w 34"/>
                <a:gd name="T23" fmla="*/ 0 h 54"/>
                <a:gd name="T24" fmla="*/ 14 w 34"/>
                <a:gd name="T25" fmla="*/ 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54">
                  <a:moveTo>
                    <a:pt x="14" y="5"/>
                  </a:moveTo>
                  <a:lnTo>
                    <a:pt x="8" y="15"/>
                  </a:lnTo>
                  <a:lnTo>
                    <a:pt x="0" y="21"/>
                  </a:lnTo>
                  <a:lnTo>
                    <a:pt x="7" y="36"/>
                  </a:lnTo>
                  <a:lnTo>
                    <a:pt x="14" y="28"/>
                  </a:lnTo>
                  <a:lnTo>
                    <a:pt x="21" y="31"/>
                  </a:lnTo>
                  <a:lnTo>
                    <a:pt x="19" y="40"/>
                  </a:lnTo>
                  <a:lnTo>
                    <a:pt x="25" y="53"/>
                  </a:lnTo>
                  <a:lnTo>
                    <a:pt x="33" y="47"/>
                  </a:lnTo>
                  <a:lnTo>
                    <a:pt x="33" y="32"/>
                  </a:lnTo>
                  <a:lnTo>
                    <a:pt x="31" y="8"/>
                  </a:lnTo>
                  <a:lnTo>
                    <a:pt x="25" y="0"/>
                  </a:lnTo>
                  <a:lnTo>
                    <a:pt x="14" y="5"/>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86" name="Freeform 199">
              <a:extLst>
                <a:ext uri="{FF2B5EF4-FFF2-40B4-BE49-F238E27FC236}">
                  <a16:creationId xmlns:a16="http://schemas.microsoft.com/office/drawing/2014/main" id="{DDD61AF6-4CF8-4883-A601-CA70345C7523}"/>
                </a:ext>
              </a:extLst>
            </p:cNvPr>
            <p:cNvSpPr>
              <a:spLocks/>
            </p:cNvSpPr>
            <p:nvPr/>
          </p:nvSpPr>
          <p:spPr bwMode="auto">
            <a:xfrm>
              <a:off x="4873476" y="2822461"/>
              <a:ext cx="1087776" cy="803887"/>
            </a:xfrm>
            <a:custGeom>
              <a:avLst/>
              <a:gdLst>
                <a:gd name="T0" fmla="*/ 622 w 817"/>
                <a:gd name="T1" fmla="*/ 289 h 602"/>
                <a:gd name="T2" fmla="*/ 663 w 817"/>
                <a:gd name="T3" fmla="*/ 292 h 602"/>
                <a:gd name="T4" fmla="*/ 670 w 817"/>
                <a:gd name="T5" fmla="*/ 320 h 602"/>
                <a:gd name="T6" fmla="*/ 674 w 817"/>
                <a:gd name="T7" fmla="*/ 378 h 602"/>
                <a:gd name="T8" fmla="*/ 696 w 817"/>
                <a:gd name="T9" fmla="*/ 431 h 602"/>
                <a:gd name="T10" fmla="*/ 691 w 817"/>
                <a:gd name="T11" fmla="*/ 487 h 602"/>
                <a:gd name="T12" fmla="*/ 664 w 817"/>
                <a:gd name="T13" fmla="*/ 529 h 602"/>
                <a:gd name="T14" fmla="*/ 641 w 817"/>
                <a:gd name="T15" fmla="*/ 548 h 602"/>
                <a:gd name="T16" fmla="*/ 595 w 817"/>
                <a:gd name="T17" fmla="*/ 567 h 602"/>
                <a:gd name="T18" fmla="*/ 540 w 817"/>
                <a:gd name="T19" fmla="*/ 601 h 602"/>
                <a:gd name="T20" fmla="*/ 519 w 817"/>
                <a:gd name="T21" fmla="*/ 593 h 602"/>
                <a:gd name="T22" fmla="*/ 460 w 817"/>
                <a:gd name="T23" fmla="*/ 555 h 602"/>
                <a:gd name="T24" fmla="*/ 428 w 817"/>
                <a:gd name="T25" fmla="*/ 587 h 602"/>
                <a:gd name="T26" fmla="*/ 391 w 817"/>
                <a:gd name="T27" fmla="*/ 577 h 602"/>
                <a:gd name="T28" fmla="*/ 364 w 817"/>
                <a:gd name="T29" fmla="*/ 537 h 602"/>
                <a:gd name="T30" fmla="*/ 380 w 817"/>
                <a:gd name="T31" fmla="*/ 504 h 602"/>
                <a:gd name="T32" fmla="*/ 354 w 817"/>
                <a:gd name="T33" fmla="*/ 481 h 602"/>
                <a:gd name="T34" fmla="*/ 306 w 817"/>
                <a:gd name="T35" fmla="*/ 458 h 602"/>
                <a:gd name="T36" fmla="*/ 257 w 817"/>
                <a:gd name="T37" fmla="*/ 479 h 602"/>
                <a:gd name="T38" fmla="*/ 219 w 817"/>
                <a:gd name="T39" fmla="*/ 480 h 602"/>
                <a:gd name="T40" fmla="*/ 163 w 817"/>
                <a:gd name="T41" fmla="*/ 464 h 602"/>
                <a:gd name="T42" fmla="*/ 142 w 817"/>
                <a:gd name="T43" fmla="*/ 450 h 602"/>
                <a:gd name="T44" fmla="*/ 100 w 817"/>
                <a:gd name="T45" fmla="*/ 426 h 602"/>
                <a:gd name="T46" fmla="*/ 68 w 817"/>
                <a:gd name="T47" fmla="*/ 387 h 602"/>
                <a:gd name="T48" fmla="*/ 17 w 817"/>
                <a:gd name="T49" fmla="*/ 387 h 602"/>
                <a:gd name="T50" fmla="*/ 14 w 817"/>
                <a:gd name="T51" fmla="*/ 344 h 602"/>
                <a:gd name="T52" fmla="*/ 15 w 817"/>
                <a:gd name="T53" fmla="*/ 310 h 602"/>
                <a:gd name="T54" fmla="*/ 14 w 817"/>
                <a:gd name="T55" fmla="*/ 269 h 602"/>
                <a:gd name="T56" fmla="*/ 40 w 817"/>
                <a:gd name="T57" fmla="*/ 266 h 602"/>
                <a:gd name="T58" fmla="*/ 81 w 817"/>
                <a:gd name="T59" fmla="*/ 248 h 602"/>
                <a:gd name="T60" fmla="*/ 76 w 817"/>
                <a:gd name="T61" fmla="*/ 192 h 602"/>
                <a:gd name="T62" fmla="*/ 111 w 817"/>
                <a:gd name="T63" fmla="*/ 161 h 602"/>
                <a:gd name="T64" fmla="*/ 150 w 817"/>
                <a:gd name="T65" fmla="*/ 126 h 602"/>
                <a:gd name="T66" fmla="*/ 172 w 817"/>
                <a:gd name="T67" fmla="*/ 105 h 602"/>
                <a:gd name="T68" fmla="*/ 210 w 817"/>
                <a:gd name="T69" fmla="*/ 120 h 602"/>
                <a:gd name="T70" fmla="*/ 258 w 817"/>
                <a:gd name="T71" fmla="*/ 167 h 602"/>
                <a:gd name="T72" fmla="*/ 298 w 817"/>
                <a:gd name="T73" fmla="*/ 198 h 602"/>
                <a:gd name="T74" fmla="*/ 406 w 817"/>
                <a:gd name="T75" fmla="*/ 218 h 602"/>
                <a:gd name="T76" fmla="*/ 460 w 817"/>
                <a:gd name="T77" fmla="*/ 214 h 602"/>
                <a:gd name="T78" fmla="*/ 513 w 817"/>
                <a:gd name="T79" fmla="*/ 182 h 602"/>
                <a:gd name="T80" fmla="*/ 546 w 817"/>
                <a:gd name="T81" fmla="*/ 158 h 602"/>
                <a:gd name="T82" fmla="*/ 604 w 817"/>
                <a:gd name="T83" fmla="*/ 124 h 602"/>
                <a:gd name="T84" fmla="*/ 558 w 817"/>
                <a:gd name="T85" fmla="*/ 115 h 602"/>
                <a:gd name="T86" fmla="*/ 557 w 817"/>
                <a:gd name="T87" fmla="*/ 65 h 602"/>
                <a:gd name="T88" fmla="*/ 591 w 817"/>
                <a:gd name="T89" fmla="*/ 49 h 602"/>
                <a:gd name="T90" fmla="*/ 600 w 817"/>
                <a:gd name="T91" fmla="*/ 0 h 602"/>
                <a:gd name="T92" fmla="*/ 689 w 817"/>
                <a:gd name="T93" fmla="*/ 29 h 602"/>
                <a:gd name="T94" fmla="*/ 714 w 817"/>
                <a:gd name="T95" fmla="*/ 73 h 602"/>
                <a:gd name="T96" fmla="*/ 763 w 817"/>
                <a:gd name="T97" fmla="*/ 97 h 602"/>
                <a:gd name="T98" fmla="*/ 808 w 817"/>
                <a:gd name="T99" fmla="*/ 103 h 602"/>
                <a:gd name="T100" fmla="*/ 806 w 817"/>
                <a:gd name="T101" fmla="*/ 130 h 602"/>
                <a:gd name="T102" fmla="*/ 783 w 817"/>
                <a:gd name="T103" fmla="*/ 178 h 602"/>
                <a:gd name="T104" fmla="*/ 797 w 817"/>
                <a:gd name="T105" fmla="*/ 198 h 602"/>
                <a:gd name="T106" fmla="*/ 755 w 817"/>
                <a:gd name="T107" fmla="*/ 230 h 602"/>
                <a:gd name="T108" fmla="*/ 721 w 817"/>
                <a:gd name="T109" fmla="*/ 248 h 602"/>
                <a:gd name="T110" fmla="*/ 669 w 817"/>
                <a:gd name="T111" fmla="*/ 275 h 602"/>
                <a:gd name="T112" fmla="*/ 657 w 817"/>
                <a:gd name="T113" fmla="*/ 241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17" h="602">
                  <a:moveTo>
                    <a:pt x="641" y="259"/>
                  </a:moveTo>
                  <a:lnTo>
                    <a:pt x="621" y="274"/>
                  </a:lnTo>
                  <a:lnTo>
                    <a:pt x="622" y="289"/>
                  </a:lnTo>
                  <a:lnTo>
                    <a:pt x="637" y="302"/>
                  </a:lnTo>
                  <a:lnTo>
                    <a:pt x="652" y="303"/>
                  </a:lnTo>
                  <a:lnTo>
                    <a:pt x="663" y="292"/>
                  </a:lnTo>
                  <a:lnTo>
                    <a:pt x="685" y="294"/>
                  </a:lnTo>
                  <a:lnTo>
                    <a:pt x="689" y="314"/>
                  </a:lnTo>
                  <a:lnTo>
                    <a:pt x="670" y="320"/>
                  </a:lnTo>
                  <a:lnTo>
                    <a:pt x="655" y="334"/>
                  </a:lnTo>
                  <a:lnTo>
                    <a:pt x="661" y="353"/>
                  </a:lnTo>
                  <a:lnTo>
                    <a:pt x="674" y="378"/>
                  </a:lnTo>
                  <a:lnTo>
                    <a:pt x="692" y="397"/>
                  </a:lnTo>
                  <a:lnTo>
                    <a:pt x="692" y="413"/>
                  </a:lnTo>
                  <a:lnTo>
                    <a:pt x="696" y="431"/>
                  </a:lnTo>
                  <a:lnTo>
                    <a:pt x="703" y="471"/>
                  </a:lnTo>
                  <a:lnTo>
                    <a:pt x="693" y="474"/>
                  </a:lnTo>
                  <a:lnTo>
                    <a:pt x="691" y="487"/>
                  </a:lnTo>
                  <a:lnTo>
                    <a:pt x="677" y="500"/>
                  </a:lnTo>
                  <a:lnTo>
                    <a:pt x="678" y="519"/>
                  </a:lnTo>
                  <a:lnTo>
                    <a:pt x="664" y="529"/>
                  </a:lnTo>
                  <a:lnTo>
                    <a:pt x="655" y="530"/>
                  </a:lnTo>
                  <a:lnTo>
                    <a:pt x="652" y="545"/>
                  </a:lnTo>
                  <a:lnTo>
                    <a:pt x="641" y="548"/>
                  </a:lnTo>
                  <a:lnTo>
                    <a:pt x="638" y="563"/>
                  </a:lnTo>
                  <a:lnTo>
                    <a:pt x="613" y="570"/>
                  </a:lnTo>
                  <a:lnTo>
                    <a:pt x="595" y="567"/>
                  </a:lnTo>
                  <a:lnTo>
                    <a:pt x="572" y="575"/>
                  </a:lnTo>
                  <a:lnTo>
                    <a:pt x="549" y="593"/>
                  </a:lnTo>
                  <a:lnTo>
                    <a:pt x="540" y="601"/>
                  </a:lnTo>
                  <a:lnTo>
                    <a:pt x="534" y="581"/>
                  </a:lnTo>
                  <a:lnTo>
                    <a:pt x="525" y="576"/>
                  </a:lnTo>
                  <a:lnTo>
                    <a:pt x="519" y="593"/>
                  </a:lnTo>
                  <a:lnTo>
                    <a:pt x="497" y="563"/>
                  </a:lnTo>
                  <a:lnTo>
                    <a:pt x="475" y="555"/>
                  </a:lnTo>
                  <a:lnTo>
                    <a:pt x="460" y="555"/>
                  </a:lnTo>
                  <a:lnTo>
                    <a:pt x="437" y="567"/>
                  </a:lnTo>
                  <a:lnTo>
                    <a:pt x="426" y="573"/>
                  </a:lnTo>
                  <a:lnTo>
                    <a:pt x="428" y="587"/>
                  </a:lnTo>
                  <a:lnTo>
                    <a:pt x="408" y="590"/>
                  </a:lnTo>
                  <a:lnTo>
                    <a:pt x="405" y="581"/>
                  </a:lnTo>
                  <a:lnTo>
                    <a:pt x="391" y="577"/>
                  </a:lnTo>
                  <a:lnTo>
                    <a:pt x="387" y="554"/>
                  </a:lnTo>
                  <a:lnTo>
                    <a:pt x="380" y="539"/>
                  </a:lnTo>
                  <a:lnTo>
                    <a:pt x="364" y="537"/>
                  </a:lnTo>
                  <a:lnTo>
                    <a:pt x="365" y="524"/>
                  </a:lnTo>
                  <a:lnTo>
                    <a:pt x="375" y="516"/>
                  </a:lnTo>
                  <a:lnTo>
                    <a:pt x="380" y="504"/>
                  </a:lnTo>
                  <a:lnTo>
                    <a:pt x="375" y="487"/>
                  </a:lnTo>
                  <a:lnTo>
                    <a:pt x="371" y="479"/>
                  </a:lnTo>
                  <a:lnTo>
                    <a:pt x="354" y="481"/>
                  </a:lnTo>
                  <a:lnTo>
                    <a:pt x="345" y="467"/>
                  </a:lnTo>
                  <a:lnTo>
                    <a:pt x="329" y="458"/>
                  </a:lnTo>
                  <a:lnTo>
                    <a:pt x="306" y="458"/>
                  </a:lnTo>
                  <a:lnTo>
                    <a:pt x="288" y="468"/>
                  </a:lnTo>
                  <a:lnTo>
                    <a:pt x="280" y="479"/>
                  </a:lnTo>
                  <a:lnTo>
                    <a:pt x="257" y="479"/>
                  </a:lnTo>
                  <a:lnTo>
                    <a:pt x="241" y="471"/>
                  </a:lnTo>
                  <a:lnTo>
                    <a:pt x="233" y="486"/>
                  </a:lnTo>
                  <a:lnTo>
                    <a:pt x="219" y="480"/>
                  </a:lnTo>
                  <a:lnTo>
                    <a:pt x="188" y="478"/>
                  </a:lnTo>
                  <a:lnTo>
                    <a:pt x="174" y="470"/>
                  </a:lnTo>
                  <a:lnTo>
                    <a:pt x="163" y="464"/>
                  </a:lnTo>
                  <a:lnTo>
                    <a:pt x="161" y="448"/>
                  </a:lnTo>
                  <a:lnTo>
                    <a:pt x="156" y="458"/>
                  </a:lnTo>
                  <a:lnTo>
                    <a:pt x="142" y="450"/>
                  </a:lnTo>
                  <a:lnTo>
                    <a:pt x="129" y="438"/>
                  </a:lnTo>
                  <a:lnTo>
                    <a:pt x="113" y="438"/>
                  </a:lnTo>
                  <a:lnTo>
                    <a:pt x="100" y="426"/>
                  </a:lnTo>
                  <a:lnTo>
                    <a:pt x="79" y="421"/>
                  </a:lnTo>
                  <a:lnTo>
                    <a:pt x="79" y="395"/>
                  </a:lnTo>
                  <a:lnTo>
                    <a:pt x="68" y="387"/>
                  </a:lnTo>
                  <a:lnTo>
                    <a:pt x="51" y="385"/>
                  </a:lnTo>
                  <a:lnTo>
                    <a:pt x="31" y="398"/>
                  </a:lnTo>
                  <a:lnTo>
                    <a:pt x="17" y="387"/>
                  </a:lnTo>
                  <a:lnTo>
                    <a:pt x="19" y="368"/>
                  </a:lnTo>
                  <a:lnTo>
                    <a:pt x="11" y="358"/>
                  </a:lnTo>
                  <a:lnTo>
                    <a:pt x="14" y="344"/>
                  </a:lnTo>
                  <a:lnTo>
                    <a:pt x="17" y="321"/>
                  </a:lnTo>
                  <a:lnTo>
                    <a:pt x="17" y="308"/>
                  </a:lnTo>
                  <a:lnTo>
                    <a:pt x="15" y="310"/>
                  </a:lnTo>
                  <a:lnTo>
                    <a:pt x="0" y="299"/>
                  </a:lnTo>
                  <a:lnTo>
                    <a:pt x="2" y="277"/>
                  </a:lnTo>
                  <a:lnTo>
                    <a:pt x="14" y="269"/>
                  </a:lnTo>
                  <a:lnTo>
                    <a:pt x="35" y="282"/>
                  </a:lnTo>
                  <a:lnTo>
                    <a:pt x="42" y="275"/>
                  </a:lnTo>
                  <a:lnTo>
                    <a:pt x="40" y="266"/>
                  </a:lnTo>
                  <a:lnTo>
                    <a:pt x="64" y="261"/>
                  </a:lnTo>
                  <a:lnTo>
                    <a:pt x="69" y="252"/>
                  </a:lnTo>
                  <a:lnTo>
                    <a:pt x="81" y="248"/>
                  </a:lnTo>
                  <a:lnTo>
                    <a:pt x="82" y="208"/>
                  </a:lnTo>
                  <a:lnTo>
                    <a:pt x="71" y="203"/>
                  </a:lnTo>
                  <a:lnTo>
                    <a:pt x="76" y="192"/>
                  </a:lnTo>
                  <a:lnTo>
                    <a:pt x="104" y="189"/>
                  </a:lnTo>
                  <a:lnTo>
                    <a:pt x="110" y="181"/>
                  </a:lnTo>
                  <a:lnTo>
                    <a:pt x="111" y="161"/>
                  </a:lnTo>
                  <a:lnTo>
                    <a:pt x="126" y="153"/>
                  </a:lnTo>
                  <a:lnTo>
                    <a:pt x="144" y="159"/>
                  </a:lnTo>
                  <a:lnTo>
                    <a:pt x="150" y="126"/>
                  </a:lnTo>
                  <a:lnTo>
                    <a:pt x="157" y="119"/>
                  </a:lnTo>
                  <a:lnTo>
                    <a:pt x="169" y="116"/>
                  </a:lnTo>
                  <a:lnTo>
                    <a:pt x="172" y="105"/>
                  </a:lnTo>
                  <a:lnTo>
                    <a:pt x="181" y="98"/>
                  </a:lnTo>
                  <a:lnTo>
                    <a:pt x="189" y="109"/>
                  </a:lnTo>
                  <a:lnTo>
                    <a:pt x="210" y="120"/>
                  </a:lnTo>
                  <a:lnTo>
                    <a:pt x="214" y="136"/>
                  </a:lnTo>
                  <a:lnTo>
                    <a:pt x="225" y="161"/>
                  </a:lnTo>
                  <a:lnTo>
                    <a:pt x="258" y="167"/>
                  </a:lnTo>
                  <a:lnTo>
                    <a:pt x="272" y="170"/>
                  </a:lnTo>
                  <a:lnTo>
                    <a:pt x="288" y="179"/>
                  </a:lnTo>
                  <a:lnTo>
                    <a:pt x="298" y="198"/>
                  </a:lnTo>
                  <a:lnTo>
                    <a:pt x="308" y="207"/>
                  </a:lnTo>
                  <a:lnTo>
                    <a:pt x="388" y="213"/>
                  </a:lnTo>
                  <a:lnTo>
                    <a:pt x="406" y="218"/>
                  </a:lnTo>
                  <a:lnTo>
                    <a:pt x="427" y="230"/>
                  </a:lnTo>
                  <a:lnTo>
                    <a:pt x="448" y="223"/>
                  </a:lnTo>
                  <a:lnTo>
                    <a:pt x="460" y="214"/>
                  </a:lnTo>
                  <a:lnTo>
                    <a:pt x="488" y="218"/>
                  </a:lnTo>
                  <a:lnTo>
                    <a:pt x="511" y="199"/>
                  </a:lnTo>
                  <a:lnTo>
                    <a:pt x="513" y="182"/>
                  </a:lnTo>
                  <a:lnTo>
                    <a:pt x="513" y="165"/>
                  </a:lnTo>
                  <a:lnTo>
                    <a:pt x="532" y="172"/>
                  </a:lnTo>
                  <a:lnTo>
                    <a:pt x="546" y="158"/>
                  </a:lnTo>
                  <a:lnTo>
                    <a:pt x="558" y="148"/>
                  </a:lnTo>
                  <a:lnTo>
                    <a:pt x="580" y="136"/>
                  </a:lnTo>
                  <a:lnTo>
                    <a:pt x="604" y="124"/>
                  </a:lnTo>
                  <a:lnTo>
                    <a:pt x="593" y="109"/>
                  </a:lnTo>
                  <a:lnTo>
                    <a:pt x="570" y="112"/>
                  </a:lnTo>
                  <a:lnTo>
                    <a:pt x="558" y="115"/>
                  </a:lnTo>
                  <a:lnTo>
                    <a:pt x="555" y="109"/>
                  </a:lnTo>
                  <a:lnTo>
                    <a:pt x="553" y="77"/>
                  </a:lnTo>
                  <a:lnTo>
                    <a:pt x="557" y="65"/>
                  </a:lnTo>
                  <a:lnTo>
                    <a:pt x="568" y="76"/>
                  </a:lnTo>
                  <a:lnTo>
                    <a:pt x="587" y="76"/>
                  </a:lnTo>
                  <a:lnTo>
                    <a:pt x="591" y="49"/>
                  </a:lnTo>
                  <a:lnTo>
                    <a:pt x="602" y="40"/>
                  </a:lnTo>
                  <a:lnTo>
                    <a:pt x="592" y="14"/>
                  </a:lnTo>
                  <a:lnTo>
                    <a:pt x="600" y="0"/>
                  </a:lnTo>
                  <a:lnTo>
                    <a:pt x="661" y="1"/>
                  </a:lnTo>
                  <a:lnTo>
                    <a:pt x="675" y="17"/>
                  </a:lnTo>
                  <a:lnTo>
                    <a:pt x="689" y="29"/>
                  </a:lnTo>
                  <a:lnTo>
                    <a:pt x="700" y="42"/>
                  </a:lnTo>
                  <a:lnTo>
                    <a:pt x="703" y="59"/>
                  </a:lnTo>
                  <a:lnTo>
                    <a:pt x="714" y="73"/>
                  </a:lnTo>
                  <a:lnTo>
                    <a:pt x="740" y="78"/>
                  </a:lnTo>
                  <a:lnTo>
                    <a:pt x="751" y="88"/>
                  </a:lnTo>
                  <a:lnTo>
                    <a:pt x="763" y="97"/>
                  </a:lnTo>
                  <a:lnTo>
                    <a:pt x="769" y="106"/>
                  </a:lnTo>
                  <a:lnTo>
                    <a:pt x="783" y="107"/>
                  </a:lnTo>
                  <a:lnTo>
                    <a:pt x="808" y="103"/>
                  </a:lnTo>
                  <a:lnTo>
                    <a:pt x="813" y="109"/>
                  </a:lnTo>
                  <a:lnTo>
                    <a:pt x="816" y="122"/>
                  </a:lnTo>
                  <a:lnTo>
                    <a:pt x="806" y="130"/>
                  </a:lnTo>
                  <a:lnTo>
                    <a:pt x="804" y="165"/>
                  </a:lnTo>
                  <a:lnTo>
                    <a:pt x="791" y="164"/>
                  </a:lnTo>
                  <a:lnTo>
                    <a:pt x="783" y="178"/>
                  </a:lnTo>
                  <a:lnTo>
                    <a:pt x="784" y="194"/>
                  </a:lnTo>
                  <a:lnTo>
                    <a:pt x="798" y="198"/>
                  </a:lnTo>
                  <a:lnTo>
                    <a:pt x="797" y="198"/>
                  </a:lnTo>
                  <a:lnTo>
                    <a:pt x="783" y="209"/>
                  </a:lnTo>
                  <a:lnTo>
                    <a:pt x="769" y="213"/>
                  </a:lnTo>
                  <a:lnTo>
                    <a:pt x="755" y="230"/>
                  </a:lnTo>
                  <a:lnTo>
                    <a:pt x="741" y="230"/>
                  </a:lnTo>
                  <a:lnTo>
                    <a:pt x="729" y="224"/>
                  </a:lnTo>
                  <a:lnTo>
                    <a:pt x="721" y="248"/>
                  </a:lnTo>
                  <a:lnTo>
                    <a:pt x="707" y="257"/>
                  </a:lnTo>
                  <a:lnTo>
                    <a:pt x="689" y="268"/>
                  </a:lnTo>
                  <a:lnTo>
                    <a:pt x="669" y="275"/>
                  </a:lnTo>
                  <a:lnTo>
                    <a:pt x="667" y="258"/>
                  </a:lnTo>
                  <a:lnTo>
                    <a:pt x="663" y="242"/>
                  </a:lnTo>
                  <a:lnTo>
                    <a:pt x="657" y="241"/>
                  </a:lnTo>
                  <a:lnTo>
                    <a:pt x="648" y="248"/>
                  </a:lnTo>
                  <a:lnTo>
                    <a:pt x="641" y="25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87" name="Freeform 200">
              <a:extLst>
                <a:ext uri="{FF2B5EF4-FFF2-40B4-BE49-F238E27FC236}">
                  <a16:creationId xmlns:a16="http://schemas.microsoft.com/office/drawing/2014/main" id="{435D1141-D97F-45A0-8AD4-779719F74AC1}"/>
                </a:ext>
              </a:extLst>
            </p:cNvPr>
            <p:cNvSpPr>
              <a:spLocks/>
            </p:cNvSpPr>
            <p:nvPr/>
          </p:nvSpPr>
          <p:spPr bwMode="auto">
            <a:xfrm>
              <a:off x="5816216" y="3106676"/>
              <a:ext cx="92728" cy="120107"/>
            </a:xfrm>
            <a:custGeom>
              <a:avLst/>
              <a:gdLst>
                <a:gd name="T0" fmla="*/ 67 w 70"/>
                <a:gd name="T1" fmla="*/ 0 h 91"/>
                <a:gd name="T2" fmla="*/ 69 w 70"/>
                <a:gd name="T3" fmla="*/ 25 h 91"/>
                <a:gd name="T4" fmla="*/ 60 w 70"/>
                <a:gd name="T5" fmla="*/ 31 h 91"/>
                <a:gd name="T6" fmla="*/ 52 w 70"/>
                <a:gd name="T7" fmla="*/ 45 h 91"/>
                <a:gd name="T8" fmla="*/ 39 w 70"/>
                <a:gd name="T9" fmla="*/ 51 h 91"/>
                <a:gd name="T10" fmla="*/ 55 w 70"/>
                <a:gd name="T11" fmla="*/ 67 h 91"/>
                <a:gd name="T12" fmla="*/ 50 w 70"/>
                <a:gd name="T13" fmla="*/ 82 h 91"/>
                <a:gd name="T14" fmla="*/ 29 w 70"/>
                <a:gd name="T15" fmla="*/ 90 h 91"/>
                <a:gd name="T16" fmla="*/ 22 w 70"/>
                <a:gd name="T17" fmla="*/ 81 h 91"/>
                <a:gd name="T18" fmla="*/ 4 w 70"/>
                <a:gd name="T19" fmla="*/ 73 h 91"/>
                <a:gd name="T20" fmla="*/ 15 w 70"/>
                <a:gd name="T21" fmla="*/ 65 h 91"/>
                <a:gd name="T22" fmla="*/ 16 w 70"/>
                <a:gd name="T23" fmla="*/ 48 h 91"/>
                <a:gd name="T24" fmla="*/ 4 w 70"/>
                <a:gd name="T25" fmla="*/ 45 h 91"/>
                <a:gd name="T26" fmla="*/ 0 w 70"/>
                <a:gd name="T27" fmla="*/ 45 h 91"/>
                <a:gd name="T28" fmla="*/ 14 w 70"/>
                <a:gd name="T29" fmla="*/ 37 h 91"/>
                <a:gd name="T30" fmla="*/ 22 w 70"/>
                <a:gd name="T31" fmla="*/ 12 h 91"/>
                <a:gd name="T32" fmla="*/ 34 w 70"/>
                <a:gd name="T33" fmla="*/ 18 h 91"/>
                <a:gd name="T34" fmla="*/ 48 w 70"/>
                <a:gd name="T35" fmla="*/ 18 h 91"/>
                <a:gd name="T36" fmla="*/ 62 w 70"/>
                <a:gd name="T37" fmla="*/ 1 h 91"/>
                <a:gd name="T38" fmla="*/ 67 w 70"/>
                <a:gd name="T3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91">
                  <a:moveTo>
                    <a:pt x="67" y="0"/>
                  </a:moveTo>
                  <a:lnTo>
                    <a:pt x="69" y="25"/>
                  </a:lnTo>
                  <a:lnTo>
                    <a:pt x="60" y="31"/>
                  </a:lnTo>
                  <a:lnTo>
                    <a:pt x="52" y="45"/>
                  </a:lnTo>
                  <a:lnTo>
                    <a:pt x="39" y="51"/>
                  </a:lnTo>
                  <a:lnTo>
                    <a:pt x="55" y="67"/>
                  </a:lnTo>
                  <a:lnTo>
                    <a:pt x="50" y="82"/>
                  </a:lnTo>
                  <a:lnTo>
                    <a:pt x="29" y="90"/>
                  </a:lnTo>
                  <a:lnTo>
                    <a:pt x="22" y="81"/>
                  </a:lnTo>
                  <a:lnTo>
                    <a:pt x="4" y="73"/>
                  </a:lnTo>
                  <a:lnTo>
                    <a:pt x="15" y="65"/>
                  </a:lnTo>
                  <a:lnTo>
                    <a:pt x="16" y="48"/>
                  </a:lnTo>
                  <a:lnTo>
                    <a:pt x="4" y="45"/>
                  </a:lnTo>
                  <a:lnTo>
                    <a:pt x="0" y="45"/>
                  </a:lnTo>
                  <a:lnTo>
                    <a:pt x="14" y="37"/>
                  </a:lnTo>
                  <a:lnTo>
                    <a:pt x="22" y="12"/>
                  </a:lnTo>
                  <a:lnTo>
                    <a:pt x="34" y="18"/>
                  </a:lnTo>
                  <a:lnTo>
                    <a:pt x="48" y="18"/>
                  </a:lnTo>
                  <a:lnTo>
                    <a:pt x="62" y="1"/>
                  </a:lnTo>
                  <a:lnTo>
                    <a:pt x="67"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88" name="Freeform 201">
              <a:extLst>
                <a:ext uri="{FF2B5EF4-FFF2-40B4-BE49-F238E27FC236}">
                  <a16:creationId xmlns:a16="http://schemas.microsoft.com/office/drawing/2014/main" id="{89B166FD-76B4-4230-BC70-AB7B3BD28A84}"/>
                </a:ext>
              </a:extLst>
            </p:cNvPr>
            <p:cNvSpPr>
              <a:spLocks/>
            </p:cNvSpPr>
            <p:nvPr/>
          </p:nvSpPr>
          <p:spPr bwMode="auto">
            <a:xfrm>
              <a:off x="5268167" y="3462242"/>
              <a:ext cx="149792" cy="386484"/>
            </a:xfrm>
            <a:custGeom>
              <a:avLst/>
              <a:gdLst>
                <a:gd name="T0" fmla="*/ 1 w 113"/>
                <a:gd name="T1" fmla="*/ 109 h 289"/>
                <a:gd name="T2" fmla="*/ 8 w 113"/>
                <a:gd name="T3" fmla="*/ 97 h 289"/>
                <a:gd name="T4" fmla="*/ 8 w 113"/>
                <a:gd name="T5" fmla="*/ 69 h 289"/>
                <a:gd name="T6" fmla="*/ 21 w 113"/>
                <a:gd name="T7" fmla="*/ 54 h 289"/>
                <a:gd name="T8" fmla="*/ 27 w 113"/>
                <a:gd name="T9" fmla="*/ 35 h 289"/>
                <a:gd name="T10" fmla="*/ 38 w 113"/>
                <a:gd name="T11" fmla="*/ 20 h 289"/>
                <a:gd name="T12" fmla="*/ 56 w 113"/>
                <a:gd name="T13" fmla="*/ 11 h 289"/>
                <a:gd name="T14" fmla="*/ 57 w 113"/>
                <a:gd name="T15" fmla="*/ 3 h 289"/>
                <a:gd name="T16" fmla="*/ 74 w 113"/>
                <a:gd name="T17" fmla="*/ 0 h 289"/>
                <a:gd name="T18" fmla="*/ 78 w 113"/>
                <a:gd name="T19" fmla="*/ 8 h 289"/>
                <a:gd name="T20" fmla="*/ 84 w 113"/>
                <a:gd name="T21" fmla="*/ 25 h 289"/>
                <a:gd name="T22" fmla="*/ 78 w 113"/>
                <a:gd name="T23" fmla="*/ 37 h 289"/>
                <a:gd name="T24" fmla="*/ 68 w 113"/>
                <a:gd name="T25" fmla="*/ 45 h 289"/>
                <a:gd name="T26" fmla="*/ 67 w 113"/>
                <a:gd name="T27" fmla="*/ 58 h 289"/>
                <a:gd name="T28" fmla="*/ 83 w 113"/>
                <a:gd name="T29" fmla="*/ 60 h 289"/>
                <a:gd name="T30" fmla="*/ 91 w 113"/>
                <a:gd name="T31" fmla="*/ 75 h 289"/>
                <a:gd name="T32" fmla="*/ 94 w 113"/>
                <a:gd name="T33" fmla="*/ 98 h 289"/>
                <a:gd name="T34" fmla="*/ 109 w 113"/>
                <a:gd name="T35" fmla="*/ 102 h 289"/>
                <a:gd name="T36" fmla="*/ 112 w 113"/>
                <a:gd name="T37" fmla="*/ 111 h 289"/>
                <a:gd name="T38" fmla="*/ 105 w 113"/>
                <a:gd name="T39" fmla="*/ 125 h 289"/>
                <a:gd name="T40" fmla="*/ 97 w 113"/>
                <a:gd name="T41" fmla="*/ 132 h 289"/>
                <a:gd name="T42" fmla="*/ 82 w 113"/>
                <a:gd name="T43" fmla="*/ 138 h 289"/>
                <a:gd name="T44" fmla="*/ 80 w 113"/>
                <a:gd name="T45" fmla="*/ 164 h 289"/>
                <a:gd name="T46" fmla="*/ 84 w 113"/>
                <a:gd name="T47" fmla="*/ 175 h 289"/>
                <a:gd name="T48" fmla="*/ 96 w 113"/>
                <a:gd name="T49" fmla="*/ 190 h 289"/>
                <a:gd name="T50" fmla="*/ 91 w 113"/>
                <a:gd name="T51" fmla="*/ 215 h 289"/>
                <a:gd name="T52" fmla="*/ 93 w 113"/>
                <a:gd name="T53" fmla="*/ 227 h 289"/>
                <a:gd name="T54" fmla="*/ 98 w 113"/>
                <a:gd name="T55" fmla="*/ 246 h 289"/>
                <a:gd name="T56" fmla="*/ 110 w 113"/>
                <a:gd name="T57" fmla="*/ 257 h 289"/>
                <a:gd name="T58" fmla="*/ 101 w 113"/>
                <a:gd name="T59" fmla="*/ 278 h 289"/>
                <a:gd name="T60" fmla="*/ 94 w 113"/>
                <a:gd name="T61" fmla="*/ 288 h 289"/>
                <a:gd name="T62" fmla="*/ 88 w 113"/>
                <a:gd name="T63" fmla="*/ 261 h 289"/>
                <a:gd name="T64" fmla="*/ 84 w 113"/>
                <a:gd name="T65" fmla="*/ 242 h 289"/>
                <a:gd name="T66" fmla="*/ 73 w 113"/>
                <a:gd name="T67" fmla="*/ 234 h 289"/>
                <a:gd name="T68" fmla="*/ 78 w 113"/>
                <a:gd name="T69" fmla="*/ 197 h 289"/>
                <a:gd name="T70" fmla="*/ 64 w 113"/>
                <a:gd name="T71" fmla="*/ 175 h 289"/>
                <a:gd name="T72" fmla="*/ 56 w 113"/>
                <a:gd name="T73" fmla="*/ 187 h 289"/>
                <a:gd name="T74" fmla="*/ 46 w 113"/>
                <a:gd name="T75" fmla="*/ 197 h 289"/>
                <a:gd name="T76" fmla="*/ 32 w 113"/>
                <a:gd name="T77" fmla="*/ 192 h 289"/>
                <a:gd name="T78" fmla="*/ 28 w 113"/>
                <a:gd name="T79" fmla="*/ 160 h 289"/>
                <a:gd name="T80" fmla="*/ 25 w 113"/>
                <a:gd name="T81" fmla="*/ 145 h 289"/>
                <a:gd name="T82" fmla="*/ 13 w 113"/>
                <a:gd name="T83" fmla="*/ 128 h 289"/>
                <a:gd name="T84" fmla="*/ 0 w 113"/>
                <a:gd name="T85" fmla="*/ 117 h 289"/>
                <a:gd name="T86" fmla="*/ 1 w 113"/>
                <a:gd name="T87" fmla="*/ 10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 h="289">
                  <a:moveTo>
                    <a:pt x="1" y="109"/>
                  </a:moveTo>
                  <a:lnTo>
                    <a:pt x="8" y="97"/>
                  </a:lnTo>
                  <a:lnTo>
                    <a:pt x="8" y="69"/>
                  </a:lnTo>
                  <a:lnTo>
                    <a:pt x="21" y="54"/>
                  </a:lnTo>
                  <a:lnTo>
                    <a:pt x="27" y="35"/>
                  </a:lnTo>
                  <a:lnTo>
                    <a:pt x="38" y="20"/>
                  </a:lnTo>
                  <a:lnTo>
                    <a:pt x="56" y="11"/>
                  </a:lnTo>
                  <a:lnTo>
                    <a:pt x="57" y="3"/>
                  </a:lnTo>
                  <a:lnTo>
                    <a:pt x="74" y="0"/>
                  </a:lnTo>
                  <a:lnTo>
                    <a:pt x="78" y="8"/>
                  </a:lnTo>
                  <a:lnTo>
                    <a:pt x="84" y="25"/>
                  </a:lnTo>
                  <a:lnTo>
                    <a:pt x="78" y="37"/>
                  </a:lnTo>
                  <a:lnTo>
                    <a:pt x="68" y="45"/>
                  </a:lnTo>
                  <a:lnTo>
                    <a:pt x="67" y="58"/>
                  </a:lnTo>
                  <a:lnTo>
                    <a:pt x="83" y="60"/>
                  </a:lnTo>
                  <a:lnTo>
                    <a:pt x="91" y="75"/>
                  </a:lnTo>
                  <a:lnTo>
                    <a:pt x="94" y="98"/>
                  </a:lnTo>
                  <a:lnTo>
                    <a:pt x="109" y="102"/>
                  </a:lnTo>
                  <a:lnTo>
                    <a:pt x="112" y="111"/>
                  </a:lnTo>
                  <a:lnTo>
                    <a:pt x="105" y="125"/>
                  </a:lnTo>
                  <a:lnTo>
                    <a:pt x="97" y="132"/>
                  </a:lnTo>
                  <a:lnTo>
                    <a:pt x="82" y="138"/>
                  </a:lnTo>
                  <a:lnTo>
                    <a:pt x="80" y="164"/>
                  </a:lnTo>
                  <a:lnTo>
                    <a:pt x="84" y="175"/>
                  </a:lnTo>
                  <a:lnTo>
                    <a:pt x="96" y="190"/>
                  </a:lnTo>
                  <a:lnTo>
                    <a:pt x="91" y="215"/>
                  </a:lnTo>
                  <a:lnTo>
                    <a:pt x="93" y="227"/>
                  </a:lnTo>
                  <a:lnTo>
                    <a:pt x="98" y="246"/>
                  </a:lnTo>
                  <a:lnTo>
                    <a:pt x="110" y="257"/>
                  </a:lnTo>
                  <a:lnTo>
                    <a:pt x="101" y="278"/>
                  </a:lnTo>
                  <a:lnTo>
                    <a:pt x="94" y="288"/>
                  </a:lnTo>
                  <a:lnTo>
                    <a:pt x="88" y="261"/>
                  </a:lnTo>
                  <a:lnTo>
                    <a:pt x="84" y="242"/>
                  </a:lnTo>
                  <a:lnTo>
                    <a:pt x="73" y="234"/>
                  </a:lnTo>
                  <a:lnTo>
                    <a:pt x="78" y="197"/>
                  </a:lnTo>
                  <a:lnTo>
                    <a:pt x="64" y="175"/>
                  </a:lnTo>
                  <a:lnTo>
                    <a:pt x="56" y="187"/>
                  </a:lnTo>
                  <a:lnTo>
                    <a:pt x="46" y="197"/>
                  </a:lnTo>
                  <a:lnTo>
                    <a:pt x="32" y="192"/>
                  </a:lnTo>
                  <a:lnTo>
                    <a:pt x="28" y="160"/>
                  </a:lnTo>
                  <a:lnTo>
                    <a:pt x="25" y="145"/>
                  </a:lnTo>
                  <a:lnTo>
                    <a:pt x="13" y="128"/>
                  </a:lnTo>
                  <a:lnTo>
                    <a:pt x="0" y="117"/>
                  </a:lnTo>
                  <a:lnTo>
                    <a:pt x="1" y="10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89" name="Freeform 204">
              <a:extLst>
                <a:ext uri="{FF2B5EF4-FFF2-40B4-BE49-F238E27FC236}">
                  <a16:creationId xmlns:a16="http://schemas.microsoft.com/office/drawing/2014/main" id="{48879F7C-0DE6-42B1-9A36-75D8BF425C47}"/>
                </a:ext>
              </a:extLst>
            </p:cNvPr>
            <p:cNvSpPr>
              <a:spLocks/>
            </p:cNvSpPr>
            <p:nvPr/>
          </p:nvSpPr>
          <p:spPr bwMode="auto">
            <a:xfrm>
              <a:off x="5453624" y="3563322"/>
              <a:ext cx="148603" cy="332971"/>
            </a:xfrm>
            <a:custGeom>
              <a:avLst/>
              <a:gdLst>
                <a:gd name="T0" fmla="*/ 0 w 111"/>
                <a:gd name="T1" fmla="*/ 12 h 250"/>
                <a:gd name="T2" fmla="*/ 8 w 111"/>
                <a:gd name="T3" fmla="*/ 35 h 250"/>
                <a:gd name="T4" fmla="*/ 34 w 111"/>
                <a:gd name="T5" fmla="*/ 44 h 250"/>
                <a:gd name="T6" fmla="*/ 36 w 111"/>
                <a:gd name="T7" fmla="*/ 53 h 250"/>
                <a:gd name="T8" fmla="*/ 32 w 111"/>
                <a:gd name="T9" fmla="*/ 69 h 250"/>
                <a:gd name="T10" fmla="*/ 42 w 111"/>
                <a:gd name="T11" fmla="*/ 80 h 250"/>
                <a:gd name="T12" fmla="*/ 64 w 111"/>
                <a:gd name="T13" fmla="*/ 113 h 250"/>
                <a:gd name="T14" fmla="*/ 77 w 111"/>
                <a:gd name="T15" fmla="*/ 122 h 250"/>
                <a:gd name="T16" fmla="*/ 77 w 111"/>
                <a:gd name="T17" fmla="*/ 151 h 250"/>
                <a:gd name="T18" fmla="*/ 83 w 111"/>
                <a:gd name="T19" fmla="*/ 156 h 250"/>
                <a:gd name="T20" fmla="*/ 85 w 111"/>
                <a:gd name="T21" fmla="*/ 183 h 250"/>
                <a:gd name="T22" fmla="*/ 75 w 111"/>
                <a:gd name="T23" fmla="*/ 191 h 250"/>
                <a:gd name="T24" fmla="*/ 61 w 111"/>
                <a:gd name="T25" fmla="*/ 205 h 250"/>
                <a:gd name="T26" fmla="*/ 47 w 111"/>
                <a:gd name="T27" fmla="*/ 215 h 250"/>
                <a:gd name="T28" fmla="*/ 53 w 111"/>
                <a:gd name="T29" fmla="*/ 224 h 250"/>
                <a:gd name="T30" fmla="*/ 46 w 111"/>
                <a:gd name="T31" fmla="*/ 234 h 250"/>
                <a:gd name="T32" fmla="*/ 51 w 111"/>
                <a:gd name="T33" fmla="*/ 249 h 250"/>
                <a:gd name="T34" fmla="*/ 77 w 111"/>
                <a:gd name="T35" fmla="*/ 230 h 250"/>
                <a:gd name="T36" fmla="*/ 100 w 111"/>
                <a:gd name="T37" fmla="*/ 209 h 250"/>
                <a:gd name="T38" fmla="*/ 106 w 111"/>
                <a:gd name="T39" fmla="*/ 201 h 250"/>
                <a:gd name="T40" fmla="*/ 110 w 111"/>
                <a:gd name="T41" fmla="*/ 163 h 250"/>
                <a:gd name="T42" fmla="*/ 102 w 111"/>
                <a:gd name="T43" fmla="*/ 131 h 250"/>
                <a:gd name="T44" fmla="*/ 81 w 111"/>
                <a:gd name="T45" fmla="*/ 108 h 250"/>
                <a:gd name="T46" fmla="*/ 57 w 111"/>
                <a:gd name="T47" fmla="*/ 80 h 250"/>
                <a:gd name="T48" fmla="*/ 57 w 111"/>
                <a:gd name="T49" fmla="*/ 59 h 250"/>
                <a:gd name="T50" fmla="*/ 63 w 111"/>
                <a:gd name="T51" fmla="*/ 52 h 250"/>
                <a:gd name="T52" fmla="*/ 81 w 111"/>
                <a:gd name="T53" fmla="*/ 38 h 250"/>
                <a:gd name="T54" fmla="*/ 60 w 111"/>
                <a:gd name="T55" fmla="*/ 8 h 250"/>
                <a:gd name="T56" fmla="*/ 37 w 111"/>
                <a:gd name="T57" fmla="*/ 0 h 250"/>
                <a:gd name="T58" fmla="*/ 23 w 111"/>
                <a:gd name="T59" fmla="*/ 0 h 250"/>
                <a:gd name="T60" fmla="*/ 0 w 111"/>
                <a:gd name="T61" fmla="*/ 12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1" h="250">
                  <a:moveTo>
                    <a:pt x="0" y="12"/>
                  </a:moveTo>
                  <a:lnTo>
                    <a:pt x="8" y="35"/>
                  </a:lnTo>
                  <a:lnTo>
                    <a:pt x="34" y="44"/>
                  </a:lnTo>
                  <a:lnTo>
                    <a:pt x="36" y="53"/>
                  </a:lnTo>
                  <a:lnTo>
                    <a:pt x="32" y="69"/>
                  </a:lnTo>
                  <a:lnTo>
                    <a:pt x="42" y="80"/>
                  </a:lnTo>
                  <a:lnTo>
                    <a:pt x="64" y="113"/>
                  </a:lnTo>
                  <a:lnTo>
                    <a:pt x="77" y="122"/>
                  </a:lnTo>
                  <a:lnTo>
                    <a:pt x="77" y="151"/>
                  </a:lnTo>
                  <a:lnTo>
                    <a:pt x="83" y="156"/>
                  </a:lnTo>
                  <a:lnTo>
                    <a:pt x="85" y="183"/>
                  </a:lnTo>
                  <a:lnTo>
                    <a:pt x="75" y="191"/>
                  </a:lnTo>
                  <a:lnTo>
                    <a:pt x="61" y="205"/>
                  </a:lnTo>
                  <a:lnTo>
                    <a:pt x="47" y="215"/>
                  </a:lnTo>
                  <a:lnTo>
                    <a:pt x="53" y="224"/>
                  </a:lnTo>
                  <a:lnTo>
                    <a:pt x="46" y="234"/>
                  </a:lnTo>
                  <a:lnTo>
                    <a:pt x="51" y="249"/>
                  </a:lnTo>
                  <a:lnTo>
                    <a:pt x="77" y="230"/>
                  </a:lnTo>
                  <a:lnTo>
                    <a:pt x="100" y="209"/>
                  </a:lnTo>
                  <a:lnTo>
                    <a:pt x="106" y="201"/>
                  </a:lnTo>
                  <a:lnTo>
                    <a:pt x="110" y="163"/>
                  </a:lnTo>
                  <a:lnTo>
                    <a:pt x="102" y="131"/>
                  </a:lnTo>
                  <a:lnTo>
                    <a:pt x="81" y="108"/>
                  </a:lnTo>
                  <a:lnTo>
                    <a:pt x="57" y="80"/>
                  </a:lnTo>
                  <a:lnTo>
                    <a:pt x="57" y="59"/>
                  </a:lnTo>
                  <a:lnTo>
                    <a:pt x="63" y="52"/>
                  </a:lnTo>
                  <a:lnTo>
                    <a:pt x="81" y="38"/>
                  </a:lnTo>
                  <a:lnTo>
                    <a:pt x="60" y="8"/>
                  </a:lnTo>
                  <a:lnTo>
                    <a:pt x="37" y="0"/>
                  </a:lnTo>
                  <a:lnTo>
                    <a:pt x="23" y="0"/>
                  </a:lnTo>
                  <a:lnTo>
                    <a:pt x="0" y="1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90" name="Freeform 207">
              <a:extLst>
                <a:ext uri="{FF2B5EF4-FFF2-40B4-BE49-F238E27FC236}">
                  <a16:creationId xmlns:a16="http://schemas.microsoft.com/office/drawing/2014/main" id="{5CD00381-4E08-4E4C-BD18-C3E74027B41F}"/>
                </a:ext>
              </a:extLst>
            </p:cNvPr>
            <p:cNvSpPr>
              <a:spLocks/>
            </p:cNvSpPr>
            <p:nvPr/>
          </p:nvSpPr>
          <p:spPr bwMode="auto">
            <a:xfrm>
              <a:off x="4326616" y="3168514"/>
              <a:ext cx="383991" cy="347241"/>
            </a:xfrm>
            <a:custGeom>
              <a:avLst/>
              <a:gdLst>
                <a:gd name="T0" fmla="*/ 0 w 286"/>
                <a:gd name="T1" fmla="*/ 6 h 261"/>
                <a:gd name="T2" fmla="*/ 14 w 286"/>
                <a:gd name="T3" fmla="*/ 43 h 261"/>
                <a:gd name="T4" fmla="*/ 20 w 286"/>
                <a:gd name="T5" fmla="*/ 73 h 261"/>
                <a:gd name="T6" fmla="*/ 32 w 286"/>
                <a:gd name="T7" fmla="*/ 92 h 261"/>
                <a:gd name="T8" fmla="*/ 22 w 286"/>
                <a:gd name="T9" fmla="*/ 114 h 261"/>
                <a:gd name="T10" fmla="*/ 39 w 286"/>
                <a:gd name="T11" fmla="*/ 133 h 261"/>
                <a:gd name="T12" fmla="*/ 59 w 286"/>
                <a:gd name="T13" fmla="*/ 133 h 261"/>
                <a:gd name="T14" fmla="*/ 56 w 286"/>
                <a:gd name="T15" fmla="*/ 159 h 261"/>
                <a:gd name="T16" fmla="*/ 66 w 286"/>
                <a:gd name="T17" fmla="*/ 176 h 261"/>
                <a:gd name="T18" fmla="*/ 87 w 286"/>
                <a:gd name="T19" fmla="*/ 180 h 261"/>
                <a:gd name="T20" fmla="*/ 94 w 286"/>
                <a:gd name="T21" fmla="*/ 187 h 261"/>
                <a:gd name="T22" fmla="*/ 111 w 286"/>
                <a:gd name="T23" fmla="*/ 212 h 261"/>
                <a:gd name="T24" fmla="*/ 122 w 286"/>
                <a:gd name="T25" fmla="*/ 221 h 261"/>
                <a:gd name="T26" fmla="*/ 174 w 286"/>
                <a:gd name="T27" fmla="*/ 235 h 261"/>
                <a:gd name="T28" fmla="*/ 189 w 286"/>
                <a:gd name="T29" fmla="*/ 227 h 261"/>
                <a:gd name="T30" fmla="*/ 209 w 286"/>
                <a:gd name="T31" fmla="*/ 260 h 261"/>
                <a:gd name="T32" fmla="*/ 261 w 286"/>
                <a:gd name="T33" fmla="*/ 260 h 261"/>
                <a:gd name="T34" fmla="*/ 277 w 286"/>
                <a:gd name="T35" fmla="*/ 242 h 261"/>
                <a:gd name="T36" fmla="*/ 280 w 286"/>
                <a:gd name="T37" fmla="*/ 223 h 261"/>
                <a:gd name="T38" fmla="*/ 265 w 286"/>
                <a:gd name="T39" fmla="*/ 205 h 261"/>
                <a:gd name="T40" fmla="*/ 249 w 286"/>
                <a:gd name="T41" fmla="*/ 184 h 261"/>
                <a:gd name="T42" fmla="*/ 252 w 286"/>
                <a:gd name="T43" fmla="*/ 156 h 261"/>
                <a:gd name="T44" fmla="*/ 238 w 286"/>
                <a:gd name="T45" fmla="*/ 121 h 261"/>
                <a:gd name="T46" fmla="*/ 240 w 286"/>
                <a:gd name="T47" fmla="*/ 66 h 261"/>
                <a:gd name="T48" fmla="*/ 197 w 286"/>
                <a:gd name="T49" fmla="*/ 40 h 261"/>
                <a:gd name="T50" fmla="*/ 156 w 286"/>
                <a:gd name="T51" fmla="*/ 33 h 261"/>
                <a:gd name="T52" fmla="*/ 135 w 286"/>
                <a:gd name="T53" fmla="*/ 52 h 261"/>
                <a:gd name="T54" fmla="*/ 112 w 286"/>
                <a:gd name="T55" fmla="*/ 65 h 261"/>
                <a:gd name="T56" fmla="*/ 79 w 286"/>
                <a:gd name="T57" fmla="*/ 50 h 261"/>
                <a:gd name="T58" fmla="*/ 60 w 286"/>
                <a:gd name="T59" fmla="*/ 21 h 261"/>
                <a:gd name="T60" fmla="*/ 46 w 286"/>
                <a:gd name="T61" fmla="*/ 8 h 261"/>
                <a:gd name="T62" fmla="*/ 24 w 286"/>
                <a:gd name="T63" fmla="*/ 20 h 261"/>
                <a:gd name="T64" fmla="*/ 5 w 286"/>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61">
                  <a:moveTo>
                    <a:pt x="5" y="0"/>
                  </a:moveTo>
                  <a:lnTo>
                    <a:pt x="0" y="6"/>
                  </a:lnTo>
                  <a:lnTo>
                    <a:pt x="6" y="25"/>
                  </a:lnTo>
                  <a:lnTo>
                    <a:pt x="14" y="43"/>
                  </a:lnTo>
                  <a:lnTo>
                    <a:pt x="17" y="62"/>
                  </a:lnTo>
                  <a:lnTo>
                    <a:pt x="20" y="73"/>
                  </a:lnTo>
                  <a:lnTo>
                    <a:pt x="35" y="76"/>
                  </a:lnTo>
                  <a:lnTo>
                    <a:pt x="32" y="92"/>
                  </a:lnTo>
                  <a:lnTo>
                    <a:pt x="22" y="99"/>
                  </a:lnTo>
                  <a:lnTo>
                    <a:pt x="22" y="114"/>
                  </a:lnTo>
                  <a:lnTo>
                    <a:pt x="36" y="120"/>
                  </a:lnTo>
                  <a:lnTo>
                    <a:pt x="39" y="133"/>
                  </a:lnTo>
                  <a:lnTo>
                    <a:pt x="48" y="135"/>
                  </a:lnTo>
                  <a:lnTo>
                    <a:pt x="59" y="133"/>
                  </a:lnTo>
                  <a:lnTo>
                    <a:pt x="61" y="145"/>
                  </a:lnTo>
                  <a:lnTo>
                    <a:pt x="56" y="159"/>
                  </a:lnTo>
                  <a:lnTo>
                    <a:pt x="64" y="162"/>
                  </a:lnTo>
                  <a:lnTo>
                    <a:pt x="66" y="176"/>
                  </a:lnTo>
                  <a:lnTo>
                    <a:pt x="72" y="183"/>
                  </a:lnTo>
                  <a:lnTo>
                    <a:pt x="87" y="180"/>
                  </a:lnTo>
                  <a:lnTo>
                    <a:pt x="87" y="173"/>
                  </a:lnTo>
                  <a:lnTo>
                    <a:pt x="94" y="187"/>
                  </a:lnTo>
                  <a:lnTo>
                    <a:pt x="98" y="207"/>
                  </a:lnTo>
                  <a:lnTo>
                    <a:pt x="111" y="212"/>
                  </a:lnTo>
                  <a:lnTo>
                    <a:pt x="109" y="220"/>
                  </a:lnTo>
                  <a:lnTo>
                    <a:pt x="122" y="221"/>
                  </a:lnTo>
                  <a:lnTo>
                    <a:pt x="130" y="233"/>
                  </a:lnTo>
                  <a:lnTo>
                    <a:pt x="174" y="235"/>
                  </a:lnTo>
                  <a:lnTo>
                    <a:pt x="180" y="223"/>
                  </a:lnTo>
                  <a:lnTo>
                    <a:pt x="189" y="227"/>
                  </a:lnTo>
                  <a:lnTo>
                    <a:pt x="193" y="250"/>
                  </a:lnTo>
                  <a:lnTo>
                    <a:pt x="209" y="260"/>
                  </a:lnTo>
                  <a:lnTo>
                    <a:pt x="252" y="257"/>
                  </a:lnTo>
                  <a:lnTo>
                    <a:pt x="261" y="260"/>
                  </a:lnTo>
                  <a:lnTo>
                    <a:pt x="265" y="246"/>
                  </a:lnTo>
                  <a:lnTo>
                    <a:pt x="277" y="242"/>
                  </a:lnTo>
                  <a:lnTo>
                    <a:pt x="285" y="231"/>
                  </a:lnTo>
                  <a:lnTo>
                    <a:pt x="280" y="223"/>
                  </a:lnTo>
                  <a:lnTo>
                    <a:pt x="269" y="221"/>
                  </a:lnTo>
                  <a:lnTo>
                    <a:pt x="265" y="205"/>
                  </a:lnTo>
                  <a:lnTo>
                    <a:pt x="249" y="198"/>
                  </a:lnTo>
                  <a:lnTo>
                    <a:pt x="249" y="184"/>
                  </a:lnTo>
                  <a:lnTo>
                    <a:pt x="257" y="173"/>
                  </a:lnTo>
                  <a:lnTo>
                    <a:pt x="252" y="156"/>
                  </a:lnTo>
                  <a:lnTo>
                    <a:pt x="235" y="156"/>
                  </a:lnTo>
                  <a:lnTo>
                    <a:pt x="238" y="121"/>
                  </a:lnTo>
                  <a:lnTo>
                    <a:pt x="235" y="99"/>
                  </a:lnTo>
                  <a:lnTo>
                    <a:pt x="240" y="66"/>
                  </a:lnTo>
                  <a:lnTo>
                    <a:pt x="220" y="56"/>
                  </a:lnTo>
                  <a:lnTo>
                    <a:pt x="197" y="40"/>
                  </a:lnTo>
                  <a:lnTo>
                    <a:pt x="182" y="38"/>
                  </a:lnTo>
                  <a:lnTo>
                    <a:pt x="156" y="33"/>
                  </a:lnTo>
                  <a:lnTo>
                    <a:pt x="149" y="46"/>
                  </a:lnTo>
                  <a:lnTo>
                    <a:pt x="135" y="52"/>
                  </a:lnTo>
                  <a:lnTo>
                    <a:pt x="120" y="58"/>
                  </a:lnTo>
                  <a:lnTo>
                    <a:pt x="112" y="65"/>
                  </a:lnTo>
                  <a:lnTo>
                    <a:pt x="94" y="62"/>
                  </a:lnTo>
                  <a:lnTo>
                    <a:pt x="79" y="50"/>
                  </a:lnTo>
                  <a:lnTo>
                    <a:pt x="64" y="40"/>
                  </a:lnTo>
                  <a:lnTo>
                    <a:pt x="60" y="21"/>
                  </a:lnTo>
                  <a:lnTo>
                    <a:pt x="54" y="3"/>
                  </a:lnTo>
                  <a:lnTo>
                    <a:pt x="46" y="8"/>
                  </a:lnTo>
                  <a:lnTo>
                    <a:pt x="42" y="20"/>
                  </a:lnTo>
                  <a:lnTo>
                    <a:pt x="24" y="20"/>
                  </a:lnTo>
                  <a:lnTo>
                    <a:pt x="17" y="8"/>
                  </a:lnTo>
                  <a:lnTo>
                    <a:pt x="5"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91" name="Freeform 208">
              <a:extLst>
                <a:ext uri="{FF2B5EF4-FFF2-40B4-BE49-F238E27FC236}">
                  <a16:creationId xmlns:a16="http://schemas.microsoft.com/office/drawing/2014/main" id="{3A260E63-5CAF-4DF0-A679-8EC47A448974}"/>
                </a:ext>
              </a:extLst>
            </p:cNvPr>
            <p:cNvSpPr>
              <a:spLocks/>
            </p:cNvSpPr>
            <p:nvPr/>
          </p:nvSpPr>
          <p:spPr bwMode="auto">
            <a:xfrm>
              <a:off x="4496618" y="3528836"/>
              <a:ext cx="145037" cy="187891"/>
            </a:xfrm>
            <a:custGeom>
              <a:avLst/>
              <a:gdLst>
                <a:gd name="T0" fmla="*/ 38 w 109"/>
                <a:gd name="T1" fmla="*/ 34 h 141"/>
                <a:gd name="T2" fmla="*/ 51 w 109"/>
                <a:gd name="T3" fmla="*/ 52 h 141"/>
                <a:gd name="T4" fmla="*/ 41 w 109"/>
                <a:gd name="T5" fmla="*/ 92 h 141"/>
                <a:gd name="T6" fmla="*/ 0 w 109"/>
                <a:gd name="T7" fmla="*/ 99 h 141"/>
                <a:gd name="T8" fmla="*/ 6 w 109"/>
                <a:gd name="T9" fmla="*/ 118 h 141"/>
                <a:gd name="T10" fmla="*/ 15 w 109"/>
                <a:gd name="T11" fmla="*/ 140 h 141"/>
                <a:gd name="T12" fmla="*/ 40 w 109"/>
                <a:gd name="T13" fmla="*/ 136 h 141"/>
                <a:gd name="T14" fmla="*/ 48 w 109"/>
                <a:gd name="T15" fmla="*/ 121 h 141"/>
                <a:gd name="T16" fmla="*/ 61 w 109"/>
                <a:gd name="T17" fmla="*/ 118 h 141"/>
                <a:gd name="T18" fmla="*/ 68 w 109"/>
                <a:gd name="T19" fmla="*/ 109 h 141"/>
                <a:gd name="T20" fmla="*/ 84 w 109"/>
                <a:gd name="T21" fmla="*/ 105 h 141"/>
                <a:gd name="T22" fmla="*/ 87 w 109"/>
                <a:gd name="T23" fmla="*/ 78 h 141"/>
                <a:gd name="T24" fmla="*/ 93 w 109"/>
                <a:gd name="T25" fmla="*/ 67 h 141"/>
                <a:gd name="T26" fmla="*/ 104 w 109"/>
                <a:gd name="T27" fmla="*/ 61 h 141"/>
                <a:gd name="T28" fmla="*/ 108 w 109"/>
                <a:gd name="T29" fmla="*/ 34 h 141"/>
                <a:gd name="T30" fmla="*/ 96 w 109"/>
                <a:gd name="T31" fmla="*/ 30 h 141"/>
                <a:gd name="T32" fmla="*/ 95 w 109"/>
                <a:gd name="T33" fmla="*/ 16 h 141"/>
                <a:gd name="T34" fmla="*/ 69 w 109"/>
                <a:gd name="T35" fmla="*/ 12 h 141"/>
                <a:gd name="T36" fmla="*/ 59 w 109"/>
                <a:gd name="T37" fmla="*/ 0 h 141"/>
                <a:gd name="T38" fmla="*/ 38 w 109"/>
                <a:gd name="T39" fmla="*/ 3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9" h="141">
                  <a:moveTo>
                    <a:pt x="38" y="34"/>
                  </a:moveTo>
                  <a:lnTo>
                    <a:pt x="51" y="52"/>
                  </a:lnTo>
                  <a:lnTo>
                    <a:pt x="41" y="92"/>
                  </a:lnTo>
                  <a:lnTo>
                    <a:pt x="0" y="99"/>
                  </a:lnTo>
                  <a:lnTo>
                    <a:pt x="6" y="118"/>
                  </a:lnTo>
                  <a:lnTo>
                    <a:pt x="15" y="140"/>
                  </a:lnTo>
                  <a:lnTo>
                    <a:pt x="40" y="136"/>
                  </a:lnTo>
                  <a:lnTo>
                    <a:pt x="48" y="121"/>
                  </a:lnTo>
                  <a:lnTo>
                    <a:pt x="61" y="118"/>
                  </a:lnTo>
                  <a:lnTo>
                    <a:pt x="68" y="109"/>
                  </a:lnTo>
                  <a:lnTo>
                    <a:pt x="84" y="105"/>
                  </a:lnTo>
                  <a:lnTo>
                    <a:pt x="87" y="78"/>
                  </a:lnTo>
                  <a:lnTo>
                    <a:pt x="93" y="67"/>
                  </a:lnTo>
                  <a:lnTo>
                    <a:pt x="104" y="61"/>
                  </a:lnTo>
                  <a:lnTo>
                    <a:pt x="108" y="34"/>
                  </a:lnTo>
                  <a:lnTo>
                    <a:pt x="96" y="30"/>
                  </a:lnTo>
                  <a:lnTo>
                    <a:pt x="95" y="16"/>
                  </a:lnTo>
                  <a:lnTo>
                    <a:pt x="69" y="12"/>
                  </a:lnTo>
                  <a:lnTo>
                    <a:pt x="59" y="0"/>
                  </a:lnTo>
                  <a:lnTo>
                    <a:pt x="38" y="34"/>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92" name="Freeform 209">
              <a:extLst>
                <a:ext uri="{FF2B5EF4-FFF2-40B4-BE49-F238E27FC236}">
                  <a16:creationId xmlns:a16="http://schemas.microsoft.com/office/drawing/2014/main" id="{B2C1674C-C309-427C-AC7A-709F179911C6}"/>
                </a:ext>
              </a:extLst>
            </p:cNvPr>
            <p:cNvSpPr>
              <a:spLocks/>
            </p:cNvSpPr>
            <p:nvPr/>
          </p:nvSpPr>
          <p:spPr bwMode="auto">
            <a:xfrm>
              <a:off x="4225566" y="3237486"/>
              <a:ext cx="191401" cy="212864"/>
            </a:xfrm>
            <a:custGeom>
              <a:avLst/>
              <a:gdLst>
                <a:gd name="T0" fmla="*/ 109 w 143"/>
                <a:gd name="T1" fmla="*/ 160 h 161"/>
                <a:gd name="T2" fmla="*/ 100 w 143"/>
                <a:gd name="T3" fmla="*/ 155 h 161"/>
                <a:gd name="T4" fmla="*/ 84 w 143"/>
                <a:gd name="T5" fmla="*/ 145 h 161"/>
                <a:gd name="T6" fmla="*/ 71 w 143"/>
                <a:gd name="T7" fmla="*/ 122 h 161"/>
                <a:gd name="T8" fmla="*/ 60 w 143"/>
                <a:gd name="T9" fmla="*/ 119 h 161"/>
                <a:gd name="T10" fmla="*/ 50 w 143"/>
                <a:gd name="T11" fmla="*/ 102 h 161"/>
                <a:gd name="T12" fmla="*/ 34 w 143"/>
                <a:gd name="T13" fmla="*/ 103 h 161"/>
                <a:gd name="T14" fmla="*/ 24 w 143"/>
                <a:gd name="T15" fmla="*/ 96 h 161"/>
                <a:gd name="T16" fmla="*/ 14 w 143"/>
                <a:gd name="T17" fmla="*/ 88 h 161"/>
                <a:gd name="T18" fmla="*/ 9 w 143"/>
                <a:gd name="T19" fmla="*/ 90 h 161"/>
                <a:gd name="T20" fmla="*/ 0 w 143"/>
                <a:gd name="T21" fmla="*/ 74 h 161"/>
                <a:gd name="T22" fmla="*/ 15 w 143"/>
                <a:gd name="T23" fmla="*/ 66 h 161"/>
                <a:gd name="T24" fmla="*/ 34 w 143"/>
                <a:gd name="T25" fmla="*/ 54 h 161"/>
                <a:gd name="T26" fmla="*/ 37 w 143"/>
                <a:gd name="T27" fmla="*/ 41 h 161"/>
                <a:gd name="T28" fmla="*/ 37 w 143"/>
                <a:gd name="T29" fmla="*/ 21 h 161"/>
                <a:gd name="T30" fmla="*/ 47 w 143"/>
                <a:gd name="T31" fmla="*/ 12 h 161"/>
                <a:gd name="T32" fmla="*/ 55 w 143"/>
                <a:gd name="T33" fmla="*/ 3 h 161"/>
                <a:gd name="T34" fmla="*/ 70 w 143"/>
                <a:gd name="T35" fmla="*/ 0 h 161"/>
                <a:gd name="T36" fmla="*/ 76 w 143"/>
                <a:gd name="T37" fmla="*/ 10 h 161"/>
                <a:gd name="T38" fmla="*/ 93 w 143"/>
                <a:gd name="T39" fmla="*/ 11 h 161"/>
                <a:gd name="T40" fmla="*/ 96 w 143"/>
                <a:gd name="T41" fmla="*/ 22 h 161"/>
                <a:gd name="T42" fmla="*/ 111 w 143"/>
                <a:gd name="T43" fmla="*/ 25 h 161"/>
                <a:gd name="T44" fmla="*/ 108 w 143"/>
                <a:gd name="T45" fmla="*/ 41 h 161"/>
                <a:gd name="T46" fmla="*/ 98 w 143"/>
                <a:gd name="T47" fmla="*/ 47 h 161"/>
                <a:gd name="T48" fmla="*/ 98 w 143"/>
                <a:gd name="T49" fmla="*/ 63 h 161"/>
                <a:gd name="T50" fmla="*/ 111 w 143"/>
                <a:gd name="T51" fmla="*/ 69 h 161"/>
                <a:gd name="T52" fmla="*/ 115 w 143"/>
                <a:gd name="T53" fmla="*/ 81 h 161"/>
                <a:gd name="T54" fmla="*/ 124 w 143"/>
                <a:gd name="T55" fmla="*/ 84 h 161"/>
                <a:gd name="T56" fmla="*/ 134 w 143"/>
                <a:gd name="T57" fmla="*/ 81 h 161"/>
                <a:gd name="T58" fmla="*/ 137 w 143"/>
                <a:gd name="T59" fmla="*/ 94 h 161"/>
                <a:gd name="T60" fmla="*/ 132 w 143"/>
                <a:gd name="T61" fmla="*/ 108 h 161"/>
                <a:gd name="T62" fmla="*/ 140 w 143"/>
                <a:gd name="T63" fmla="*/ 111 h 161"/>
                <a:gd name="T64" fmla="*/ 142 w 143"/>
                <a:gd name="T65" fmla="*/ 124 h 161"/>
                <a:gd name="T66" fmla="*/ 129 w 143"/>
                <a:gd name="T67" fmla="*/ 129 h 161"/>
                <a:gd name="T68" fmla="*/ 121 w 143"/>
                <a:gd name="T69" fmla="*/ 131 h 161"/>
                <a:gd name="T70" fmla="*/ 119 w 143"/>
                <a:gd name="T71" fmla="*/ 152 h 161"/>
                <a:gd name="T72" fmla="*/ 109 w 143"/>
                <a:gd name="T73" fmla="*/ 16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3" h="161">
                  <a:moveTo>
                    <a:pt x="109" y="160"/>
                  </a:moveTo>
                  <a:lnTo>
                    <a:pt x="100" y="155"/>
                  </a:lnTo>
                  <a:lnTo>
                    <a:pt x="84" y="145"/>
                  </a:lnTo>
                  <a:lnTo>
                    <a:pt x="71" y="122"/>
                  </a:lnTo>
                  <a:lnTo>
                    <a:pt x="60" y="119"/>
                  </a:lnTo>
                  <a:lnTo>
                    <a:pt x="50" y="102"/>
                  </a:lnTo>
                  <a:lnTo>
                    <a:pt x="34" y="103"/>
                  </a:lnTo>
                  <a:lnTo>
                    <a:pt x="24" y="96"/>
                  </a:lnTo>
                  <a:lnTo>
                    <a:pt x="14" y="88"/>
                  </a:lnTo>
                  <a:lnTo>
                    <a:pt x="9" y="90"/>
                  </a:lnTo>
                  <a:lnTo>
                    <a:pt x="0" y="74"/>
                  </a:lnTo>
                  <a:lnTo>
                    <a:pt x="15" y="66"/>
                  </a:lnTo>
                  <a:lnTo>
                    <a:pt x="34" y="54"/>
                  </a:lnTo>
                  <a:lnTo>
                    <a:pt x="37" y="41"/>
                  </a:lnTo>
                  <a:lnTo>
                    <a:pt x="37" y="21"/>
                  </a:lnTo>
                  <a:lnTo>
                    <a:pt x="47" y="12"/>
                  </a:lnTo>
                  <a:lnTo>
                    <a:pt x="55" y="3"/>
                  </a:lnTo>
                  <a:lnTo>
                    <a:pt x="70" y="0"/>
                  </a:lnTo>
                  <a:lnTo>
                    <a:pt x="76" y="10"/>
                  </a:lnTo>
                  <a:lnTo>
                    <a:pt x="93" y="11"/>
                  </a:lnTo>
                  <a:lnTo>
                    <a:pt x="96" y="22"/>
                  </a:lnTo>
                  <a:lnTo>
                    <a:pt x="111" y="25"/>
                  </a:lnTo>
                  <a:lnTo>
                    <a:pt x="108" y="41"/>
                  </a:lnTo>
                  <a:lnTo>
                    <a:pt x="98" y="47"/>
                  </a:lnTo>
                  <a:lnTo>
                    <a:pt x="98" y="63"/>
                  </a:lnTo>
                  <a:lnTo>
                    <a:pt x="111" y="69"/>
                  </a:lnTo>
                  <a:lnTo>
                    <a:pt x="115" y="81"/>
                  </a:lnTo>
                  <a:lnTo>
                    <a:pt x="124" y="84"/>
                  </a:lnTo>
                  <a:lnTo>
                    <a:pt x="134" y="81"/>
                  </a:lnTo>
                  <a:lnTo>
                    <a:pt x="137" y="94"/>
                  </a:lnTo>
                  <a:lnTo>
                    <a:pt x="132" y="108"/>
                  </a:lnTo>
                  <a:lnTo>
                    <a:pt x="140" y="111"/>
                  </a:lnTo>
                  <a:lnTo>
                    <a:pt x="142" y="124"/>
                  </a:lnTo>
                  <a:lnTo>
                    <a:pt x="129" y="129"/>
                  </a:lnTo>
                  <a:lnTo>
                    <a:pt x="121" y="131"/>
                  </a:lnTo>
                  <a:lnTo>
                    <a:pt x="119" y="152"/>
                  </a:lnTo>
                  <a:lnTo>
                    <a:pt x="109" y="16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93" name="Freeform 210">
              <a:extLst>
                <a:ext uri="{FF2B5EF4-FFF2-40B4-BE49-F238E27FC236}">
                  <a16:creationId xmlns:a16="http://schemas.microsoft.com/office/drawing/2014/main" id="{B652A6AA-5226-4716-B041-BF5ED4731512}"/>
                </a:ext>
              </a:extLst>
            </p:cNvPr>
            <p:cNvSpPr>
              <a:spLocks/>
            </p:cNvSpPr>
            <p:nvPr/>
          </p:nvSpPr>
          <p:spPr bwMode="auto">
            <a:xfrm>
              <a:off x="3300658" y="3902239"/>
              <a:ext cx="89162" cy="97513"/>
            </a:xfrm>
            <a:custGeom>
              <a:avLst/>
              <a:gdLst>
                <a:gd name="T0" fmla="*/ 0 w 67"/>
                <a:gd name="T1" fmla="*/ 26 h 74"/>
                <a:gd name="T2" fmla="*/ 14 w 67"/>
                <a:gd name="T3" fmla="*/ 0 h 74"/>
                <a:gd name="T4" fmla="*/ 23 w 67"/>
                <a:gd name="T5" fmla="*/ 17 h 74"/>
                <a:gd name="T6" fmla="*/ 34 w 67"/>
                <a:gd name="T7" fmla="*/ 20 h 74"/>
                <a:gd name="T8" fmla="*/ 38 w 67"/>
                <a:gd name="T9" fmla="*/ 34 h 74"/>
                <a:gd name="T10" fmla="*/ 47 w 67"/>
                <a:gd name="T11" fmla="*/ 36 h 74"/>
                <a:gd name="T12" fmla="*/ 49 w 67"/>
                <a:gd name="T13" fmla="*/ 53 h 74"/>
                <a:gd name="T14" fmla="*/ 66 w 67"/>
                <a:gd name="T15" fmla="*/ 59 h 74"/>
                <a:gd name="T16" fmla="*/ 63 w 67"/>
                <a:gd name="T17" fmla="*/ 67 h 74"/>
                <a:gd name="T18" fmla="*/ 54 w 67"/>
                <a:gd name="T19" fmla="*/ 73 h 74"/>
                <a:gd name="T20" fmla="*/ 36 w 67"/>
                <a:gd name="T21" fmla="*/ 68 h 74"/>
                <a:gd name="T22" fmla="*/ 0 w 67"/>
                <a:gd name="T23" fmla="*/ 2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74">
                  <a:moveTo>
                    <a:pt x="0" y="26"/>
                  </a:moveTo>
                  <a:lnTo>
                    <a:pt x="14" y="0"/>
                  </a:lnTo>
                  <a:lnTo>
                    <a:pt x="23" y="17"/>
                  </a:lnTo>
                  <a:lnTo>
                    <a:pt x="34" y="20"/>
                  </a:lnTo>
                  <a:lnTo>
                    <a:pt x="38" y="34"/>
                  </a:lnTo>
                  <a:lnTo>
                    <a:pt x="47" y="36"/>
                  </a:lnTo>
                  <a:lnTo>
                    <a:pt x="49" y="53"/>
                  </a:lnTo>
                  <a:lnTo>
                    <a:pt x="66" y="59"/>
                  </a:lnTo>
                  <a:lnTo>
                    <a:pt x="63" y="67"/>
                  </a:lnTo>
                  <a:lnTo>
                    <a:pt x="54" y="73"/>
                  </a:lnTo>
                  <a:lnTo>
                    <a:pt x="36" y="68"/>
                  </a:lnTo>
                  <a:lnTo>
                    <a:pt x="0" y="26"/>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94" name="Freeform 211">
              <a:extLst>
                <a:ext uri="{FF2B5EF4-FFF2-40B4-BE49-F238E27FC236}">
                  <a16:creationId xmlns:a16="http://schemas.microsoft.com/office/drawing/2014/main" id="{CDDC38D2-515D-4EBA-862A-AC6CA2E7419E}"/>
                </a:ext>
              </a:extLst>
            </p:cNvPr>
            <p:cNvSpPr>
              <a:spLocks/>
            </p:cNvSpPr>
            <p:nvPr/>
          </p:nvSpPr>
          <p:spPr bwMode="auto">
            <a:xfrm>
              <a:off x="3206741" y="3458674"/>
              <a:ext cx="203289" cy="306809"/>
            </a:xfrm>
            <a:custGeom>
              <a:avLst/>
              <a:gdLst>
                <a:gd name="T0" fmla="*/ 112 w 152"/>
                <a:gd name="T1" fmla="*/ 0 h 229"/>
                <a:gd name="T2" fmla="*/ 107 w 152"/>
                <a:gd name="T3" fmla="*/ 20 h 229"/>
                <a:gd name="T4" fmla="*/ 100 w 152"/>
                <a:gd name="T5" fmla="*/ 29 h 229"/>
                <a:gd name="T6" fmla="*/ 66 w 152"/>
                <a:gd name="T7" fmla="*/ 31 h 229"/>
                <a:gd name="T8" fmla="*/ 66 w 152"/>
                <a:gd name="T9" fmla="*/ 81 h 229"/>
                <a:gd name="T10" fmla="*/ 53 w 152"/>
                <a:gd name="T11" fmla="*/ 76 h 229"/>
                <a:gd name="T12" fmla="*/ 44 w 152"/>
                <a:gd name="T13" fmla="*/ 84 h 229"/>
                <a:gd name="T14" fmla="*/ 41 w 152"/>
                <a:gd name="T15" fmla="*/ 97 h 229"/>
                <a:gd name="T16" fmla="*/ 40 w 152"/>
                <a:gd name="T17" fmla="*/ 118 h 229"/>
                <a:gd name="T18" fmla="*/ 26 w 152"/>
                <a:gd name="T19" fmla="*/ 118 h 229"/>
                <a:gd name="T20" fmla="*/ 6 w 152"/>
                <a:gd name="T21" fmla="*/ 115 h 229"/>
                <a:gd name="T22" fmla="*/ 0 w 152"/>
                <a:gd name="T23" fmla="*/ 113 h 229"/>
                <a:gd name="T24" fmla="*/ 0 w 152"/>
                <a:gd name="T25" fmla="*/ 156 h 229"/>
                <a:gd name="T26" fmla="*/ 4 w 152"/>
                <a:gd name="T27" fmla="*/ 162 h 229"/>
                <a:gd name="T28" fmla="*/ 4 w 152"/>
                <a:gd name="T29" fmla="*/ 195 h 229"/>
                <a:gd name="T30" fmla="*/ 17 w 152"/>
                <a:gd name="T31" fmla="*/ 192 h 229"/>
                <a:gd name="T32" fmla="*/ 23 w 152"/>
                <a:gd name="T33" fmla="*/ 201 h 229"/>
                <a:gd name="T34" fmla="*/ 33 w 152"/>
                <a:gd name="T35" fmla="*/ 205 h 229"/>
                <a:gd name="T36" fmla="*/ 44 w 152"/>
                <a:gd name="T37" fmla="*/ 220 h 229"/>
                <a:gd name="T38" fmla="*/ 55 w 152"/>
                <a:gd name="T39" fmla="*/ 228 h 229"/>
                <a:gd name="T40" fmla="*/ 70 w 152"/>
                <a:gd name="T41" fmla="*/ 209 h 229"/>
                <a:gd name="T42" fmla="*/ 81 w 152"/>
                <a:gd name="T43" fmla="*/ 215 h 229"/>
                <a:gd name="T44" fmla="*/ 132 w 152"/>
                <a:gd name="T45" fmla="*/ 219 h 229"/>
                <a:gd name="T46" fmla="*/ 151 w 152"/>
                <a:gd name="T47" fmla="*/ 217 h 229"/>
                <a:gd name="T48" fmla="*/ 149 w 152"/>
                <a:gd name="T49" fmla="*/ 198 h 229"/>
                <a:gd name="T50" fmla="*/ 138 w 152"/>
                <a:gd name="T51" fmla="*/ 195 h 229"/>
                <a:gd name="T52" fmla="*/ 140 w 152"/>
                <a:gd name="T53" fmla="*/ 84 h 229"/>
                <a:gd name="T54" fmla="*/ 132 w 152"/>
                <a:gd name="T55" fmla="*/ 75 h 229"/>
                <a:gd name="T56" fmla="*/ 132 w 152"/>
                <a:gd name="T57" fmla="*/ 53 h 229"/>
                <a:gd name="T58" fmla="*/ 142 w 152"/>
                <a:gd name="T59" fmla="*/ 50 h 229"/>
                <a:gd name="T60" fmla="*/ 143 w 152"/>
                <a:gd name="T61" fmla="*/ 36 h 229"/>
                <a:gd name="T62" fmla="*/ 112 w 152"/>
                <a:gd name="T63" fmla="*/ 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229">
                  <a:moveTo>
                    <a:pt x="112" y="0"/>
                  </a:moveTo>
                  <a:lnTo>
                    <a:pt x="107" y="20"/>
                  </a:lnTo>
                  <a:lnTo>
                    <a:pt x="100" y="29"/>
                  </a:lnTo>
                  <a:lnTo>
                    <a:pt x="66" y="31"/>
                  </a:lnTo>
                  <a:lnTo>
                    <a:pt x="66" y="81"/>
                  </a:lnTo>
                  <a:lnTo>
                    <a:pt x="53" y="76"/>
                  </a:lnTo>
                  <a:lnTo>
                    <a:pt x="44" y="84"/>
                  </a:lnTo>
                  <a:lnTo>
                    <a:pt x="41" y="97"/>
                  </a:lnTo>
                  <a:lnTo>
                    <a:pt x="40" y="118"/>
                  </a:lnTo>
                  <a:lnTo>
                    <a:pt x="26" y="118"/>
                  </a:lnTo>
                  <a:lnTo>
                    <a:pt x="6" y="115"/>
                  </a:lnTo>
                  <a:lnTo>
                    <a:pt x="0" y="113"/>
                  </a:lnTo>
                  <a:lnTo>
                    <a:pt x="0" y="156"/>
                  </a:lnTo>
                  <a:lnTo>
                    <a:pt x="4" y="162"/>
                  </a:lnTo>
                  <a:lnTo>
                    <a:pt x="4" y="195"/>
                  </a:lnTo>
                  <a:lnTo>
                    <a:pt x="17" y="192"/>
                  </a:lnTo>
                  <a:lnTo>
                    <a:pt x="23" y="201"/>
                  </a:lnTo>
                  <a:lnTo>
                    <a:pt x="33" y="205"/>
                  </a:lnTo>
                  <a:lnTo>
                    <a:pt x="44" y="220"/>
                  </a:lnTo>
                  <a:lnTo>
                    <a:pt x="55" y="228"/>
                  </a:lnTo>
                  <a:lnTo>
                    <a:pt x="70" y="209"/>
                  </a:lnTo>
                  <a:lnTo>
                    <a:pt x="81" y="215"/>
                  </a:lnTo>
                  <a:lnTo>
                    <a:pt x="132" y="219"/>
                  </a:lnTo>
                  <a:lnTo>
                    <a:pt x="151" y="217"/>
                  </a:lnTo>
                  <a:lnTo>
                    <a:pt x="149" y="198"/>
                  </a:lnTo>
                  <a:lnTo>
                    <a:pt x="138" y="195"/>
                  </a:lnTo>
                  <a:lnTo>
                    <a:pt x="140" y="84"/>
                  </a:lnTo>
                  <a:lnTo>
                    <a:pt x="132" y="75"/>
                  </a:lnTo>
                  <a:lnTo>
                    <a:pt x="132" y="53"/>
                  </a:lnTo>
                  <a:lnTo>
                    <a:pt x="142" y="50"/>
                  </a:lnTo>
                  <a:lnTo>
                    <a:pt x="143" y="36"/>
                  </a:lnTo>
                  <a:lnTo>
                    <a:pt x="112"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95" name="Freeform 212">
              <a:extLst>
                <a:ext uri="{FF2B5EF4-FFF2-40B4-BE49-F238E27FC236}">
                  <a16:creationId xmlns:a16="http://schemas.microsoft.com/office/drawing/2014/main" id="{8C40F02E-E770-4EAB-AEEB-B06A94B9C055}"/>
                </a:ext>
              </a:extLst>
            </p:cNvPr>
            <p:cNvSpPr>
              <a:spLocks/>
            </p:cNvSpPr>
            <p:nvPr/>
          </p:nvSpPr>
          <p:spPr bwMode="auto">
            <a:xfrm>
              <a:off x="3732203" y="3999752"/>
              <a:ext cx="137904" cy="192648"/>
            </a:xfrm>
            <a:custGeom>
              <a:avLst/>
              <a:gdLst>
                <a:gd name="T0" fmla="*/ 0 w 103"/>
                <a:gd name="T1" fmla="*/ 133 h 145"/>
                <a:gd name="T2" fmla="*/ 5 w 103"/>
                <a:gd name="T3" fmla="*/ 126 h 145"/>
                <a:gd name="T4" fmla="*/ 10 w 103"/>
                <a:gd name="T5" fmla="*/ 114 h 145"/>
                <a:gd name="T6" fmla="*/ 3 w 103"/>
                <a:gd name="T7" fmla="*/ 108 h 145"/>
                <a:gd name="T8" fmla="*/ 2 w 103"/>
                <a:gd name="T9" fmla="*/ 101 h 145"/>
                <a:gd name="T10" fmla="*/ 12 w 103"/>
                <a:gd name="T11" fmla="*/ 97 h 145"/>
                <a:gd name="T12" fmla="*/ 19 w 103"/>
                <a:gd name="T13" fmla="*/ 95 h 145"/>
                <a:gd name="T14" fmla="*/ 27 w 103"/>
                <a:gd name="T15" fmla="*/ 104 h 145"/>
                <a:gd name="T16" fmla="*/ 39 w 103"/>
                <a:gd name="T17" fmla="*/ 100 h 145"/>
                <a:gd name="T18" fmla="*/ 48 w 103"/>
                <a:gd name="T19" fmla="*/ 86 h 145"/>
                <a:gd name="T20" fmla="*/ 46 w 103"/>
                <a:gd name="T21" fmla="*/ 72 h 145"/>
                <a:gd name="T22" fmla="*/ 38 w 103"/>
                <a:gd name="T23" fmla="*/ 65 h 145"/>
                <a:gd name="T24" fmla="*/ 34 w 103"/>
                <a:gd name="T25" fmla="*/ 55 h 145"/>
                <a:gd name="T26" fmla="*/ 37 w 103"/>
                <a:gd name="T27" fmla="*/ 47 h 145"/>
                <a:gd name="T28" fmla="*/ 35 w 103"/>
                <a:gd name="T29" fmla="*/ 38 h 145"/>
                <a:gd name="T30" fmla="*/ 24 w 103"/>
                <a:gd name="T31" fmla="*/ 38 h 145"/>
                <a:gd name="T32" fmla="*/ 24 w 103"/>
                <a:gd name="T33" fmla="*/ 25 h 145"/>
                <a:gd name="T34" fmla="*/ 69 w 103"/>
                <a:gd name="T35" fmla="*/ 19 h 145"/>
                <a:gd name="T36" fmla="*/ 75 w 103"/>
                <a:gd name="T37" fmla="*/ 10 h 145"/>
                <a:gd name="T38" fmla="*/ 82 w 103"/>
                <a:gd name="T39" fmla="*/ 2 h 145"/>
                <a:gd name="T40" fmla="*/ 93 w 103"/>
                <a:gd name="T41" fmla="*/ 0 h 145"/>
                <a:gd name="T42" fmla="*/ 102 w 103"/>
                <a:gd name="T43" fmla="*/ 3 h 145"/>
                <a:gd name="T44" fmla="*/ 98 w 103"/>
                <a:gd name="T45" fmla="*/ 22 h 145"/>
                <a:gd name="T46" fmla="*/ 94 w 103"/>
                <a:gd name="T47" fmla="*/ 26 h 145"/>
                <a:gd name="T48" fmla="*/ 93 w 103"/>
                <a:gd name="T49" fmla="*/ 71 h 145"/>
                <a:gd name="T50" fmla="*/ 89 w 103"/>
                <a:gd name="T51" fmla="*/ 77 h 145"/>
                <a:gd name="T52" fmla="*/ 83 w 103"/>
                <a:gd name="T53" fmla="*/ 84 h 145"/>
                <a:gd name="T54" fmla="*/ 82 w 103"/>
                <a:gd name="T55" fmla="*/ 103 h 145"/>
                <a:gd name="T56" fmla="*/ 70 w 103"/>
                <a:gd name="T57" fmla="*/ 104 h 145"/>
                <a:gd name="T58" fmla="*/ 69 w 103"/>
                <a:gd name="T59" fmla="*/ 128 h 145"/>
                <a:gd name="T60" fmla="*/ 54 w 103"/>
                <a:gd name="T61" fmla="*/ 134 h 145"/>
                <a:gd name="T62" fmla="*/ 51 w 103"/>
                <a:gd name="T63" fmla="*/ 139 h 145"/>
                <a:gd name="T64" fmla="*/ 39 w 103"/>
                <a:gd name="T65" fmla="*/ 139 h 145"/>
                <a:gd name="T66" fmla="*/ 32 w 103"/>
                <a:gd name="T67" fmla="*/ 135 h 145"/>
                <a:gd name="T68" fmla="*/ 22 w 103"/>
                <a:gd name="T69" fmla="*/ 139 h 145"/>
                <a:gd name="T70" fmla="*/ 14 w 103"/>
                <a:gd name="T71" fmla="*/ 142 h 145"/>
                <a:gd name="T72" fmla="*/ 8 w 103"/>
                <a:gd name="T73" fmla="*/ 144 h 145"/>
                <a:gd name="T74" fmla="*/ 8 w 103"/>
                <a:gd name="T75" fmla="*/ 137 h 145"/>
                <a:gd name="T76" fmla="*/ 0 w 103"/>
                <a:gd name="T77" fmla="*/ 13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3" h="145">
                  <a:moveTo>
                    <a:pt x="0" y="133"/>
                  </a:moveTo>
                  <a:lnTo>
                    <a:pt x="5" y="126"/>
                  </a:lnTo>
                  <a:lnTo>
                    <a:pt x="10" y="114"/>
                  </a:lnTo>
                  <a:lnTo>
                    <a:pt x="3" y="108"/>
                  </a:lnTo>
                  <a:lnTo>
                    <a:pt x="2" y="101"/>
                  </a:lnTo>
                  <a:lnTo>
                    <a:pt x="12" y="97"/>
                  </a:lnTo>
                  <a:lnTo>
                    <a:pt x="19" y="95"/>
                  </a:lnTo>
                  <a:lnTo>
                    <a:pt x="27" y="104"/>
                  </a:lnTo>
                  <a:lnTo>
                    <a:pt x="39" y="100"/>
                  </a:lnTo>
                  <a:lnTo>
                    <a:pt x="48" y="86"/>
                  </a:lnTo>
                  <a:lnTo>
                    <a:pt x="46" y="72"/>
                  </a:lnTo>
                  <a:lnTo>
                    <a:pt x="38" y="65"/>
                  </a:lnTo>
                  <a:lnTo>
                    <a:pt x="34" y="55"/>
                  </a:lnTo>
                  <a:lnTo>
                    <a:pt x="37" y="47"/>
                  </a:lnTo>
                  <a:lnTo>
                    <a:pt x="35" y="38"/>
                  </a:lnTo>
                  <a:lnTo>
                    <a:pt x="24" y="38"/>
                  </a:lnTo>
                  <a:lnTo>
                    <a:pt x="24" y="25"/>
                  </a:lnTo>
                  <a:lnTo>
                    <a:pt x="69" y="19"/>
                  </a:lnTo>
                  <a:lnTo>
                    <a:pt x="75" y="10"/>
                  </a:lnTo>
                  <a:lnTo>
                    <a:pt x="82" y="2"/>
                  </a:lnTo>
                  <a:lnTo>
                    <a:pt x="93" y="0"/>
                  </a:lnTo>
                  <a:lnTo>
                    <a:pt x="102" y="3"/>
                  </a:lnTo>
                  <a:lnTo>
                    <a:pt x="98" y="22"/>
                  </a:lnTo>
                  <a:lnTo>
                    <a:pt x="94" y="26"/>
                  </a:lnTo>
                  <a:lnTo>
                    <a:pt x="93" y="71"/>
                  </a:lnTo>
                  <a:lnTo>
                    <a:pt x="89" y="77"/>
                  </a:lnTo>
                  <a:lnTo>
                    <a:pt x="83" y="84"/>
                  </a:lnTo>
                  <a:lnTo>
                    <a:pt x="82" y="103"/>
                  </a:lnTo>
                  <a:lnTo>
                    <a:pt x="70" y="104"/>
                  </a:lnTo>
                  <a:lnTo>
                    <a:pt x="69" y="128"/>
                  </a:lnTo>
                  <a:lnTo>
                    <a:pt x="54" y="134"/>
                  </a:lnTo>
                  <a:lnTo>
                    <a:pt x="51" y="139"/>
                  </a:lnTo>
                  <a:lnTo>
                    <a:pt x="39" y="139"/>
                  </a:lnTo>
                  <a:lnTo>
                    <a:pt x="32" y="135"/>
                  </a:lnTo>
                  <a:lnTo>
                    <a:pt x="22" y="139"/>
                  </a:lnTo>
                  <a:lnTo>
                    <a:pt x="14" y="142"/>
                  </a:lnTo>
                  <a:lnTo>
                    <a:pt x="8" y="144"/>
                  </a:lnTo>
                  <a:lnTo>
                    <a:pt x="8" y="137"/>
                  </a:lnTo>
                  <a:lnTo>
                    <a:pt x="0" y="13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96" name="Freeform 213">
              <a:extLst>
                <a:ext uri="{FF2B5EF4-FFF2-40B4-BE49-F238E27FC236}">
                  <a16:creationId xmlns:a16="http://schemas.microsoft.com/office/drawing/2014/main" id="{7D27AB64-4423-402E-AAF0-EB54C9C98DD7}"/>
                </a:ext>
              </a:extLst>
            </p:cNvPr>
            <p:cNvSpPr>
              <a:spLocks/>
            </p:cNvSpPr>
            <p:nvPr/>
          </p:nvSpPr>
          <p:spPr bwMode="auto">
            <a:xfrm>
              <a:off x="3742902" y="3971212"/>
              <a:ext cx="374480" cy="416214"/>
            </a:xfrm>
            <a:custGeom>
              <a:avLst/>
              <a:gdLst>
                <a:gd name="T0" fmla="*/ 1 w 282"/>
                <a:gd name="T1" fmla="*/ 174 h 311"/>
                <a:gd name="T2" fmla="*/ 7 w 282"/>
                <a:gd name="T3" fmla="*/ 183 h 311"/>
                <a:gd name="T4" fmla="*/ 42 w 282"/>
                <a:gd name="T5" fmla="*/ 178 h 311"/>
                <a:gd name="T6" fmla="*/ 75 w 282"/>
                <a:gd name="T7" fmla="*/ 206 h 311"/>
                <a:gd name="T8" fmla="*/ 82 w 282"/>
                <a:gd name="T9" fmla="*/ 217 h 311"/>
                <a:gd name="T10" fmla="*/ 110 w 282"/>
                <a:gd name="T11" fmla="*/ 201 h 311"/>
                <a:gd name="T12" fmla="*/ 124 w 282"/>
                <a:gd name="T13" fmla="*/ 213 h 311"/>
                <a:gd name="T14" fmla="*/ 139 w 282"/>
                <a:gd name="T15" fmla="*/ 206 h 311"/>
                <a:gd name="T16" fmla="*/ 146 w 282"/>
                <a:gd name="T17" fmla="*/ 247 h 311"/>
                <a:gd name="T18" fmla="*/ 155 w 282"/>
                <a:gd name="T19" fmla="*/ 267 h 311"/>
                <a:gd name="T20" fmla="*/ 188 w 282"/>
                <a:gd name="T21" fmla="*/ 268 h 311"/>
                <a:gd name="T22" fmla="*/ 199 w 282"/>
                <a:gd name="T23" fmla="*/ 286 h 311"/>
                <a:gd name="T24" fmla="*/ 215 w 282"/>
                <a:gd name="T25" fmla="*/ 275 h 311"/>
                <a:gd name="T26" fmla="*/ 228 w 282"/>
                <a:gd name="T27" fmla="*/ 286 h 311"/>
                <a:gd name="T28" fmla="*/ 237 w 282"/>
                <a:gd name="T29" fmla="*/ 310 h 311"/>
                <a:gd name="T30" fmla="*/ 257 w 282"/>
                <a:gd name="T31" fmla="*/ 300 h 311"/>
                <a:gd name="T32" fmla="*/ 244 w 282"/>
                <a:gd name="T33" fmla="*/ 281 h 311"/>
                <a:gd name="T34" fmla="*/ 242 w 282"/>
                <a:gd name="T35" fmla="*/ 231 h 311"/>
                <a:gd name="T36" fmla="*/ 258 w 282"/>
                <a:gd name="T37" fmla="*/ 217 h 311"/>
                <a:gd name="T38" fmla="*/ 262 w 282"/>
                <a:gd name="T39" fmla="*/ 200 h 311"/>
                <a:gd name="T40" fmla="*/ 257 w 282"/>
                <a:gd name="T41" fmla="*/ 180 h 311"/>
                <a:gd name="T42" fmla="*/ 257 w 282"/>
                <a:gd name="T43" fmla="*/ 159 h 311"/>
                <a:gd name="T44" fmla="*/ 247 w 282"/>
                <a:gd name="T45" fmla="*/ 144 h 311"/>
                <a:gd name="T46" fmla="*/ 241 w 282"/>
                <a:gd name="T47" fmla="*/ 130 h 311"/>
                <a:gd name="T48" fmla="*/ 246 w 282"/>
                <a:gd name="T49" fmla="*/ 116 h 311"/>
                <a:gd name="T50" fmla="*/ 253 w 282"/>
                <a:gd name="T51" fmla="*/ 102 h 311"/>
                <a:gd name="T52" fmla="*/ 272 w 282"/>
                <a:gd name="T53" fmla="*/ 62 h 311"/>
                <a:gd name="T54" fmla="*/ 281 w 282"/>
                <a:gd name="T55" fmla="*/ 48 h 311"/>
                <a:gd name="T56" fmla="*/ 272 w 282"/>
                <a:gd name="T57" fmla="*/ 42 h 311"/>
                <a:gd name="T58" fmla="*/ 268 w 282"/>
                <a:gd name="T59" fmla="*/ 21 h 311"/>
                <a:gd name="T60" fmla="*/ 253 w 282"/>
                <a:gd name="T61" fmla="*/ 11 h 311"/>
                <a:gd name="T62" fmla="*/ 215 w 282"/>
                <a:gd name="T63" fmla="*/ 1 h 311"/>
                <a:gd name="T64" fmla="*/ 190 w 282"/>
                <a:gd name="T65" fmla="*/ 3 h 311"/>
                <a:gd name="T66" fmla="*/ 176 w 282"/>
                <a:gd name="T67" fmla="*/ 8 h 311"/>
                <a:gd name="T68" fmla="*/ 143 w 282"/>
                <a:gd name="T69" fmla="*/ 16 h 311"/>
                <a:gd name="T70" fmla="*/ 114 w 282"/>
                <a:gd name="T71" fmla="*/ 8 h 311"/>
                <a:gd name="T72" fmla="*/ 98 w 282"/>
                <a:gd name="T73" fmla="*/ 14 h 311"/>
                <a:gd name="T74" fmla="*/ 86 w 282"/>
                <a:gd name="T75" fmla="*/ 21 h 311"/>
                <a:gd name="T76" fmla="*/ 91 w 282"/>
                <a:gd name="T77" fmla="*/ 43 h 311"/>
                <a:gd name="T78" fmla="*/ 86 w 282"/>
                <a:gd name="T79" fmla="*/ 92 h 311"/>
                <a:gd name="T80" fmla="*/ 76 w 282"/>
                <a:gd name="T81" fmla="*/ 105 h 311"/>
                <a:gd name="T82" fmla="*/ 63 w 282"/>
                <a:gd name="T83" fmla="*/ 125 h 311"/>
                <a:gd name="T84" fmla="*/ 47 w 282"/>
                <a:gd name="T85" fmla="*/ 155 h 311"/>
                <a:gd name="T86" fmla="*/ 31 w 282"/>
                <a:gd name="T87" fmla="*/ 160 h 311"/>
                <a:gd name="T88" fmla="*/ 14 w 282"/>
                <a:gd name="T89" fmla="*/ 160 h 311"/>
                <a:gd name="T90" fmla="*/ 1 w 282"/>
                <a:gd name="T91" fmla="*/ 16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2" h="311">
                  <a:moveTo>
                    <a:pt x="7" y="171"/>
                  </a:moveTo>
                  <a:lnTo>
                    <a:pt x="1" y="174"/>
                  </a:lnTo>
                  <a:lnTo>
                    <a:pt x="0" y="180"/>
                  </a:lnTo>
                  <a:lnTo>
                    <a:pt x="7" y="183"/>
                  </a:lnTo>
                  <a:lnTo>
                    <a:pt x="28" y="184"/>
                  </a:lnTo>
                  <a:lnTo>
                    <a:pt x="42" y="178"/>
                  </a:lnTo>
                  <a:lnTo>
                    <a:pt x="69" y="181"/>
                  </a:lnTo>
                  <a:lnTo>
                    <a:pt x="75" y="206"/>
                  </a:lnTo>
                  <a:lnTo>
                    <a:pt x="81" y="208"/>
                  </a:lnTo>
                  <a:lnTo>
                    <a:pt x="82" y="217"/>
                  </a:lnTo>
                  <a:lnTo>
                    <a:pt x="109" y="217"/>
                  </a:lnTo>
                  <a:lnTo>
                    <a:pt x="110" y="201"/>
                  </a:lnTo>
                  <a:lnTo>
                    <a:pt x="116" y="195"/>
                  </a:lnTo>
                  <a:lnTo>
                    <a:pt x="124" y="213"/>
                  </a:lnTo>
                  <a:lnTo>
                    <a:pt x="130" y="208"/>
                  </a:lnTo>
                  <a:lnTo>
                    <a:pt x="139" y="206"/>
                  </a:lnTo>
                  <a:lnTo>
                    <a:pt x="145" y="215"/>
                  </a:lnTo>
                  <a:lnTo>
                    <a:pt x="146" y="247"/>
                  </a:lnTo>
                  <a:lnTo>
                    <a:pt x="146" y="259"/>
                  </a:lnTo>
                  <a:lnTo>
                    <a:pt x="155" y="267"/>
                  </a:lnTo>
                  <a:lnTo>
                    <a:pt x="172" y="267"/>
                  </a:lnTo>
                  <a:lnTo>
                    <a:pt x="188" y="268"/>
                  </a:lnTo>
                  <a:lnTo>
                    <a:pt x="192" y="284"/>
                  </a:lnTo>
                  <a:lnTo>
                    <a:pt x="199" y="286"/>
                  </a:lnTo>
                  <a:lnTo>
                    <a:pt x="203" y="277"/>
                  </a:lnTo>
                  <a:lnTo>
                    <a:pt x="215" y="275"/>
                  </a:lnTo>
                  <a:lnTo>
                    <a:pt x="216" y="280"/>
                  </a:lnTo>
                  <a:lnTo>
                    <a:pt x="228" y="286"/>
                  </a:lnTo>
                  <a:lnTo>
                    <a:pt x="231" y="302"/>
                  </a:lnTo>
                  <a:lnTo>
                    <a:pt x="237" y="310"/>
                  </a:lnTo>
                  <a:lnTo>
                    <a:pt x="253" y="309"/>
                  </a:lnTo>
                  <a:lnTo>
                    <a:pt x="257" y="300"/>
                  </a:lnTo>
                  <a:lnTo>
                    <a:pt x="254" y="282"/>
                  </a:lnTo>
                  <a:lnTo>
                    <a:pt x="244" y="281"/>
                  </a:lnTo>
                  <a:lnTo>
                    <a:pt x="238" y="275"/>
                  </a:lnTo>
                  <a:lnTo>
                    <a:pt x="242" y="231"/>
                  </a:lnTo>
                  <a:lnTo>
                    <a:pt x="247" y="221"/>
                  </a:lnTo>
                  <a:lnTo>
                    <a:pt x="258" y="217"/>
                  </a:lnTo>
                  <a:lnTo>
                    <a:pt x="261" y="208"/>
                  </a:lnTo>
                  <a:lnTo>
                    <a:pt x="262" y="200"/>
                  </a:lnTo>
                  <a:lnTo>
                    <a:pt x="261" y="190"/>
                  </a:lnTo>
                  <a:lnTo>
                    <a:pt x="257" y="180"/>
                  </a:lnTo>
                  <a:lnTo>
                    <a:pt x="256" y="173"/>
                  </a:lnTo>
                  <a:lnTo>
                    <a:pt x="257" y="159"/>
                  </a:lnTo>
                  <a:lnTo>
                    <a:pt x="253" y="149"/>
                  </a:lnTo>
                  <a:lnTo>
                    <a:pt x="247" y="144"/>
                  </a:lnTo>
                  <a:lnTo>
                    <a:pt x="250" y="129"/>
                  </a:lnTo>
                  <a:lnTo>
                    <a:pt x="241" y="130"/>
                  </a:lnTo>
                  <a:lnTo>
                    <a:pt x="240" y="122"/>
                  </a:lnTo>
                  <a:lnTo>
                    <a:pt x="246" y="116"/>
                  </a:lnTo>
                  <a:lnTo>
                    <a:pt x="244" y="107"/>
                  </a:lnTo>
                  <a:lnTo>
                    <a:pt x="253" y="102"/>
                  </a:lnTo>
                  <a:lnTo>
                    <a:pt x="257" y="68"/>
                  </a:lnTo>
                  <a:lnTo>
                    <a:pt x="272" y="62"/>
                  </a:lnTo>
                  <a:lnTo>
                    <a:pt x="280" y="58"/>
                  </a:lnTo>
                  <a:lnTo>
                    <a:pt x="281" y="48"/>
                  </a:lnTo>
                  <a:lnTo>
                    <a:pt x="272" y="48"/>
                  </a:lnTo>
                  <a:lnTo>
                    <a:pt x="272" y="42"/>
                  </a:lnTo>
                  <a:lnTo>
                    <a:pt x="268" y="23"/>
                  </a:lnTo>
                  <a:lnTo>
                    <a:pt x="268" y="21"/>
                  </a:lnTo>
                  <a:lnTo>
                    <a:pt x="258" y="19"/>
                  </a:lnTo>
                  <a:lnTo>
                    <a:pt x="253" y="11"/>
                  </a:lnTo>
                  <a:lnTo>
                    <a:pt x="220" y="8"/>
                  </a:lnTo>
                  <a:lnTo>
                    <a:pt x="215" y="1"/>
                  </a:lnTo>
                  <a:lnTo>
                    <a:pt x="206" y="0"/>
                  </a:lnTo>
                  <a:lnTo>
                    <a:pt x="190" y="3"/>
                  </a:lnTo>
                  <a:lnTo>
                    <a:pt x="177" y="1"/>
                  </a:lnTo>
                  <a:lnTo>
                    <a:pt x="176" y="8"/>
                  </a:lnTo>
                  <a:lnTo>
                    <a:pt x="146" y="10"/>
                  </a:lnTo>
                  <a:lnTo>
                    <a:pt x="143" y="16"/>
                  </a:lnTo>
                  <a:lnTo>
                    <a:pt x="119" y="19"/>
                  </a:lnTo>
                  <a:lnTo>
                    <a:pt x="114" y="8"/>
                  </a:lnTo>
                  <a:lnTo>
                    <a:pt x="104" y="5"/>
                  </a:lnTo>
                  <a:lnTo>
                    <a:pt x="98" y="14"/>
                  </a:lnTo>
                  <a:lnTo>
                    <a:pt x="91" y="17"/>
                  </a:lnTo>
                  <a:lnTo>
                    <a:pt x="86" y="21"/>
                  </a:lnTo>
                  <a:lnTo>
                    <a:pt x="95" y="25"/>
                  </a:lnTo>
                  <a:lnTo>
                    <a:pt x="91" y="43"/>
                  </a:lnTo>
                  <a:lnTo>
                    <a:pt x="87" y="47"/>
                  </a:lnTo>
                  <a:lnTo>
                    <a:pt x="86" y="92"/>
                  </a:lnTo>
                  <a:lnTo>
                    <a:pt x="82" y="98"/>
                  </a:lnTo>
                  <a:lnTo>
                    <a:pt x="76" y="105"/>
                  </a:lnTo>
                  <a:lnTo>
                    <a:pt x="75" y="125"/>
                  </a:lnTo>
                  <a:lnTo>
                    <a:pt x="63" y="125"/>
                  </a:lnTo>
                  <a:lnTo>
                    <a:pt x="62" y="149"/>
                  </a:lnTo>
                  <a:lnTo>
                    <a:pt x="47" y="155"/>
                  </a:lnTo>
                  <a:lnTo>
                    <a:pt x="43" y="160"/>
                  </a:lnTo>
                  <a:lnTo>
                    <a:pt x="31" y="160"/>
                  </a:lnTo>
                  <a:lnTo>
                    <a:pt x="25" y="156"/>
                  </a:lnTo>
                  <a:lnTo>
                    <a:pt x="14" y="160"/>
                  </a:lnTo>
                  <a:lnTo>
                    <a:pt x="7" y="163"/>
                  </a:lnTo>
                  <a:lnTo>
                    <a:pt x="1" y="165"/>
                  </a:lnTo>
                  <a:lnTo>
                    <a:pt x="4" y="17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97" name="Freeform 214">
              <a:extLst>
                <a:ext uri="{FF2B5EF4-FFF2-40B4-BE49-F238E27FC236}">
                  <a16:creationId xmlns:a16="http://schemas.microsoft.com/office/drawing/2014/main" id="{DE825AEB-54BC-4B98-8E2A-9C83364BAB4B}"/>
                </a:ext>
              </a:extLst>
            </p:cNvPr>
            <p:cNvSpPr>
              <a:spLocks/>
            </p:cNvSpPr>
            <p:nvPr/>
          </p:nvSpPr>
          <p:spPr bwMode="auto">
            <a:xfrm>
              <a:off x="3732203" y="4210237"/>
              <a:ext cx="240143" cy="271134"/>
            </a:xfrm>
            <a:custGeom>
              <a:avLst/>
              <a:gdLst>
                <a:gd name="T0" fmla="*/ 8 w 180"/>
                <a:gd name="T1" fmla="*/ 3 h 203"/>
                <a:gd name="T2" fmla="*/ 14 w 180"/>
                <a:gd name="T3" fmla="*/ 5 h 203"/>
                <a:gd name="T4" fmla="*/ 35 w 180"/>
                <a:gd name="T5" fmla="*/ 6 h 203"/>
                <a:gd name="T6" fmla="*/ 50 w 180"/>
                <a:gd name="T7" fmla="*/ 0 h 203"/>
                <a:gd name="T8" fmla="*/ 76 w 180"/>
                <a:gd name="T9" fmla="*/ 3 h 203"/>
                <a:gd name="T10" fmla="*/ 82 w 180"/>
                <a:gd name="T11" fmla="*/ 28 h 203"/>
                <a:gd name="T12" fmla="*/ 89 w 180"/>
                <a:gd name="T13" fmla="*/ 30 h 203"/>
                <a:gd name="T14" fmla="*/ 90 w 180"/>
                <a:gd name="T15" fmla="*/ 39 h 203"/>
                <a:gd name="T16" fmla="*/ 116 w 180"/>
                <a:gd name="T17" fmla="*/ 39 h 203"/>
                <a:gd name="T18" fmla="*/ 117 w 180"/>
                <a:gd name="T19" fmla="*/ 23 h 203"/>
                <a:gd name="T20" fmla="*/ 123 w 180"/>
                <a:gd name="T21" fmla="*/ 17 h 203"/>
                <a:gd name="T22" fmla="*/ 131 w 180"/>
                <a:gd name="T23" fmla="*/ 35 h 203"/>
                <a:gd name="T24" fmla="*/ 137 w 180"/>
                <a:gd name="T25" fmla="*/ 30 h 203"/>
                <a:gd name="T26" fmla="*/ 146 w 180"/>
                <a:gd name="T27" fmla="*/ 28 h 203"/>
                <a:gd name="T28" fmla="*/ 152 w 180"/>
                <a:gd name="T29" fmla="*/ 37 h 203"/>
                <a:gd name="T30" fmla="*/ 153 w 180"/>
                <a:gd name="T31" fmla="*/ 69 h 203"/>
                <a:gd name="T32" fmla="*/ 153 w 180"/>
                <a:gd name="T33" fmla="*/ 81 h 203"/>
                <a:gd name="T34" fmla="*/ 162 w 180"/>
                <a:gd name="T35" fmla="*/ 88 h 203"/>
                <a:gd name="T36" fmla="*/ 179 w 180"/>
                <a:gd name="T37" fmla="*/ 88 h 203"/>
                <a:gd name="T38" fmla="*/ 176 w 180"/>
                <a:gd name="T39" fmla="*/ 122 h 203"/>
                <a:gd name="T40" fmla="*/ 164 w 180"/>
                <a:gd name="T41" fmla="*/ 122 h 203"/>
                <a:gd name="T42" fmla="*/ 159 w 180"/>
                <a:gd name="T43" fmla="*/ 113 h 203"/>
                <a:gd name="T44" fmla="*/ 153 w 180"/>
                <a:gd name="T45" fmla="*/ 114 h 203"/>
                <a:gd name="T46" fmla="*/ 153 w 180"/>
                <a:gd name="T47" fmla="*/ 122 h 203"/>
                <a:gd name="T48" fmla="*/ 143 w 180"/>
                <a:gd name="T49" fmla="*/ 123 h 203"/>
                <a:gd name="T50" fmla="*/ 142 w 180"/>
                <a:gd name="T51" fmla="*/ 162 h 203"/>
                <a:gd name="T52" fmla="*/ 144 w 180"/>
                <a:gd name="T53" fmla="*/ 173 h 203"/>
                <a:gd name="T54" fmla="*/ 155 w 180"/>
                <a:gd name="T55" fmla="*/ 188 h 203"/>
                <a:gd name="T56" fmla="*/ 156 w 180"/>
                <a:gd name="T57" fmla="*/ 195 h 203"/>
                <a:gd name="T58" fmla="*/ 138 w 180"/>
                <a:gd name="T59" fmla="*/ 202 h 203"/>
                <a:gd name="T60" fmla="*/ 127 w 180"/>
                <a:gd name="T61" fmla="*/ 200 h 203"/>
                <a:gd name="T62" fmla="*/ 97 w 180"/>
                <a:gd name="T63" fmla="*/ 196 h 203"/>
                <a:gd name="T64" fmla="*/ 92 w 180"/>
                <a:gd name="T65" fmla="*/ 188 h 203"/>
                <a:gd name="T66" fmla="*/ 55 w 180"/>
                <a:gd name="T67" fmla="*/ 189 h 203"/>
                <a:gd name="T68" fmla="*/ 30 w 180"/>
                <a:gd name="T69" fmla="*/ 187 h 203"/>
                <a:gd name="T70" fmla="*/ 14 w 180"/>
                <a:gd name="T71" fmla="*/ 180 h 203"/>
                <a:gd name="T72" fmla="*/ 0 w 180"/>
                <a:gd name="T73" fmla="*/ 186 h 203"/>
                <a:gd name="T74" fmla="*/ 0 w 180"/>
                <a:gd name="T75" fmla="*/ 162 h 203"/>
                <a:gd name="T76" fmla="*/ 16 w 180"/>
                <a:gd name="T77" fmla="*/ 133 h 203"/>
                <a:gd name="T78" fmla="*/ 24 w 180"/>
                <a:gd name="T79" fmla="*/ 114 h 203"/>
                <a:gd name="T80" fmla="*/ 25 w 180"/>
                <a:gd name="T81" fmla="*/ 110 h 203"/>
                <a:gd name="T82" fmla="*/ 32 w 180"/>
                <a:gd name="T83" fmla="*/ 108 h 203"/>
                <a:gd name="T84" fmla="*/ 35 w 180"/>
                <a:gd name="T85" fmla="*/ 93 h 203"/>
                <a:gd name="T86" fmla="*/ 26 w 180"/>
                <a:gd name="T87" fmla="*/ 78 h 203"/>
                <a:gd name="T88" fmla="*/ 23 w 180"/>
                <a:gd name="T89" fmla="*/ 59 h 203"/>
                <a:gd name="T90" fmla="*/ 21 w 180"/>
                <a:gd name="T91" fmla="*/ 39 h 203"/>
                <a:gd name="T92" fmla="*/ 14 w 180"/>
                <a:gd name="T93" fmla="*/ 34 h 203"/>
                <a:gd name="T94" fmla="*/ 14 w 180"/>
                <a:gd name="T95" fmla="*/ 12 h 203"/>
                <a:gd name="T96" fmla="*/ 5 w 180"/>
                <a:gd name="T97" fmla="*/ 12 h 203"/>
                <a:gd name="T98" fmla="*/ 8 w 180"/>
                <a:gd name="T99" fmla="*/ 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203">
                  <a:moveTo>
                    <a:pt x="8" y="3"/>
                  </a:moveTo>
                  <a:lnTo>
                    <a:pt x="14" y="5"/>
                  </a:lnTo>
                  <a:lnTo>
                    <a:pt x="35" y="6"/>
                  </a:lnTo>
                  <a:lnTo>
                    <a:pt x="50" y="0"/>
                  </a:lnTo>
                  <a:lnTo>
                    <a:pt x="76" y="3"/>
                  </a:lnTo>
                  <a:lnTo>
                    <a:pt x="82" y="28"/>
                  </a:lnTo>
                  <a:lnTo>
                    <a:pt x="89" y="30"/>
                  </a:lnTo>
                  <a:lnTo>
                    <a:pt x="90" y="39"/>
                  </a:lnTo>
                  <a:lnTo>
                    <a:pt x="116" y="39"/>
                  </a:lnTo>
                  <a:lnTo>
                    <a:pt x="117" y="23"/>
                  </a:lnTo>
                  <a:lnTo>
                    <a:pt x="123" y="17"/>
                  </a:lnTo>
                  <a:lnTo>
                    <a:pt x="131" y="35"/>
                  </a:lnTo>
                  <a:lnTo>
                    <a:pt x="137" y="30"/>
                  </a:lnTo>
                  <a:lnTo>
                    <a:pt x="146" y="28"/>
                  </a:lnTo>
                  <a:lnTo>
                    <a:pt x="152" y="37"/>
                  </a:lnTo>
                  <a:lnTo>
                    <a:pt x="153" y="69"/>
                  </a:lnTo>
                  <a:lnTo>
                    <a:pt x="153" y="81"/>
                  </a:lnTo>
                  <a:lnTo>
                    <a:pt x="162" y="88"/>
                  </a:lnTo>
                  <a:lnTo>
                    <a:pt x="179" y="88"/>
                  </a:lnTo>
                  <a:lnTo>
                    <a:pt x="176" y="122"/>
                  </a:lnTo>
                  <a:lnTo>
                    <a:pt x="164" y="122"/>
                  </a:lnTo>
                  <a:lnTo>
                    <a:pt x="159" y="113"/>
                  </a:lnTo>
                  <a:lnTo>
                    <a:pt x="153" y="114"/>
                  </a:lnTo>
                  <a:lnTo>
                    <a:pt x="153" y="122"/>
                  </a:lnTo>
                  <a:lnTo>
                    <a:pt x="143" y="123"/>
                  </a:lnTo>
                  <a:lnTo>
                    <a:pt x="142" y="162"/>
                  </a:lnTo>
                  <a:lnTo>
                    <a:pt x="144" y="173"/>
                  </a:lnTo>
                  <a:lnTo>
                    <a:pt x="155" y="188"/>
                  </a:lnTo>
                  <a:lnTo>
                    <a:pt x="156" y="195"/>
                  </a:lnTo>
                  <a:lnTo>
                    <a:pt x="138" y="202"/>
                  </a:lnTo>
                  <a:lnTo>
                    <a:pt x="127" y="200"/>
                  </a:lnTo>
                  <a:lnTo>
                    <a:pt x="97" y="196"/>
                  </a:lnTo>
                  <a:lnTo>
                    <a:pt x="92" y="188"/>
                  </a:lnTo>
                  <a:lnTo>
                    <a:pt x="55" y="189"/>
                  </a:lnTo>
                  <a:lnTo>
                    <a:pt x="30" y="187"/>
                  </a:lnTo>
                  <a:lnTo>
                    <a:pt x="14" y="180"/>
                  </a:lnTo>
                  <a:lnTo>
                    <a:pt x="0" y="186"/>
                  </a:lnTo>
                  <a:lnTo>
                    <a:pt x="0" y="162"/>
                  </a:lnTo>
                  <a:lnTo>
                    <a:pt x="16" y="133"/>
                  </a:lnTo>
                  <a:lnTo>
                    <a:pt x="24" y="114"/>
                  </a:lnTo>
                  <a:lnTo>
                    <a:pt x="25" y="110"/>
                  </a:lnTo>
                  <a:lnTo>
                    <a:pt x="32" y="108"/>
                  </a:lnTo>
                  <a:lnTo>
                    <a:pt x="35" y="93"/>
                  </a:lnTo>
                  <a:lnTo>
                    <a:pt x="26" y="78"/>
                  </a:lnTo>
                  <a:lnTo>
                    <a:pt x="23" y="59"/>
                  </a:lnTo>
                  <a:lnTo>
                    <a:pt x="21" y="39"/>
                  </a:lnTo>
                  <a:lnTo>
                    <a:pt x="14" y="34"/>
                  </a:lnTo>
                  <a:lnTo>
                    <a:pt x="14" y="12"/>
                  </a:lnTo>
                  <a:lnTo>
                    <a:pt x="5" y="12"/>
                  </a:lnTo>
                  <a:lnTo>
                    <a:pt x="8" y="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98" name="Freeform 215">
              <a:extLst>
                <a:ext uri="{FF2B5EF4-FFF2-40B4-BE49-F238E27FC236}">
                  <a16:creationId xmlns:a16="http://schemas.microsoft.com/office/drawing/2014/main" id="{B4FD8490-CF64-4AC8-B2FF-5AA60BF343CD}"/>
                </a:ext>
              </a:extLst>
            </p:cNvPr>
            <p:cNvSpPr>
              <a:spLocks/>
            </p:cNvSpPr>
            <p:nvPr/>
          </p:nvSpPr>
          <p:spPr bwMode="auto">
            <a:xfrm>
              <a:off x="4156614" y="3979536"/>
              <a:ext cx="155736" cy="199783"/>
            </a:xfrm>
            <a:custGeom>
              <a:avLst/>
              <a:gdLst>
                <a:gd name="T0" fmla="*/ 83 w 116"/>
                <a:gd name="T1" fmla="*/ 150 h 151"/>
                <a:gd name="T2" fmla="*/ 60 w 116"/>
                <a:gd name="T3" fmla="*/ 138 h 151"/>
                <a:gd name="T4" fmla="*/ 60 w 116"/>
                <a:gd name="T5" fmla="*/ 126 h 151"/>
                <a:gd name="T6" fmla="*/ 44 w 116"/>
                <a:gd name="T7" fmla="*/ 121 h 151"/>
                <a:gd name="T8" fmla="*/ 15 w 116"/>
                <a:gd name="T9" fmla="*/ 98 h 151"/>
                <a:gd name="T10" fmla="*/ 4 w 116"/>
                <a:gd name="T11" fmla="*/ 98 h 151"/>
                <a:gd name="T12" fmla="*/ 0 w 116"/>
                <a:gd name="T13" fmla="*/ 88 h 151"/>
                <a:gd name="T14" fmla="*/ 3 w 116"/>
                <a:gd name="T15" fmla="*/ 72 h 151"/>
                <a:gd name="T16" fmla="*/ 11 w 116"/>
                <a:gd name="T17" fmla="*/ 56 h 151"/>
                <a:gd name="T18" fmla="*/ 11 w 116"/>
                <a:gd name="T19" fmla="*/ 29 h 151"/>
                <a:gd name="T20" fmla="*/ 3 w 116"/>
                <a:gd name="T21" fmla="*/ 14 h 151"/>
                <a:gd name="T22" fmla="*/ 23 w 116"/>
                <a:gd name="T23" fmla="*/ 0 h 151"/>
                <a:gd name="T24" fmla="*/ 37 w 116"/>
                <a:gd name="T25" fmla="*/ 3 h 151"/>
                <a:gd name="T26" fmla="*/ 51 w 116"/>
                <a:gd name="T27" fmla="*/ 13 h 151"/>
                <a:gd name="T28" fmla="*/ 53 w 116"/>
                <a:gd name="T29" fmla="*/ 23 h 151"/>
                <a:gd name="T30" fmla="*/ 84 w 116"/>
                <a:gd name="T31" fmla="*/ 20 h 151"/>
                <a:gd name="T32" fmla="*/ 84 w 116"/>
                <a:gd name="T33" fmla="*/ 14 h 151"/>
                <a:gd name="T34" fmla="*/ 104 w 116"/>
                <a:gd name="T35" fmla="*/ 13 h 151"/>
                <a:gd name="T36" fmla="*/ 108 w 116"/>
                <a:gd name="T37" fmla="*/ 19 h 151"/>
                <a:gd name="T38" fmla="*/ 115 w 116"/>
                <a:gd name="T39" fmla="*/ 23 h 151"/>
                <a:gd name="T40" fmla="*/ 107 w 116"/>
                <a:gd name="T41" fmla="*/ 29 h 151"/>
                <a:gd name="T42" fmla="*/ 103 w 116"/>
                <a:gd name="T43" fmla="*/ 39 h 151"/>
                <a:gd name="T44" fmla="*/ 106 w 116"/>
                <a:gd name="T45" fmla="*/ 102 h 151"/>
                <a:gd name="T46" fmla="*/ 112 w 116"/>
                <a:gd name="T47" fmla="*/ 105 h 151"/>
                <a:gd name="T48" fmla="*/ 106 w 116"/>
                <a:gd name="T49" fmla="*/ 111 h 151"/>
                <a:gd name="T50" fmla="*/ 101 w 116"/>
                <a:gd name="T51" fmla="*/ 121 h 151"/>
                <a:gd name="T52" fmla="*/ 90 w 116"/>
                <a:gd name="T53" fmla="*/ 131 h 151"/>
                <a:gd name="T54" fmla="*/ 88 w 116"/>
                <a:gd name="T55" fmla="*/ 140 h 151"/>
                <a:gd name="T56" fmla="*/ 83 w 116"/>
                <a:gd name="T57" fmla="*/ 15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6" h="151">
                  <a:moveTo>
                    <a:pt x="83" y="150"/>
                  </a:moveTo>
                  <a:lnTo>
                    <a:pt x="60" y="138"/>
                  </a:lnTo>
                  <a:lnTo>
                    <a:pt x="60" y="126"/>
                  </a:lnTo>
                  <a:lnTo>
                    <a:pt x="44" y="121"/>
                  </a:lnTo>
                  <a:lnTo>
                    <a:pt x="15" y="98"/>
                  </a:lnTo>
                  <a:lnTo>
                    <a:pt x="4" y="98"/>
                  </a:lnTo>
                  <a:lnTo>
                    <a:pt x="0" y="88"/>
                  </a:lnTo>
                  <a:lnTo>
                    <a:pt x="3" y="72"/>
                  </a:lnTo>
                  <a:lnTo>
                    <a:pt x="11" y="56"/>
                  </a:lnTo>
                  <a:lnTo>
                    <a:pt x="11" y="29"/>
                  </a:lnTo>
                  <a:lnTo>
                    <a:pt x="3" y="14"/>
                  </a:lnTo>
                  <a:lnTo>
                    <a:pt x="23" y="0"/>
                  </a:lnTo>
                  <a:lnTo>
                    <a:pt x="37" y="3"/>
                  </a:lnTo>
                  <a:lnTo>
                    <a:pt x="51" y="13"/>
                  </a:lnTo>
                  <a:lnTo>
                    <a:pt x="53" y="23"/>
                  </a:lnTo>
                  <a:lnTo>
                    <a:pt x="84" y="20"/>
                  </a:lnTo>
                  <a:lnTo>
                    <a:pt x="84" y="14"/>
                  </a:lnTo>
                  <a:lnTo>
                    <a:pt x="104" y="13"/>
                  </a:lnTo>
                  <a:lnTo>
                    <a:pt x="108" y="19"/>
                  </a:lnTo>
                  <a:lnTo>
                    <a:pt x="115" y="23"/>
                  </a:lnTo>
                  <a:lnTo>
                    <a:pt x="107" y="29"/>
                  </a:lnTo>
                  <a:lnTo>
                    <a:pt x="103" y="39"/>
                  </a:lnTo>
                  <a:lnTo>
                    <a:pt x="106" y="102"/>
                  </a:lnTo>
                  <a:lnTo>
                    <a:pt x="112" y="105"/>
                  </a:lnTo>
                  <a:lnTo>
                    <a:pt x="106" y="111"/>
                  </a:lnTo>
                  <a:lnTo>
                    <a:pt x="101" y="121"/>
                  </a:lnTo>
                  <a:lnTo>
                    <a:pt x="90" y="131"/>
                  </a:lnTo>
                  <a:lnTo>
                    <a:pt x="88" y="140"/>
                  </a:lnTo>
                  <a:lnTo>
                    <a:pt x="83" y="15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99" name="Freeform 216">
              <a:extLst>
                <a:ext uri="{FF2B5EF4-FFF2-40B4-BE49-F238E27FC236}">
                  <a16:creationId xmlns:a16="http://schemas.microsoft.com/office/drawing/2014/main" id="{7C073A2D-B7D6-4C99-B994-851B945DE856}"/>
                </a:ext>
              </a:extLst>
            </p:cNvPr>
            <p:cNvSpPr>
              <a:spLocks/>
            </p:cNvSpPr>
            <p:nvPr/>
          </p:nvSpPr>
          <p:spPr bwMode="auto">
            <a:xfrm>
              <a:off x="4142348" y="3641808"/>
              <a:ext cx="272241" cy="366268"/>
            </a:xfrm>
            <a:custGeom>
              <a:avLst/>
              <a:gdLst>
                <a:gd name="T0" fmla="*/ 126 w 204"/>
                <a:gd name="T1" fmla="*/ 275 h 276"/>
                <a:gd name="T2" fmla="*/ 119 w 204"/>
                <a:gd name="T3" fmla="*/ 271 h 276"/>
                <a:gd name="T4" fmla="*/ 115 w 204"/>
                <a:gd name="T5" fmla="*/ 265 h 276"/>
                <a:gd name="T6" fmla="*/ 96 w 204"/>
                <a:gd name="T7" fmla="*/ 267 h 276"/>
                <a:gd name="T8" fmla="*/ 96 w 204"/>
                <a:gd name="T9" fmla="*/ 272 h 276"/>
                <a:gd name="T10" fmla="*/ 64 w 204"/>
                <a:gd name="T11" fmla="*/ 275 h 276"/>
                <a:gd name="T12" fmla="*/ 63 w 204"/>
                <a:gd name="T13" fmla="*/ 265 h 276"/>
                <a:gd name="T14" fmla="*/ 49 w 204"/>
                <a:gd name="T15" fmla="*/ 256 h 276"/>
                <a:gd name="T16" fmla="*/ 35 w 204"/>
                <a:gd name="T17" fmla="*/ 252 h 276"/>
                <a:gd name="T18" fmla="*/ 35 w 204"/>
                <a:gd name="T19" fmla="*/ 243 h 276"/>
                <a:gd name="T20" fmla="*/ 28 w 204"/>
                <a:gd name="T21" fmla="*/ 231 h 276"/>
                <a:gd name="T22" fmla="*/ 24 w 204"/>
                <a:gd name="T23" fmla="*/ 228 h 276"/>
                <a:gd name="T24" fmla="*/ 16 w 204"/>
                <a:gd name="T25" fmla="*/ 223 h 276"/>
                <a:gd name="T26" fmla="*/ 16 w 204"/>
                <a:gd name="T27" fmla="*/ 211 h 276"/>
                <a:gd name="T28" fmla="*/ 8 w 204"/>
                <a:gd name="T29" fmla="*/ 209 h 276"/>
                <a:gd name="T30" fmla="*/ 0 w 204"/>
                <a:gd name="T31" fmla="*/ 195 h 276"/>
                <a:gd name="T32" fmla="*/ 15 w 204"/>
                <a:gd name="T33" fmla="*/ 194 h 276"/>
                <a:gd name="T34" fmla="*/ 19 w 204"/>
                <a:gd name="T35" fmla="*/ 162 h 276"/>
                <a:gd name="T36" fmla="*/ 30 w 204"/>
                <a:gd name="T37" fmla="*/ 161 h 276"/>
                <a:gd name="T38" fmla="*/ 33 w 204"/>
                <a:gd name="T39" fmla="*/ 128 h 276"/>
                <a:gd name="T40" fmla="*/ 52 w 204"/>
                <a:gd name="T41" fmla="*/ 124 h 276"/>
                <a:gd name="T42" fmla="*/ 49 w 204"/>
                <a:gd name="T43" fmla="*/ 85 h 276"/>
                <a:gd name="T44" fmla="*/ 39 w 204"/>
                <a:gd name="T45" fmla="*/ 82 h 276"/>
                <a:gd name="T46" fmla="*/ 40 w 204"/>
                <a:gd name="T47" fmla="*/ 71 h 276"/>
                <a:gd name="T48" fmla="*/ 52 w 204"/>
                <a:gd name="T49" fmla="*/ 72 h 276"/>
                <a:gd name="T50" fmla="*/ 52 w 204"/>
                <a:gd name="T51" fmla="*/ 60 h 276"/>
                <a:gd name="T52" fmla="*/ 46 w 204"/>
                <a:gd name="T53" fmla="*/ 46 h 276"/>
                <a:gd name="T54" fmla="*/ 45 w 204"/>
                <a:gd name="T55" fmla="*/ 27 h 276"/>
                <a:gd name="T56" fmla="*/ 55 w 204"/>
                <a:gd name="T57" fmla="*/ 0 h 276"/>
                <a:gd name="T58" fmla="*/ 60 w 204"/>
                <a:gd name="T59" fmla="*/ 12 h 276"/>
                <a:gd name="T60" fmla="*/ 68 w 204"/>
                <a:gd name="T61" fmla="*/ 25 h 276"/>
                <a:gd name="T62" fmla="*/ 74 w 204"/>
                <a:gd name="T63" fmla="*/ 34 h 276"/>
                <a:gd name="T64" fmla="*/ 84 w 204"/>
                <a:gd name="T65" fmla="*/ 52 h 276"/>
                <a:gd name="T66" fmla="*/ 90 w 204"/>
                <a:gd name="T67" fmla="*/ 63 h 276"/>
                <a:gd name="T68" fmla="*/ 91 w 204"/>
                <a:gd name="T69" fmla="*/ 76 h 276"/>
                <a:gd name="T70" fmla="*/ 108 w 204"/>
                <a:gd name="T71" fmla="*/ 81 h 276"/>
                <a:gd name="T72" fmla="*/ 116 w 204"/>
                <a:gd name="T73" fmla="*/ 100 h 276"/>
                <a:gd name="T74" fmla="*/ 127 w 204"/>
                <a:gd name="T75" fmla="*/ 121 h 276"/>
                <a:gd name="T76" fmla="*/ 123 w 204"/>
                <a:gd name="T77" fmla="*/ 132 h 276"/>
                <a:gd name="T78" fmla="*/ 121 w 204"/>
                <a:gd name="T79" fmla="*/ 159 h 276"/>
                <a:gd name="T80" fmla="*/ 137 w 204"/>
                <a:gd name="T81" fmla="*/ 162 h 276"/>
                <a:gd name="T82" fmla="*/ 148 w 204"/>
                <a:gd name="T83" fmla="*/ 172 h 276"/>
                <a:gd name="T84" fmla="*/ 173 w 204"/>
                <a:gd name="T85" fmla="*/ 195 h 276"/>
                <a:gd name="T86" fmla="*/ 189 w 204"/>
                <a:gd name="T87" fmla="*/ 195 h 276"/>
                <a:gd name="T88" fmla="*/ 203 w 204"/>
                <a:gd name="T89" fmla="*/ 208 h 276"/>
                <a:gd name="T90" fmla="*/ 189 w 204"/>
                <a:gd name="T91" fmla="*/ 220 h 276"/>
                <a:gd name="T92" fmla="*/ 185 w 204"/>
                <a:gd name="T93" fmla="*/ 240 h 276"/>
                <a:gd name="T94" fmla="*/ 171 w 204"/>
                <a:gd name="T95" fmla="*/ 256 h 276"/>
                <a:gd name="T96" fmla="*/ 151 w 204"/>
                <a:gd name="T97" fmla="*/ 260 h 276"/>
                <a:gd name="T98" fmla="*/ 137 w 204"/>
                <a:gd name="T99" fmla="*/ 260 h 276"/>
                <a:gd name="T100" fmla="*/ 126 w 204"/>
                <a:gd name="T101" fmla="*/ 2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4" h="276">
                  <a:moveTo>
                    <a:pt x="126" y="275"/>
                  </a:moveTo>
                  <a:lnTo>
                    <a:pt x="119" y="271"/>
                  </a:lnTo>
                  <a:lnTo>
                    <a:pt x="115" y="265"/>
                  </a:lnTo>
                  <a:lnTo>
                    <a:pt x="96" y="267"/>
                  </a:lnTo>
                  <a:lnTo>
                    <a:pt x="96" y="272"/>
                  </a:lnTo>
                  <a:lnTo>
                    <a:pt x="64" y="275"/>
                  </a:lnTo>
                  <a:lnTo>
                    <a:pt x="63" y="265"/>
                  </a:lnTo>
                  <a:lnTo>
                    <a:pt x="49" y="256"/>
                  </a:lnTo>
                  <a:lnTo>
                    <a:pt x="35" y="252"/>
                  </a:lnTo>
                  <a:lnTo>
                    <a:pt x="35" y="243"/>
                  </a:lnTo>
                  <a:lnTo>
                    <a:pt x="28" y="231"/>
                  </a:lnTo>
                  <a:lnTo>
                    <a:pt x="24" y="228"/>
                  </a:lnTo>
                  <a:lnTo>
                    <a:pt x="16" y="223"/>
                  </a:lnTo>
                  <a:lnTo>
                    <a:pt x="16" y="211"/>
                  </a:lnTo>
                  <a:lnTo>
                    <a:pt x="8" y="209"/>
                  </a:lnTo>
                  <a:lnTo>
                    <a:pt x="0" y="195"/>
                  </a:lnTo>
                  <a:lnTo>
                    <a:pt x="15" y="194"/>
                  </a:lnTo>
                  <a:lnTo>
                    <a:pt x="19" y="162"/>
                  </a:lnTo>
                  <a:lnTo>
                    <a:pt x="30" y="161"/>
                  </a:lnTo>
                  <a:lnTo>
                    <a:pt x="33" y="128"/>
                  </a:lnTo>
                  <a:lnTo>
                    <a:pt x="52" y="124"/>
                  </a:lnTo>
                  <a:lnTo>
                    <a:pt x="49" y="85"/>
                  </a:lnTo>
                  <a:lnTo>
                    <a:pt x="39" y="82"/>
                  </a:lnTo>
                  <a:lnTo>
                    <a:pt x="40" y="71"/>
                  </a:lnTo>
                  <a:lnTo>
                    <a:pt x="52" y="72"/>
                  </a:lnTo>
                  <a:lnTo>
                    <a:pt x="52" y="60"/>
                  </a:lnTo>
                  <a:lnTo>
                    <a:pt x="46" y="46"/>
                  </a:lnTo>
                  <a:lnTo>
                    <a:pt x="45" y="27"/>
                  </a:lnTo>
                  <a:lnTo>
                    <a:pt x="55" y="0"/>
                  </a:lnTo>
                  <a:lnTo>
                    <a:pt x="60" y="12"/>
                  </a:lnTo>
                  <a:lnTo>
                    <a:pt x="68" y="25"/>
                  </a:lnTo>
                  <a:lnTo>
                    <a:pt x="74" y="34"/>
                  </a:lnTo>
                  <a:lnTo>
                    <a:pt x="84" y="52"/>
                  </a:lnTo>
                  <a:lnTo>
                    <a:pt x="90" y="63"/>
                  </a:lnTo>
                  <a:lnTo>
                    <a:pt x="91" y="76"/>
                  </a:lnTo>
                  <a:lnTo>
                    <a:pt x="108" y="81"/>
                  </a:lnTo>
                  <a:lnTo>
                    <a:pt x="116" y="100"/>
                  </a:lnTo>
                  <a:lnTo>
                    <a:pt x="127" y="121"/>
                  </a:lnTo>
                  <a:lnTo>
                    <a:pt x="123" y="132"/>
                  </a:lnTo>
                  <a:lnTo>
                    <a:pt x="121" y="159"/>
                  </a:lnTo>
                  <a:lnTo>
                    <a:pt x="137" y="162"/>
                  </a:lnTo>
                  <a:lnTo>
                    <a:pt x="148" y="172"/>
                  </a:lnTo>
                  <a:lnTo>
                    <a:pt x="173" y="195"/>
                  </a:lnTo>
                  <a:lnTo>
                    <a:pt x="189" y="195"/>
                  </a:lnTo>
                  <a:lnTo>
                    <a:pt x="203" y="208"/>
                  </a:lnTo>
                  <a:lnTo>
                    <a:pt x="189" y="220"/>
                  </a:lnTo>
                  <a:lnTo>
                    <a:pt x="185" y="240"/>
                  </a:lnTo>
                  <a:lnTo>
                    <a:pt x="171" y="256"/>
                  </a:lnTo>
                  <a:lnTo>
                    <a:pt x="151" y="260"/>
                  </a:lnTo>
                  <a:lnTo>
                    <a:pt x="137" y="260"/>
                  </a:lnTo>
                  <a:lnTo>
                    <a:pt x="126" y="275"/>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00" name="Freeform 217">
              <a:extLst>
                <a:ext uri="{FF2B5EF4-FFF2-40B4-BE49-F238E27FC236}">
                  <a16:creationId xmlns:a16="http://schemas.microsoft.com/office/drawing/2014/main" id="{5BB3B4BA-4485-48D7-9318-3DF9B119A091}"/>
                </a:ext>
              </a:extLst>
            </p:cNvPr>
            <p:cNvSpPr>
              <a:spLocks/>
            </p:cNvSpPr>
            <p:nvPr/>
          </p:nvSpPr>
          <p:spPr bwMode="auto">
            <a:xfrm>
              <a:off x="4294518" y="3813050"/>
              <a:ext cx="206856" cy="307998"/>
            </a:xfrm>
            <a:custGeom>
              <a:avLst/>
              <a:gdLst>
                <a:gd name="T0" fmla="*/ 23 w 155"/>
                <a:gd name="T1" fmla="*/ 33 h 231"/>
                <a:gd name="T2" fmla="*/ 34 w 155"/>
                <a:gd name="T3" fmla="*/ 43 h 231"/>
                <a:gd name="T4" fmla="*/ 58 w 155"/>
                <a:gd name="T5" fmla="*/ 67 h 231"/>
                <a:gd name="T6" fmla="*/ 75 w 155"/>
                <a:gd name="T7" fmla="*/ 66 h 231"/>
                <a:gd name="T8" fmla="*/ 89 w 155"/>
                <a:gd name="T9" fmla="*/ 80 h 231"/>
                <a:gd name="T10" fmla="*/ 74 w 155"/>
                <a:gd name="T11" fmla="*/ 92 h 231"/>
                <a:gd name="T12" fmla="*/ 71 w 155"/>
                <a:gd name="T13" fmla="*/ 112 h 231"/>
                <a:gd name="T14" fmla="*/ 57 w 155"/>
                <a:gd name="T15" fmla="*/ 127 h 231"/>
                <a:gd name="T16" fmla="*/ 37 w 155"/>
                <a:gd name="T17" fmla="*/ 132 h 231"/>
                <a:gd name="T18" fmla="*/ 23 w 155"/>
                <a:gd name="T19" fmla="*/ 132 h 231"/>
                <a:gd name="T20" fmla="*/ 12 w 155"/>
                <a:gd name="T21" fmla="*/ 147 h 231"/>
                <a:gd name="T22" fmla="*/ 4 w 155"/>
                <a:gd name="T23" fmla="*/ 154 h 231"/>
                <a:gd name="T24" fmla="*/ 0 w 155"/>
                <a:gd name="T25" fmla="*/ 163 h 231"/>
                <a:gd name="T26" fmla="*/ 3 w 155"/>
                <a:gd name="T27" fmla="*/ 227 h 231"/>
                <a:gd name="T28" fmla="*/ 8 w 155"/>
                <a:gd name="T29" fmla="*/ 230 h 231"/>
                <a:gd name="T30" fmla="*/ 19 w 155"/>
                <a:gd name="T31" fmla="*/ 216 h 231"/>
                <a:gd name="T32" fmla="*/ 28 w 155"/>
                <a:gd name="T33" fmla="*/ 201 h 231"/>
                <a:gd name="T34" fmla="*/ 45 w 155"/>
                <a:gd name="T35" fmla="*/ 189 h 231"/>
                <a:gd name="T36" fmla="*/ 72 w 155"/>
                <a:gd name="T37" fmla="*/ 165 h 231"/>
                <a:gd name="T38" fmla="*/ 98 w 155"/>
                <a:gd name="T39" fmla="*/ 138 h 231"/>
                <a:gd name="T40" fmla="*/ 114 w 155"/>
                <a:gd name="T41" fmla="*/ 115 h 231"/>
                <a:gd name="T42" fmla="*/ 120 w 155"/>
                <a:gd name="T43" fmla="*/ 87 h 231"/>
                <a:gd name="T44" fmla="*/ 129 w 155"/>
                <a:gd name="T45" fmla="*/ 67 h 231"/>
                <a:gd name="T46" fmla="*/ 141 w 155"/>
                <a:gd name="T47" fmla="*/ 51 h 231"/>
                <a:gd name="T48" fmla="*/ 146 w 155"/>
                <a:gd name="T49" fmla="*/ 33 h 231"/>
                <a:gd name="T50" fmla="*/ 154 w 155"/>
                <a:gd name="T51" fmla="*/ 25 h 231"/>
                <a:gd name="T52" fmla="*/ 146 w 155"/>
                <a:gd name="T53" fmla="*/ 15 h 231"/>
                <a:gd name="T54" fmla="*/ 134 w 155"/>
                <a:gd name="T55" fmla="*/ 0 h 231"/>
                <a:gd name="T56" fmla="*/ 118 w 155"/>
                <a:gd name="T57" fmla="*/ 14 h 231"/>
                <a:gd name="T58" fmla="*/ 103 w 155"/>
                <a:gd name="T59" fmla="*/ 17 h 231"/>
                <a:gd name="T60" fmla="*/ 93 w 155"/>
                <a:gd name="T61" fmla="*/ 22 h 231"/>
                <a:gd name="T62" fmla="*/ 84 w 155"/>
                <a:gd name="T63" fmla="*/ 29 h 231"/>
                <a:gd name="T64" fmla="*/ 54 w 155"/>
                <a:gd name="T65" fmla="*/ 26 h 231"/>
                <a:gd name="T66" fmla="*/ 37 w 155"/>
                <a:gd name="T67" fmla="*/ 20 h 231"/>
                <a:gd name="T68" fmla="*/ 23 w 155"/>
                <a:gd name="T69" fmla="*/ 3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5" h="231">
                  <a:moveTo>
                    <a:pt x="23" y="33"/>
                  </a:moveTo>
                  <a:lnTo>
                    <a:pt x="34" y="43"/>
                  </a:lnTo>
                  <a:lnTo>
                    <a:pt x="58" y="67"/>
                  </a:lnTo>
                  <a:lnTo>
                    <a:pt x="75" y="66"/>
                  </a:lnTo>
                  <a:lnTo>
                    <a:pt x="89" y="80"/>
                  </a:lnTo>
                  <a:lnTo>
                    <a:pt x="74" y="92"/>
                  </a:lnTo>
                  <a:lnTo>
                    <a:pt x="71" y="112"/>
                  </a:lnTo>
                  <a:lnTo>
                    <a:pt x="57" y="127"/>
                  </a:lnTo>
                  <a:lnTo>
                    <a:pt x="37" y="132"/>
                  </a:lnTo>
                  <a:lnTo>
                    <a:pt x="23" y="132"/>
                  </a:lnTo>
                  <a:lnTo>
                    <a:pt x="12" y="147"/>
                  </a:lnTo>
                  <a:lnTo>
                    <a:pt x="4" y="154"/>
                  </a:lnTo>
                  <a:lnTo>
                    <a:pt x="0" y="163"/>
                  </a:lnTo>
                  <a:lnTo>
                    <a:pt x="3" y="227"/>
                  </a:lnTo>
                  <a:lnTo>
                    <a:pt x="8" y="230"/>
                  </a:lnTo>
                  <a:lnTo>
                    <a:pt x="19" y="216"/>
                  </a:lnTo>
                  <a:lnTo>
                    <a:pt x="28" y="201"/>
                  </a:lnTo>
                  <a:lnTo>
                    <a:pt x="45" y="189"/>
                  </a:lnTo>
                  <a:lnTo>
                    <a:pt x="72" y="165"/>
                  </a:lnTo>
                  <a:lnTo>
                    <a:pt x="98" y="138"/>
                  </a:lnTo>
                  <a:lnTo>
                    <a:pt x="114" y="115"/>
                  </a:lnTo>
                  <a:lnTo>
                    <a:pt x="120" y="87"/>
                  </a:lnTo>
                  <a:lnTo>
                    <a:pt x="129" y="67"/>
                  </a:lnTo>
                  <a:lnTo>
                    <a:pt x="141" y="51"/>
                  </a:lnTo>
                  <a:lnTo>
                    <a:pt x="146" y="33"/>
                  </a:lnTo>
                  <a:lnTo>
                    <a:pt x="154" y="25"/>
                  </a:lnTo>
                  <a:lnTo>
                    <a:pt x="146" y="15"/>
                  </a:lnTo>
                  <a:lnTo>
                    <a:pt x="134" y="0"/>
                  </a:lnTo>
                  <a:lnTo>
                    <a:pt x="118" y="14"/>
                  </a:lnTo>
                  <a:lnTo>
                    <a:pt x="103" y="17"/>
                  </a:lnTo>
                  <a:lnTo>
                    <a:pt x="93" y="22"/>
                  </a:lnTo>
                  <a:lnTo>
                    <a:pt x="84" y="29"/>
                  </a:lnTo>
                  <a:lnTo>
                    <a:pt x="54" y="26"/>
                  </a:lnTo>
                  <a:lnTo>
                    <a:pt x="37" y="20"/>
                  </a:lnTo>
                  <a:lnTo>
                    <a:pt x="23" y="3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01" name="Freeform 218">
              <a:extLst>
                <a:ext uri="{FF2B5EF4-FFF2-40B4-BE49-F238E27FC236}">
                  <a16:creationId xmlns:a16="http://schemas.microsoft.com/office/drawing/2014/main" id="{B6235765-897A-439E-93BE-712D5576BE5F}"/>
                </a:ext>
              </a:extLst>
            </p:cNvPr>
            <p:cNvSpPr>
              <a:spLocks/>
            </p:cNvSpPr>
            <p:nvPr/>
          </p:nvSpPr>
          <p:spPr bwMode="auto">
            <a:xfrm>
              <a:off x="3688216" y="3332621"/>
              <a:ext cx="296018" cy="353187"/>
            </a:xfrm>
            <a:custGeom>
              <a:avLst/>
              <a:gdLst>
                <a:gd name="T0" fmla="*/ 28 w 221"/>
                <a:gd name="T1" fmla="*/ 2 h 264"/>
                <a:gd name="T2" fmla="*/ 40 w 221"/>
                <a:gd name="T3" fmla="*/ 8 h 264"/>
                <a:gd name="T4" fmla="*/ 48 w 221"/>
                <a:gd name="T5" fmla="*/ 9 h 264"/>
                <a:gd name="T6" fmla="*/ 81 w 221"/>
                <a:gd name="T7" fmla="*/ 15 h 264"/>
                <a:gd name="T8" fmla="*/ 85 w 221"/>
                <a:gd name="T9" fmla="*/ 27 h 264"/>
                <a:gd name="T10" fmla="*/ 108 w 221"/>
                <a:gd name="T11" fmla="*/ 31 h 264"/>
                <a:gd name="T12" fmla="*/ 109 w 221"/>
                <a:gd name="T13" fmla="*/ 38 h 264"/>
                <a:gd name="T14" fmla="*/ 129 w 221"/>
                <a:gd name="T15" fmla="*/ 42 h 264"/>
                <a:gd name="T16" fmla="*/ 142 w 221"/>
                <a:gd name="T17" fmla="*/ 48 h 264"/>
                <a:gd name="T18" fmla="*/ 146 w 221"/>
                <a:gd name="T19" fmla="*/ 41 h 264"/>
                <a:gd name="T20" fmla="*/ 146 w 221"/>
                <a:gd name="T21" fmla="*/ 20 h 264"/>
                <a:gd name="T22" fmla="*/ 152 w 221"/>
                <a:gd name="T23" fmla="*/ 14 h 264"/>
                <a:gd name="T24" fmla="*/ 158 w 221"/>
                <a:gd name="T25" fmla="*/ 5 h 264"/>
                <a:gd name="T26" fmla="*/ 164 w 221"/>
                <a:gd name="T27" fmla="*/ 0 h 264"/>
                <a:gd name="T28" fmla="*/ 179 w 221"/>
                <a:gd name="T29" fmla="*/ 1 h 264"/>
                <a:gd name="T30" fmla="*/ 187 w 221"/>
                <a:gd name="T31" fmla="*/ 9 h 264"/>
                <a:gd name="T32" fmla="*/ 195 w 221"/>
                <a:gd name="T33" fmla="*/ 16 h 264"/>
                <a:gd name="T34" fmla="*/ 208 w 221"/>
                <a:gd name="T35" fmla="*/ 16 h 264"/>
                <a:gd name="T36" fmla="*/ 220 w 221"/>
                <a:gd name="T37" fmla="*/ 20 h 264"/>
                <a:gd name="T38" fmla="*/ 219 w 221"/>
                <a:gd name="T39" fmla="*/ 34 h 264"/>
                <a:gd name="T40" fmla="*/ 219 w 221"/>
                <a:gd name="T41" fmla="*/ 210 h 264"/>
                <a:gd name="T42" fmla="*/ 218 w 221"/>
                <a:gd name="T43" fmla="*/ 234 h 264"/>
                <a:gd name="T44" fmla="*/ 208 w 221"/>
                <a:gd name="T45" fmla="*/ 237 h 264"/>
                <a:gd name="T46" fmla="*/ 211 w 221"/>
                <a:gd name="T47" fmla="*/ 263 h 264"/>
                <a:gd name="T48" fmla="*/ 201 w 221"/>
                <a:gd name="T49" fmla="*/ 261 h 264"/>
                <a:gd name="T50" fmla="*/ 177 w 221"/>
                <a:gd name="T51" fmla="*/ 243 h 264"/>
                <a:gd name="T52" fmla="*/ 168 w 221"/>
                <a:gd name="T53" fmla="*/ 238 h 264"/>
                <a:gd name="T54" fmla="*/ 146 w 221"/>
                <a:gd name="T55" fmla="*/ 227 h 264"/>
                <a:gd name="T56" fmla="*/ 138 w 221"/>
                <a:gd name="T57" fmla="*/ 214 h 264"/>
                <a:gd name="T58" fmla="*/ 113 w 221"/>
                <a:gd name="T59" fmla="*/ 210 h 264"/>
                <a:gd name="T60" fmla="*/ 108 w 221"/>
                <a:gd name="T61" fmla="*/ 198 h 264"/>
                <a:gd name="T62" fmla="*/ 95 w 221"/>
                <a:gd name="T63" fmla="*/ 193 h 264"/>
                <a:gd name="T64" fmla="*/ 95 w 221"/>
                <a:gd name="T65" fmla="*/ 187 h 264"/>
                <a:gd name="T66" fmla="*/ 80 w 221"/>
                <a:gd name="T67" fmla="*/ 186 h 264"/>
                <a:gd name="T68" fmla="*/ 72 w 221"/>
                <a:gd name="T69" fmla="*/ 182 h 264"/>
                <a:gd name="T70" fmla="*/ 54 w 221"/>
                <a:gd name="T71" fmla="*/ 181 h 264"/>
                <a:gd name="T72" fmla="*/ 52 w 221"/>
                <a:gd name="T73" fmla="*/ 173 h 264"/>
                <a:gd name="T74" fmla="*/ 34 w 221"/>
                <a:gd name="T75" fmla="*/ 173 h 264"/>
                <a:gd name="T76" fmla="*/ 32 w 221"/>
                <a:gd name="T77" fmla="*/ 159 h 264"/>
                <a:gd name="T78" fmla="*/ 9 w 221"/>
                <a:gd name="T79" fmla="*/ 155 h 264"/>
                <a:gd name="T80" fmla="*/ 2 w 221"/>
                <a:gd name="T81" fmla="*/ 148 h 264"/>
                <a:gd name="T82" fmla="*/ 0 w 221"/>
                <a:gd name="T83" fmla="*/ 130 h 264"/>
                <a:gd name="T84" fmla="*/ 3 w 221"/>
                <a:gd name="T85" fmla="*/ 33 h 264"/>
                <a:gd name="T86" fmla="*/ 18 w 221"/>
                <a:gd name="T87" fmla="*/ 26 h 264"/>
                <a:gd name="T88" fmla="*/ 25 w 221"/>
                <a:gd name="T89" fmla="*/ 24 h 264"/>
                <a:gd name="T90" fmla="*/ 28 w 221"/>
                <a:gd name="T91" fmla="*/ 2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1" h="264">
                  <a:moveTo>
                    <a:pt x="28" y="2"/>
                  </a:moveTo>
                  <a:lnTo>
                    <a:pt x="40" y="8"/>
                  </a:lnTo>
                  <a:lnTo>
                    <a:pt x="48" y="9"/>
                  </a:lnTo>
                  <a:lnTo>
                    <a:pt x="81" y="15"/>
                  </a:lnTo>
                  <a:lnTo>
                    <a:pt x="85" y="27"/>
                  </a:lnTo>
                  <a:lnTo>
                    <a:pt x="108" y="31"/>
                  </a:lnTo>
                  <a:lnTo>
                    <a:pt x="109" y="38"/>
                  </a:lnTo>
                  <a:lnTo>
                    <a:pt x="129" y="42"/>
                  </a:lnTo>
                  <a:lnTo>
                    <a:pt x="142" y="48"/>
                  </a:lnTo>
                  <a:lnTo>
                    <a:pt x="146" y="41"/>
                  </a:lnTo>
                  <a:lnTo>
                    <a:pt x="146" y="20"/>
                  </a:lnTo>
                  <a:lnTo>
                    <a:pt x="152" y="14"/>
                  </a:lnTo>
                  <a:lnTo>
                    <a:pt x="158" y="5"/>
                  </a:lnTo>
                  <a:lnTo>
                    <a:pt x="164" y="0"/>
                  </a:lnTo>
                  <a:lnTo>
                    <a:pt x="179" y="1"/>
                  </a:lnTo>
                  <a:lnTo>
                    <a:pt x="187" y="9"/>
                  </a:lnTo>
                  <a:lnTo>
                    <a:pt x="195" y="16"/>
                  </a:lnTo>
                  <a:lnTo>
                    <a:pt x="208" y="16"/>
                  </a:lnTo>
                  <a:lnTo>
                    <a:pt x="220" y="20"/>
                  </a:lnTo>
                  <a:lnTo>
                    <a:pt x="219" y="34"/>
                  </a:lnTo>
                  <a:lnTo>
                    <a:pt x="219" y="210"/>
                  </a:lnTo>
                  <a:lnTo>
                    <a:pt x="218" y="234"/>
                  </a:lnTo>
                  <a:lnTo>
                    <a:pt x="208" y="237"/>
                  </a:lnTo>
                  <a:lnTo>
                    <a:pt x="211" y="263"/>
                  </a:lnTo>
                  <a:lnTo>
                    <a:pt x="201" y="261"/>
                  </a:lnTo>
                  <a:lnTo>
                    <a:pt x="177" y="243"/>
                  </a:lnTo>
                  <a:lnTo>
                    <a:pt x="168" y="238"/>
                  </a:lnTo>
                  <a:lnTo>
                    <a:pt x="146" y="227"/>
                  </a:lnTo>
                  <a:lnTo>
                    <a:pt x="138" y="214"/>
                  </a:lnTo>
                  <a:lnTo>
                    <a:pt x="113" y="210"/>
                  </a:lnTo>
                  <a:lnTo>
                    <a:pt x="108" y="198"/>
                  </a:lnTo>
                  <a:lnTo>
                    <a:pt x="95" y="193"/>
                  </a:lnTo>
                  <a:lnTo>
                    <a:pt x="95" y="187"/>
                  </a:lnTo>
                  <a:lnTo>
                    <a:pt x="80" y="186"/>
                  </a:lnTo>
                  <a:lnTo>
                    <a:pt x="72" y="182"/>
                  </a:lnTo>
                  <a:lnTo>
                    <a:pt x="54" y="181"/>
                  </a:lnTo>
                  <a:lnTo>
                    <a:pt x="52" y="173"/>
                  </a:lnTo>
                  <a:lnTo>
                    <a:pt x="34" y="173"/>
                  </a:lnTo>
                  <a:lnTo>
                    <a:pt x="32" y="159"/>
                  </a:lnTo>
                  <a:lnTo>
                    <a:pt x="9" y="155"/>
                  </a:lnTo>
                  <a:lnTo>
                    <a:pt x="2" y="148"/>
                  </a:lnTo>
                  <a:lnTo>
                    <a:pt x="0" y="130"/>
                  </a:lnTo>
                  <a:lnTo>
                    <a:pt x="3" y="33"/>
                  </a:lnTo>
                  <a:lnTo>
                    <a:pt x="18" y="26"/>
                  </a:lnTo>
                  <a:lnTo>
                    <a:pt x="25" y="24"/>
                  </a:lnTo>
                  <a:lnTo>
                    <a:pt x="28" y="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02" name="Freeform 219">
              <a:extLst>
                <a:ext uri="{FF2B5EF4-FFF2-40B4-BE49-F238E27FC236}">
                  <a16:creationId xmlns:a16="http://schemas.microsoft.com/office/drawing/2014/main" id="{10E1FE90-B1E7-4B69-B950-958906C99B13}"/>
                </a:ext>
              </a:extLst>
            </p:cNvPr>
            <p:cNvSpPr>
              <a:spLocks/>
            </p:cNvSpPr>
            <p:nvPr/>
          </p:nvSpPr>
          <p:spPr bwMode="auto">
            <a:xfrm>
              <a:off x="3922415" y="3577592"/>
              <a:ext cx="293640" cy="428106"/>
            </a:xfrm>
            <a:custGeom>
              <a:avLst/>
              <a:gdLst>
                <a:gd name="T0" fmla="*/ 34 w 220"/>
                <a:gd name="T1" fmla="*/ 121 h 320"/>
                <a:gd name="T2" fmla="*/ 16 w 220"/>
                <a:gd name="T3" fmla="*/ 141 h 320"/>
                <a:gd name="T4" fmla="*/ 2 w 220"/>
                <a:gd name="T5" fmla="*/ 156 h 320"/>
                <a:gd name="T6" fmla="*/ 11 w 220"/>
                <a:gd name="T7" fmla="*/ 170 h 320"/>
                <a:gd name="T8" fmla="*/ 20 w 220"/>
                <a:gd name="T9" fmla="*/ 184 h 320"/>
                <a:gd name="T10" fmla="*/ 18 w 220"/>
                <a:gd name="T11" fmla="*/ 196 h 320"/>
                <a:gd name="T12" fmla="*/ 31 w 220"/>
                <a:gd name="T13" fmla="*/ 221 h 320"/>
                <a:gd name="T14" fmla="*/ 36 w 220"/>
                <a:gd name="T15" fmla="*/ 237 h 320"/>
                <a:gd name="T16" fmla="*/ 48 w 220"/>
                <a:gd name="T17" fmla="*/ 243 h 320"/>
                <a:gd name="T18" fmla="*/ 64 w 220"/>
                <a:gd name="T19" fmla="*/ 260 h 320"/>
                <a:gd name="T20" fmla="*/ 74 w 220"/>
                <a:gd name="T21" fmla="*/ 278 h 320"/>
                <a:gd name="T22" fmla="*/ 81 w 220"/>
                <a:gd name="T23" fmla="*/ 289 h 320"/>
                <a:gd name="T24" fmla="*/ 85 w 220"/>
                <a:gd name="T25" fmla="*/ 304 h 320"/>
                <a:gd name="T26" fmla="*/ 123 w 220"/>
                <a:gd name="T27" fmla="*/ 314 h 320"/>
                <a:gd name="T28" fmla="*/ 133 w 220"/>
                <a:gd name="T29" fmla="*/ 318 h 320"/>
                <a:gd name="T30" fmla="*/ 162 w 220"/>
                <a:gd name="T31" fmla="*/ 319 h 320"/>
                <a:gd name="T32" fmla="*/ 199 w 220"/>
                <a:gd name="T33" fmla="*/ 299 h 320"/>
                <a:gd name="T34" fmla="*/ 192 w 220"/>
                <a:gd name="T35" fmla="*/ 278 h 320"/>
                <a:gd name="T36" fmla="*/ 180 w 220"/>
                <a:gd name="T37" fmla="*/ 270 h 320"/>
                <a:gd name="T38" fmla="*/ 172 w 220"/>
                <a:gd name="T39" fmla="*/ 256 h 320"/>
                <a:gd name="T40" fmla="*/ 179 w 220"/>
                <a:gd name="T41" fmla="*/ 241 h 320"/>
                <a:gd name="T42" fmla="*/ 194 w 220"/>
                <a:gd name="T43" fmla="*/ 208 h 320"/>
                <a:gd name="T44" fmla="*/ 216 w 220"/>
                <a:gd name="T45" fmla="*/ 171 h 320"/>
                <a:gd name="T46" fmla="*/ 203 w 220"/>
                <a:gd name="T47" fmla="*/ 129 h 320"/>
                <a:gd name="T48" fmla="*/ 216 w 220"/>
                <a:gd name="T49" fmla="*/ 119 h 320"/>
                <a:gd name="T50" fmla="*/ 210 w 220"/>
                <a:gd name="T51" fmla="*/ 92 h 320"/>
                <a:gd name="T52" fmla="*/ 219 w 220"/>
                <a:gd name="T53" fmla="*/ 47 h 320"/>
                <a:gd name="T54" fmla="*/ 210 w 220"/>
                <a:gd name="T55" fmla="*/ 14 h 320"/>
                <a:gd name="T56" fmla="*/ 167 w 220"/>
                <a:gd name="T57" fmla="*/ 20 h 320"/>
                <a:gd name="T58" fmla="*/ 64 w 220"/>
                <a:gd name="T59" fmla="*/ 13 h 320"/>
                <a:gd name="T60" fmla="*/ 44 w 220"/>
                <a:gd name="T61" fmla="*/ 25 h 320"/>
                <a:gd name="T62" fmla="*/ 33 w 220"/>
                <a:gd name="T63" fmla="*/ 5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0" h="320">
                  <a:moveTo>
                    <a:pt x="36" y="79"/>
                  </a:moveTo>
                  <a:lnTo>
                    <a:pt x="34" y="121"/>
                  </a:lnTo>
                  <a:lnTo>
                    <a:pt x="25" y="125"/>
                  </a:lnTo>
                  <a:lnTo>
                    <a:pt x="16" y="141"/>
                  </a:lnTo>
                  <a:lnTo>
                    <a:pt x="13" y="155"/>
                  </a:lnTo>
                  <a:lnTo>
                    <a:pt x="2" y="156"/>
                  </a:lnTo>
                  <a:lnTo>
                    <a:pt x="0" y="165"/>
                  </a:lnTo>
                  <a:lnTo>
                    <a:pt x="11" y="170"/>
                  </a:lnTo>
                  <a:lnTo>
                    <a:pt x="14" y="182"/>
                  </a:lnTo>
                  <a:lnTo>
                    <a:pt x="20" y="184"/>
                  </a:lnTo>
                  <a:lnTo>
                    <a:pt x="20" y="191"/>
                  </a:lnTo>
                  <a:lnTo>
                    <a:pt x="18" y="196"/>
                  </a:lnTo>
                  <a:lnTo>
                    <a:pt x="25" y="207"/>
                  </a:lnTo>
                  <a:lnTo>
                    <a:pt x="31" y="221"/>
                  </a:lnTo>
                  <a:lnTo>
                    <a:pt x="30" y="234"/>
                  </a:lnTo>
                  <a:lnTo>
                    <a:pt x="36" y="237"/>
                  </a:lnTo>
                  <a:lnTo>
                    <a:pt x="37" y="245"/>
                  </a:lnTo>
                  <a:lnTo>
                    <a:pt x="48" y="243"/>
                  </a:lnTo>
                  <a:lnTo>
                    <a:pt x="52" y="256"/>
                  </a:lnTo>
                  <a:lnTo>
                    <a:pt x="64" y="260"/>
                  </a:lnTo>
                  <a:lnTo>
                    <a:pt x="67" y="276"/>
                  </a:lnTo>
                  <a:lnTo>
                    <a:pt x="74" y="278"/>
                  </a:lnTo>
                  <a:lnTo>
                    <a:pt x="79" y="284"/>
                  </a:lnTo>
                  <a:lnTo>
                    <a:pt x="81" y="289"/>
                  </a:lnTo>
                  <a:lnTo>
                    <a:pt x="79" y="296"/>
                  </a:lnTo>
                  <a:lnTo>
                    <a:pt x="85" y="304"/>
                  </a:lnTo>
                  <a:lnTo>
                    <a:pt x="118" y="306"/>
                  </a:lnTo>
                  <a:lnTo>
                    <a:pt x="123" y="314"/>
                  </a:lnTo>
                  <a:lnTo>
                    <a:pt x="133" y="316"/>
                  </a:lnTo>
                  <a:lnTo>
                    <a:pt x="133" y="318"/>
                  </a:lnTo>
                  <a:lnTo>
                    <a:pt x="148" y="318"/>
                  </a:lnTo>
                  <a:lnTo>
                    <a:pt x="162" y="319"/>
                  </a:lnTo>
                  <a:lnTo>
                    <a:pt x="178" y="314"/>
                  </a:lnTo>
                  <a:lnTo>
                    <a:pt x="199" y="299"/>
                  </a:lnTo>
                  <a:lnTo>
                    <a:pt x="199" y="290"/>
                  </a:lnTo>
                  <a:lnTo>
                    <a:pt x="192" y="278"/>
                  </a:lnTo>
                  <a:lnTo>
                    <a:pt x="188" y="275"/>
                  </a:lnTo>
                  <a:lnTo>
                    <a:pt x="180" y="270"/>
                  </a:lnTo>
                  <a:lnTo>
                    <a:pt x="180" y="258"/>
                  </a:lnTo>
                  <a:lnTo>
                    <a:pt x="172" y="256"/>
                  </a:lnTo>
                  <a:lnTo>
                    <a:pt x="164" y="242"/>
                  </a:lnTo>
                  <a:lnTo>
                    <a:pt x="179" y="241"/>
                  </a:lnTo>
                  <a:lnTo>
                    <a:pt x="183" y="209"/>
                  </a:lnTo>
                  <a:lnTo>
                    <a:pt x="194" y="208"/>
                  </a:lnTo>
                  <a:lnTo>
                    <a:pt x="197" y="175"/>
                  </a:lnTo>
                  <a:lnTo>
                    <a:pt x="216" y="171"/>
                  </a:lnTo>
                  <a:lnTo>
                    <a:pt x="213" y="132"/>
                  </a:lnTo>
                  <a:lnTo>
                    <a:pt x="203" y="129"/>
                  </a:lnTo>
                  <a:lnTo>
                    <a:pt x="204" y="118"/>
                  </a:lnTo>
                  <a:lnTo>
                    <a:pt x="216" y="119"/>
                  </a:lnTo>
                  <a:lnTo>
                    <a:pt x="216" y="107"/>
                  </a:lnTo>
                  <a:lnTo>
                    <a:pt x="210" y="92"/>
                  </a:lnTo>
                  <a:lnTo>
                    <a:pt x="209" y="74"/>
                  </a:lnTo>
                  <a:lnTo>
                    <a:pt x="219" y="47"/>
                  </a:lnTo>
                  <a:lnTo>
                    <a:pt x="217" y="33"/>
                  </a:lnTo>
                  <a:lnTo>
                    <a:pt x="210" y="14"/>
                  </a:lnTo>
                  <a:lnTo>
                    <a:pt x="191" y="0"/>
                  </a:lnTo>
                  <a:lnTo>
                    <a:pt x="167" y="20"/>
                  </a:lnTo>
                  <a:lnTo>
                    <a:pt x="158" y="13"/>
                  </a:lnTo>
                  <a:lnTo>
                    <a:pt x="64" y="13"/>
                  </a:lnTo>
                  <a:lnTo>
                    <a:pt x="53" y="20"/>
                  </a:lnTo>
                  <a:lnTo>
                    <a:pt x="44" y="25"/>
                  </a:lnTo>
                  <a:lnTo>
                    <a:pt x="43" y="50"/>
                  </a:lnTo>
                  <a:lnTo>
                    <a:pt x="33" y="53"/>
                  </a:lnTo>
                  <a:lnTo>
                    <a:pt x="36" y="7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03" name="Freeform 223">
              <a:extLst>
                <a:ext uri="{FF2B5EF4-FFF2-40B4-BE49-F238E27FC236}">
                  <a16:creationId xmlns:a16="http://schemas.microsoft.com/office/drawing/2014/main" id="{7C0890AD-A2E1-40C6-AF57-3687DCEBD7B1}"/>
                </a:ext>
              </a:extLst>
            </p:cNvPr>
            <p:cNvSpPr>
              <a:spLocks/>
            </p:cNvSpPr>
            <p:nvPr/>
          </p:nvSpPr>
          <p:spPr bwMode="auto">
            <a:xfrm>
              <a:off x="3345834" y="3858239"/>
              <a:ext cx="126016" cy="123675"/>
            </a:xfrm>
            <a:custGeom>
              <a:avLst/>
              <a:gdLst>
                <a:gd name="T0" fmla="*/ 32 w 94"/>
                <a:gd name="T1" fmla="*/ 92 h 93"/>
                <a:gd name="T2" fmla="*/ 15 w 94"/>
                <a:gd name="T3" fmla="*/ 86 h 93"/>
                <a:gd name="T4" fmla="*/ 14 w 94"/>
                <a:gd name="T5" fmla="*/ 69 h 93"/>
                <a:gd name="T6" fmla="*/ 4 w 94"/>
                <a:gd name="T7" fmla="*/ 68 h 93"/>
                <a:gd name="T8" fmla="*/ 0 w 94"/>
                <a:gd name="T9" fmla="*/ 53 h 93"/>
                <a:gd name="T10" fmla="*/ 4 w 94"/>
                <a:gd name="T11" fmla="*/ 35 h 93"/>
                <a:gd name="T12" fmla="*/ 20 w 94"/>
                <a:gd name="T13" fmla="*/ 24 h 93"/>
                <a:gd name="T14" fmla="*/ 10 w 94"/>
                <a:gd name="T15" fmla="*/ 15 h 93"/>
                <a:gd name="T16" fmla="*/ 15 w 94"/>
                <a:gd name="T17" fmla="*/ 3 h 93"/>
                <a:gd name="T18" fmla="*/ 28 w 94"/>
                <a:gd name="T19" fmla="*/ 3 h 93"/>
                <a:gd name="T20" fmla="*/ 46 w 94"/>
                <a:gd name="T21" fmla="*/ 0 h 93"/>
                <a:gd name="T22" fmla="*/ 54 w 94"/>
                <a:gd name="T23" fmla="*/ 6 h 93"/>
                <a:gd name="T24" fmla="*/ 83 w 94"/>
                <a:gd name="T25" fmla="*/ 8 h 93"/>
                <a:gd name="T26" fmla="*/ 84 w 94"/>
                <a:gd name="T27" fmla="*/ 21 h 93"/>
                <a:gd name="T28" fmla="*/ 93 w 94"/>
                <a:gd name="T29" fmla="*/ 26 h 93"/>
                <a:gd name="T30" fmla="*/ 91 w 94"/>
                <a:gd name="T31" fmla="*/ 37 h 93"/>
                <a:gd name="T32" fmla="*/ 84 w 94"/>
                <a:gd name="T33" fmla="*/ 39 h 93"/>
                <a:gd name="T34" fmla="*/ 81 w 94"/>
                <a:gd name="T35" fmla="*/ 61 h 93"/>
                <a:gd name="T36" fmla="*/ 84 w 94"/>
                <a:gd name="T37" fmla="*/ 84 h 93"/>
                <a:gd name="T38" fmla="*/ 48 w 94"/>
                <a:gd name="T39" fmla="*/ 85 h 93"/>
                <a:gd name="T40" fmla="*/ 32 w 94"/>
                <a:gd name="T41"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93">
                  <a:moveTo>
                    <a:pt x="32" y="92"/>
                  </a:moveTo>
                  <a:lnTo>
                    <a:pt x="15" y="86"/>
                  </a:lnTo>
                  <a:lnTo>
                    <a:pt x="14" y="69"/>
                  </a:lnTo>
                  <a:lnTo>
                    <a:pt x="4" y="68"/>
                  </a:lnTo>
                  <a:lnTo>
                    <a:pt x="0" y="53"/>
                  </a:lnTo>
                  <a:lnTo>
                    <a:pt x="4" y="35"/>
                  </a:lnTo>
                  <a:lnTo>
                    <a:pt x="20" y="24"/>
                  </a:lnTo>
                  <a:lnTo>
                    <a:pt x="10" y="15"/>
                  </a:lnTo>
                  <a:lnTo>
                    <a:pt x="15" y="3"/>
                  </a:lnTo>
                  <a:lnTo>
                    <a:pt x="28" y="3"/>
                  </a:lnTo>
                  <a:lnTo>
                    <a:pt x="46" y="0"/>
                  </a:lnTo>
                  <a:lnTo>
                    <a:pt x="54" y="6"/>
                  </a:lnTo>
                  <a:lnTo>
                    <a:pt x="83" y="8"/>
                  </a:lnTo>
                  <a:lnTo>
                    <a:pt x="84" y="21"/>
                  </a:lnTo>
                  <a:lnTo>
                    <a:pt x="93" y="26"/>
                  </a:lnTo>
                  <a:lnTo>
                    <a:pt x="91" y="37"/>
                  </a:lnTo>
                  <a:lnTo>
                    <a:pt x="84" y="39"/>
                  </a:lnTo>
                  <a:lnTo>
                    <a:pt x="81" y="61"/>
                  </a:lnTo>
                  <a:lnTo>
                    <a:pt x="84" y="84"/>
                  </a:lnTo>
                  <a:lnTo>
                    <a:pt x="48" y="85"/>
                  </a:lnTo>
                  <a:lnTo>
                    <a:pt x="32" y="9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04" name="Freeform 224">
              <a:extLst>
                <a:ext uri="{FF2B5EF4-FFF2-40B4-BE49-F238E27FC236}">
                  <a16:creationId xmlns:a16="http://schemas.microsoft.com/office/drawing/2014/main" id="{61F96FF4-06AA-4C2F-87BD-F40CF56F3EBE}"/>
                </a:ext>
              </a:extLst>
            </p:cNvPr>
            <p:cNvSpPr>
              <a:spLocks/>
            </p:cNvSpPr>
            <p:nvPr/>
          </p:nvSpPr>
          <p:spPr bwMode="auto">
            <a:xfrm>
              <a:off x="5114808" y="2847434"/>
              <a:ext cx="564693" cy="281836"/>
            </a:xfrm>
            <a:custGeom>
              <a:avLst/>
              <a:gdLst>
                <a:gd name="T0" fmla="*/ 0 w 424"/>
                <a:gd name="T1" fmla="*/ 80 h 212"/>
                <a:gd name="T2" fmla="*/ 8 w 424"/>
                <a:gd name="T3" fmla="*/ 73 h 212"/>
                <a:gd name="T4" fmla="*/ 27 w 424"/>
                <a:gd name="T5" fmla="*/ 68 h 212"/>
                <a:gd name="T6" fmla="*/ 70 w 424"/>
                <a:gd name="T7" fmla="*/ 64 h 212"/>
                <a:gd name="T8" fmla="*/ 75 w 424"/>
                <a:gd name="T9" fmla="*/ 70 h 212"/>
                <a:gd name="T10" fmla="*/ 90 w 424"/>
                <a:gd name="T11" fmla="*/ 73 h 212"/>
                <a:gd name="T12" fmla="*/ 96 w 424"/>
                <a:gd name="T13" fmla="*/ 79 h 212"/>
                <a:gd name="T14" fmla="*/ 125 w 424"/>
                <a:gd name="T15" fmla="*/ 76 h 212"/>
                <a:gd name="T16" fmla="*/ 118 w 424"/>
                <a:gd name="T17" fmla="*/ 59 h 212"/>
                <a:gd name="T18" fmla="*/ 114 w 424"/>
                <a:gd name="T19" fmla="*/ 51 h 212"/>
                <a:gd name="T20" fmla="*/ 125 w 424"/>
                <a:gd name="T21" fmla="*/ 51 h 212"/>
                <a:gd name="T22" fmla="*/ 125 w 424"/>
                <a:gd name="T23" fmla="*/ 26 h 212"/>
                <a:gd name="T24" fmla="*/ 125 w 424"/>
                <a:gd name="T25" fmla="*/ 0 h 212"/>
                <a:gd name="T26" fmla="*/ 152 w 424"/>
                <a:gd name="T27" fmla="*/ 11 h 212"/>
                <a:gd name="T28" fmla="*/ 170 w 424"/>
                <a:gd name="T29" fmla="*/ 11 h 212"/>
                <a:gd name="T30" fmla="*/ 182 w 424"/>
                <a:gd name="T31" fmla="*/ 24 h 212"/>
                <a:gd name="T32" fmla="*/ 188 w 424"/>
                <a:gd name="T33" fmla="*/ 37 h 212"/>
                <a:gd name="T34" fmla="*/ 209 w 424"/>
                <a:gd name="T35" fmla="*/ 37 h 212"/>
                <a:gd name="T36" fmla="*/ 241 w 424"/>
                <a:gd name="T37" fmla="*/ 39 h 212"/>
                <a:gd name="T38" fmla="*/ 259 w 424"/>
                <a:gd name="T39" fmla="*/ 49 h 212"/>
                <a:gd name="T40" fmla="*/ 272 w 424"/>
                <a:gd name="T41" fmla="*/ 52 h 212"/>
                <a:gd name="T42" fmla="*/ 276 w 424"/>
                <a:gd name="T43" fmla="*/ 64 h 212"/>
                <a:gd name="T44" fmla="*/ 313 w 424"/>
                <a:gd name="T45" fmla="*/ 58 h 212"/>
                <a:gd name="T46" fmla="*/ 320 w 424"/>
                <a:gd name="T47" fmla="*/ 49 h 212"/>
                <a:gd name="T48" fmla="*/ 332 w 424"/>
                <a:gd name="T49" fmla="*/ 57 h 212"/>
                <a:gd name="T50" fmla="*/ 349 w 424"/>
                <a:gd name="T51" fmla="*/ 41 h 212"/>
                <a:gd name="T52" fmla="*/ 364 w 424"/>
                <a:gd name="T53" fmla="*/ 41 h 212"/>
                <a:gd name="T54" fmla="*/ 376 w 424"/>
                <a:gd name="T55" fmla="*/ 47 h 212"/>
                <a:gd name="T56" fmla="*/ 372 w 424"/>
                <a:gd name="T57" fmla="*/ 59 h 212"/>
                <a:gd name="T58" fmla="*/ 374 w 424"/>
                <a:gd name="T59" fmla="*/ 91 h 212"/>
                <a:gd name="T60" fmla="*/ 377 w 424"/>
                <a:gd name="T61" fmla="*/ 97 h 212"/>
                <a:gd name="T62" fmla="*/ 389 w 424"/>
                <a:gd name="T63" fmla="*/ 94 h 212"/>
                <a:gd name="T64" fmla="*/ 412 w 424"/>
                <a:gd name="T65" fmla="*/ 91 h 212"/>
                <a:gd name="T66" fmla="*/ 423 w 424"/>
                <a:gd name="T67" fmla="*/ 106 h 212"/>
                <a:gd name="T68" fmla="*/ 398 w 424"/>
                <a:gd name="T69" fmla="*/ 117 h 212"/>
                <a:gd name="T70" fmla="*/ 377 w 424"/>
                <a:gd name="T71" fmla="*/ 130 h 212"/>
                <a:gd name="T72" fmla="*/ 365 w 424"/>
                <a:gd name="T73" fmla="*/ 139 h 212"/>
                <a:gd name="T74" fmla="*/ 351 w 424"/>
                <a:gd name="T75" fmla="*/ 154 h 212"/>
                <a:gd name="T76" fmla="*/ 331 w 424"/>
                <a:gd name="T77" fmla="*/ 147 h 212"/>
                <a:gd name="T78" fmla="*/ 332 w 424"/>
                <a:gd name="T79" fmla="*/ 164 h 212"/>
                <a:gd name="T80" fmla="*/ 330 w 424"/>
                <a:gd name="T81" fmla="*/ 181 h 212"/>
                <a:gd name="T82" fmla="*/ 307 w 424"/>
                <a:gd name="T83" fmla="*/ 199 h 212"/>
                <a:gd name="T84" fmla="*/ 279 w 424"/>
                <a:gd name="T85" fmla="*/ 196 h 212"/>
                <a:gd name="T86" fmla="*/ 267 w 424"/>
                <a:gd name="T87" fmla="*/ 204 h 212"/>
                <a:gd name="T88" fmla="*/ 246 w 424"/>
                <a:gd name="T89" fmla="*/ 211 h 212"/>
                <a:gd name="T90" fmla="*/ 225 w 424"/>
                <a:gd name="T91" fmla="*/ 199 h 212"/>
                <a:gd name="T92" fmla="*/ 207 w 424"/>
                <a:gd name="T93" fmla="*/ 194 h 212"/>
                <a:gd name="T94" fmla="*/ 127 w 424"/>
                <a:gd name="T95" fmla="*/ 188 h 212"/>
                <a:gd name="T96" fmla="*/ 117 w 424"/>
                <a:gd name="T97" fmla="*/ 179 h 212"/>
                <a:gd name="T98" fmla="*/ 107 w 424"/>
                <a:gd name="T99" fmla="*/ 160 h 212"/>
                <a:gd name="T100" fmla="*/ 91 w 424"/>
                <a:gd name="T101" fmla="*/ 152 h 212"/>
                <a:gd name="T102" fmla="*/ 76 w 424"/>
                <a:gd name="T103" fmla="*/ 149 h 212"/>
                <a:gd name="T104" fmla="*/ 43 w 424"/>
                <a:gd name="T105" fmla="*/ 143 h 212"/>
                <a:gd name="T106" fmla="*/ 33 w 424"/>
                <a:gd name="T107" fmla="*/ 118 h 212"/>
                <a:gd name="T108" fmla="*/ 29 w 424"/>
                <a:gd name="T109" fmla="*/ 102 h 212"/>
                <a:gd name="T110" fmla="*/ 8 w 424"/>
                <a:gd name="T111" fmla="*/ 91 h 212"/>
                <a:gd name="T112" fmla="*/ 0 w 424"/>
                <a:gd name="T113" fmla="*/ 8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4" h="212">
                  <a:moveTo>
                    <a:pt x="0" y="80"/>
                  </a:moveTo>
                  <a:lnTo>
                    <a:pt x="8" y="73"/>
                  </a:lnTo>
                  <a:lnTo>
                    <a:pt x="27" y="68"/>
                  </a:lnTo>
                  <a:lnTo>
                    <a:pt x="70" y="64"/>
                  </a:lnTo>
                  <a:lnTo>
                    <a:pt x="75" y="70"/>
                  </a:lnTo>
                  <a:lnTo>
                    <a:pt x="90" y="73"/>
                  </a:lnTo>
                  <a:lnTo>
                    <a:pt x="96" y="79"/>
                  </a:lnTo>
                  <a:lnTo>
                    <a:pt x="125" y="76"/>
                  </a:lnTo>
                  <a:lnTo>
                    <a:pt x="118" y="59"/>
                  </a:lnTo>
                  <a:lnTo>
                    <a:pt x="114" y="51"/>
                  </a:lnTo>
                  <a:lnTo>
                    <a:pt x="125" y="51"/>
                  </a:lnTo>
                  <a:lnTo>
                    <a:pt x="125" y="26"/>
                  </a:lnTo>
                  <a:lnTo>
                    <a:pt x="125" y="0"/>
                  </a:lnTo>
                  <a:lnTo>
                    <a:pt x="152" y="11"/>
                  </a:lnTo>
                  <a:lnTo>
                    <a:pt x="170" y="11"/>
                  </a:lnTo>
                  <a:lnTo>
                    <a:pt x="182" y="24"/>
                  </a:lnTo>
                  <a:lnTo>
                    <a:pt x="188" y="37"/>
                  </a:lnTo>
                  <a:lnTo>
                    <a:pt x="209" y="37"/>
                  </a:lnTo>
                  <a:lnTo>
                    <a:pt x="241" y="39"/>
                  </a:lnTo>
                  <a:lnTo>
                    <a:pt x="259" y="49"/>
                  </a:lnTo>
                  <a:lnTo>
                    <a:pt x="272" y="52"/>
                  </a:lnTo>
                  <a:lnTo>
                    <a:pt x="276" y="64"/>
                  </a:lnTo>
                  <a:lnTo>
                    <a:pt x="313" y="58"/>
                  </a:lnTo>
                  <a:lnTo>
                    <a:pt x="320" y="49"/>
                  </a:lnTo>
                  <a:lnTo>
                    <a:pt x="332" y="57"/>
                  </a:lnTo>
                  <a:lnTo>
                    <a:pt x="349" y="41"/>
                  </a:lnTo>
                  <a:lnTo>
                    <a:pt x="364" y="41"/>
                  </a:lnTo>
                  <a:lnTo>
                    <a:pt x="376" y="47"/>
                  </a:lnTo>
                  <a:lnTo>
                    <a:pt x="372" y="59"/>
                  </a:lnTo>
                  <a:lnTo>
                    <a:pt x="374" y="91"/>
                  </a:lnTo>
                  <a:lnTo>
                    <a:pt x="377" y="97"/>
                  </a:lnTo>
                  <a:lnTo>
                    <a:pt x="389" y="94"/>
                  </a:lnTo>
                  <a:lnTo>
                    <a:pt x="412" y="91"/>
                  </a:lnTo>
                  <a:lnTo>
                    <a:pt x="423" y="106"/>
                  </a:lnTo>
                  <a:lnTo>
                    <a:pt x="398" y="117"/>
                  </a:lnTo>
                  <a:lnTo>
                    <a:pt x="377" y="130"/>
                  </a:lnTo>
                  <a:lnTo>
                    <a:pt x="365" y="139"/>
                  </a:lnTo>
                  <a:lnTo>
                    <a:pt x="351" y="154"/>
                  </a:lnTo>
                  <a:lnTo>
                    <a:pt x="331" y="147"/>
                  </a:lnTo>
                  <a:lnTo>
                    <a:pt x="332" y="164"/>
                  </a:lnTo>
                  <a:lnTo>
                    <a:pt x="330" y="181"/>
                  </a:lnTo>
                  <a:lnTo>
                    <a:pt x="307" y="199"/>
                  </a:lnTo>
                  <a:lnTo>
                    <a:pt x="279" y="196"/>
                  </a:lnTo>
                  <a:lnTo>
                    <a:pt x="267" y="204"/>
                  </a:lnTo>
                  <a:lnTo>
                    <a:pt x="246" y="211"/>
                  </a:lnTo>
                  <a:lnTo>
                    <a:pt x="225" y="199"/>
                  </a:lnTo>
                  <a:lnTo>
                    <a:pt x="207" y="194"/>
                  </a:lnTo>
                  <a:lnTo>
                    <a:pt x="127" y="188"/>
                  </a:lnTo>
                  <a:lnTo>
                    <a:pt x="117" y="179"/>
                  </a:lnTo>
                  <a:lnTo>
                    <a:pt x="107" y="160"/>
                  </a:lnTo>
                  <a:lnTo>
                    <a:pt x="91" y="152"/>
                  </a:lnTo>
                  <a:lnTo>
                    <a:pt x="76" y="149"/>
                  </a:lnTo>
                  <a:lnTo>
                    <a:pt x="43" y="143"/>
                  </a:lnTo>
                  <a:lnTo>
                    <a:pt x="33" y="118"/>
                  </a:lnTo>
                  <a:lnTo>
                    <a:pt x="29" y="102"/>
                  </a:lnTo>
                  <a:lnTo>
                    <a:pt x="8" y="91"/>
                  </a:lnTo>
                  <a:lnTo>
                    <a:pt x="0" y="8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05" name="Freeform 225">
              <a:extLst>
                <a:ext uri="{FF2B5EF4-FFF2-40B4-BE49-F238E27FC236}">
                  <a16:creationId xmlns:a16="http://schemas.microsoft.com/office/drawing/2014/main" id="{A7E1AC80-ADCE-4167-A948-040873966815}"/>
                </a:ext>
              </a:extLst>
            </p:cNvPr>
            <p:cNvSpPr>
              <a:spLocks/>
            </p:cNvSpPr>
            <p:nvPr/>
          </p:nvSpPr>
          <p:spPr bwMode="auto">
            <a:xfrm>
              <a:off x="5035157" y="3870131"/>
              <a:ext cx="39231" cy="79675"/>
            </a:xfrm>
            <a:custGeom>
              <a:avLst/>
              <a:gdLst>
                <a:gd name="T0" fmla="*/ 9 w 29"/>
                <a:gd name="T1" fmla="*/ 0 h 60"/>
                <a:gd name="T2" fmla="*/ 1 w 29"/>
                <a:gd name="T3" fmla="*/ 17 h 60"/>
                <a:gd name="T4" fmla="*/ 0 w 29"/>
                <a:gd name="T5" fmla="*/ 40 h 60"/>
                <a:gd name="T6" fmla="*/ 8 w 29"/>
                <a:gd name="T7" fmla="*/ 59 h 60"/>
                <a:gd name="T8" fmla="*/ 28 w 29"/>
                <a:gd name="T9" fmla="*/ 56 h 60"/>
                <a:gd name="T10" fmla="*/ 28 w 29"/>
                <a:gd name="T11" fmla="*/ 19 h 60"/>
                <a:gd name="T12" fmla="*/ 22 w 29"/>
                <a:gd name="T13" fmla="*/ 11 h 60"/>
                <a:gd name="T14" fmla="*/ 9 w 29"/>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60">
                  <a:moveTo>
                    <a:pt x="9" y="0"/>
                  </a:moveTo>
                  <a:lnTo>
                    <a:pt x="1" y="17"/>
                  </a:lnTo>
                  <a:lnTo>
                    <a:pt x="0" y="40"/>
                  </a:lnTo>
                  <a:lnTo>
                    <a:pt x="8" y="59"/>
                  </a:lnTo>
                  <a:lnTo>
                    <a:pt x="28" y="56"/>
                  </a:lnTo>
                  <a:lnTo>
                    <a:pt x="28" y="19"/>
                  </a:lnTo>
                  <a:lnTo>
                    <a:pt x="22" y="11"/>
                  </a:lnTo>
                  <a:lnTo>
                    <a:pt x="9"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06" name="Freeform 226">
              <a:extLst>
                <a:ext uri="{FF2B5EF4-FFF2-40B4-BE49-F238E27FC236}">
                  <a16:creationId xmlns:a16="http://schemas.microsoft.com/office/drawing/2014/main" id="{05E4F86B-A323-4F17-A6C8-BDE23E518C23}"/>
                </a:ext>
              </a:extLst>
            </p:cNvPr>
            <p:cNvSpPr>
              <a:spLocks/>
            </p:cNvSpPr>
            <p:nvPr/>
          </p:nvSpPr>
          <p:spPr bwMode="auto">
            <a:xfrm>
              <a:off x="3407653" y="3757159"/>
              <a:ext cx="152170" cy="112972"/>
            </a:xfrm>
            <a:custGeom>
              <a:avLst/>
              <a:gdLst>
                <a:gd name="T0" fmla="*/ 113 w 114"/>
                <a:gd name="T1" fmla="*/ 42 h 84"/>
                <a:gd name="T2" fmla="*/ 109 w 114"/>
                <a:gd name="T3" fmla="*/ 57 h 84"/>
                <a:gd name="T4" fmla="*/ 93 w 114"/>
                <a:gd name="T5" fmla="*/ 62 h 84"/>
                <a:gd name="T6" fmla="*/ 82 w 114"/>
                <a:gd name="T7" fmla="*/ 77 h 84"/>
                <a:gd name="T8" fmla="*/ 75 w 114"/>
                <a:gd name="T9" fmla="*/ 78 h 84"/>
                <a:gd name="T10" fmla="*/ 63 w 114"/>
                <a:gd name="T11" fmla="*/ 75 h 84"/>
                <a:gd name="T12" fmla="*/ 52 w 114"/>
                <a:gd name="T13" fmla="*/ 69 h 84"/>
                <a:gd name="T14" fmla="*/ 45 w 114"/>
                <a:gd name="T15" fmla="*/ 69 h 84"/>
                <a:gd name="T16" fmla="*/ 37 w 114"/>
                <a:gd name="T17" fmla="*/ 83 h 84"/>
                <a:gd name="T18" fmla="*/ 8 w 114"/>
                <a:gd name="T19" fmla="*/ 81 h 84"/>
                <a:gd name="T20" fmla="*/ 0 w 114"/>
                <a:gd name="T21" fmla="*/ 75 h 84"/>
                <a:gd name="T22" fmla="*/ 4 w 114"/>
                <a:gd name="T23" fmla="*/ 56 h 84"/>
                <a:gd name="T24" fmla="*/ 14 w 114"/>
                <a:gd name="T25" fmla="*/ 42 h 84"/>
                <a:gd name="T26" fmla="*/ 19 w 114"/>
                <a:gd name="T27" fmla="*/ 30 h 84"/>
                <a:gd name="T28" fmla="*/ 23 w 114"/>
                <a:gd name="T29" fmla="*/ 23 h 84"/>
                <a:gd name="T30" fmla="*/ 41 w 114"/>
                <a:gd name="T31" fmla="*/ 17 h 84"/>
                <a:gd name="T32" fmla="*/ 49 w 114"/>
                <a:gd name="T33" fmla="*/ 9 h 84"/>
                <a:gd name="T34" fmla="*/ 57 w 114"/>
                <a:gd name="T35" fmla="*/ 0 h 84"/>
                <a:gd name="T36" fmla="*/ 81 w 114"/>
                <a:gd name="T37" fmla="*/ 1 h 84"/>
                <a:gd name="T38" fmla="*/ 85 w 114"/>
                <a:gd name="T39" fmla="*/ 9 h 84"/>
                <a:gd name="T40" fmla="*/ 94 w 114"/>
                <a:gd name="T41" fmla="*/ 14 h 84"/>
                <a:gd name="T42" fmla="*/ 95 w 114"/>
                <a:gd name="T43" fmla="*/ 30 h 84"/>
                <a:gd name="T44" fmla="*/ 105 w 114"/>
                <a:gd name="T45" fmla="*/ 30 h 84"/>
                <a:gd name="T46" fmla="*/ 113 w 114"/>
                <a:gd name="T47"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84">
                  <a:moveTo>
                    <a:pt x="113" y="42"/>
                  </a:moveTo>
                  <a:lnTo>
                    <a:pt x="109" y="57"/>
                  </a:lnTo>
                  <a:lnTo>
                    <a:pt x="93" y="62"/>
                  </a:lnTo>
                  <a:lnTo>
                    <a:pt x="82" y="77"/>
                  </a:lnTo>
                  <a:lnTo>
                    <a:pt x="75" y="78"/>
                  </a:lnTo>
                  <a:lnTo>
                    <a:pt x="63" y="75"/>
                  </a:lnTo>
                  <a:lnTo>
                    <a:pt x="52" y="69"/>
                  </a:lnTo>
                  <a:lnTo>
                    <a:pt x="45" y="69"/>
                  </a:lnTo>
                  <a:lnTo>
                    <a:pt x="37" y="83"/>
                  </a:lnTo>
                  <a:lnTo>
                    <a:pt x="8" y="81"/>
                  </a:lnTo>
                  <a:lnTo>
                    <a:pt x="0" y="75"/>
                  </a:lnTo>
                  <a:lnTo>
                    <a:pt x="4" y="56"/>
                  </a:lnTo>
                  <a:lnTo>
                    <a:pt x="14" y="42"/>
                  </a:lnTo>
                  <a:lnTo>
                    <a:pt x="19" y="30"/>
                  </a:lnTo>
                  <a:lnTo>
                    <a:pt x="23" y="23"/>
                  </a:lnTo>
                  <a:lnTo>
                    <a:pt x="41" y="17"/>
                  </a:lnTo>
                  <a:lnTo>
                    <a:pt x="49" y="9"/>
                  </a:lnTo>
                  <a:lnTo>
                    <a:pt x="57" y="0"/>
                  </a:lnTo>
                  <a:lnTo>
                    <a:pt x="81" y="1"/>
                  </a:lnTo>
                  <a:lnTo>
                    <a:pt x="85" y="9"/>
                  </a:lnTo>
                  <a:lnTo>
                    <a:pt x="94" y="14"/>
                  </a:lnTo>
                  <a:lnTo>
                    <a:pt x="95" y="30"/>
                  </a:lnTo>
                  <a:lnTo>
                    <a:pt x="105" y="30"/>
                  </a:lnTo>
                  <a:lnTo>
                    <a:pt x="113" y="4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07" name="Freeform 227">
              <a:extLst>
                <a:ext uri="{FF2B5EF4-FFF2-40B4-BE49-F238E27FC236}">
                  <a16:creationId xmlns:a16="http://schemas.microsoft.com/office/drawing/2014/main" id="{E8B7E453-9F80-4F34-954B-103D915AAA67}"/>
                </a:ext>
              </a:extLst>
            </p:cNvPr>
            <p:cNvSpPr>
              <a:spLocks/>
            </p:cNvSpPr>
            <p:nvPr/>
          </p:nvSpPr>
          <p:spPr bwMode="auto">
            <a:xfrm>
              <a:off x="3223385" y="3805915"/>
              <a:ext cx="149792" cy="123675"/>
            </a:xfrm>
            <a:custGeom>
              <a:avLst/>
              <a:gdLst>
                <a:gd name="T0" fmla="*/ 0 w 113"/>
                <a:gd name="T1" fmla="*/ 15 h 93"/>
                <a:gd name="T2" fmla="*/ 8 w 113"/>
                <a:gd name="T3" fmla="*/ 6 h 93"/>
                <a:gd name="T4" fmla="*/ 25 w 113"/>
                <a:gd name="T5" fmla="*/ 0 h 93"/>
                <a:gd name="T6" fmla="*/ 45 w 113"/>
                <a:gd name="T7" fmla="*/ 3 h 93"/>
                <a:gd name="T8" fmla="*/ 61 w 113"/>
                <a:gd name="T9" fmla="*/ 3 h 93"/>
                <a:gd name="T10" fmla="*/ 76 w 113"/>
                <a:gd name="T11" fmla="*/ 8 h 93"/>
                <a:gd name="T12" fmla="*/ 92 w 113"/>
                <a:gd name="T13" fmla="*/ 11 h 93"/>
                <a:gd name="T14" fmla="*/ 103 w 113"/>
                <a:gd name="T15" fmla="*/ 23 h 93"/>
                <a:gd name="T16" fmla="*/ 107 w 113"/>
                <a:gd name="T17" fmla="*/ 42 h 93"/>
                <a:gd name="T18" fmla="*/ 102 w 113"/>
                <a:gd name="T19" fmla="*/ 54 h 93"/>
                <a:gd name="T20" fmla="*/ 112 w 113"/>
                <a:gd name="T21" fmla="*/ 62 h 93"/>
                <a:gd name="T22" fmla="*/ 96 w 113"/>
                <a:gd name="T23" fmla="*/ 74 h 93"/>
                <a:gd name="T24" fmla="*/ 92 w 113"/>
                <a:gd name="T25" fmla="*/ 92 h 93"/>
                <a:gd name="T26" fmla="*/ 81 w 113"/>
                <a:gd name="T27" fmla="*/ 89 h 93"/>
                <a:gd name="T28" fmla="*/ 72 w 113"/>
                <a:gd name="T29" fmla="*/ 72 h 93"/>
                <a:gd name="T30" fmla="*/ 68 w 113"/>
                <a:gd name="T31" fmla="*/ 55 h 93"/>
                <a:gd name="T32" fmla="*/ 52 w 113"/>
                <a:gd name="T33" fmla="*/ 46 h 93"/>
                <a:gd name="T34" fmla="*/ 40 w 113"/>
                <a:gd name="T35" fmla="*/ 52 h 93"/>
                <a:gd name="T36" fmla="*/ 25 w 113"/>
                <a:gd name="T37" fmla="*/ 56 h 93"/>
                <a:gd name="T38" fmla="*/ 7 w 113"/>
                <a:gd name="T39" fmla="*/ 37 h 93"/>
                <a:gd name="T40" fmla="*/ 0 w 113"/>
                <a:gd name="T41" fmla="*/ 1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3" h="93">
                  <a:moveTo>
                    <a:pt x="0" y="15"/>
                  </a:moveTo>
                  <a:lnTo>
                    <a:pt x="8" y="6"/>
                  </a:lnTo>
                  <a:lnTo>
                    <a:pt x="25" y="0"/>
                  </a:lnTo>
                  <a:lnTo>
                    <a:pt x="45" y="3"/>
                  </a:lnTo>
                  <a:lnTo>
                    <a:pt x="61" y="3"/>
                  </a:lnTo>
                  <a:lnTo>
                    <a:pt x="76" y="8"/>
                  </a:lnTo>
                  <a:lnTo>
                    <a:pt x="92" y="11"/>
                  </a:lnTo>
                  <a:lnTo>
                    <a:pt x="103" y="23"/>
                  </a:lnTo>
                  <a:lnTo>
                    <a:pt x="107" y="42"/>
                  </a:lnTo>
                  <a:lnTo>
                    <a:pt x="102" y="54"/>
                  </a:lnTo>
                  <a:lnTo>
                    <a:pt x="112" y="62"/>
                  </a:lnTo>
                  <a:lnTo>
                    <a:pt x="96" y="74"/>
                  </a:lnTo>
                  <a:lnTo>
                    <a:pt x="92" y="92"/>
                  </a:lnTo>
                  <a:lnTo>
                    <a:pt x="81" y="89"/>
                  </a:lnTo>
                  <a:lnTo>
                    <a:pt x="72" y="72"/>
                  </a:lnTo>
                  <a:lnTo>
                    <a:pt x="68" y="55"/>
                  </a:lnTo>
                  <a:lnTo>
                    <a:pt x="52" y="46"/>
                  </a:lnTo>
                  <a:lnTo>
                    <a:pt x="40" y="52"/>
                  </a:lnTo>
                  <a:lnTo>
                    <a:pt x="25" y="56"/>
                  </a:lnTo>
                  <a:lnTo>
                    <a:pt x="7" y="37"/>
                  </a:lnTo>
                  <a:lnTo>
                    <a:pt x="0" y="15"/>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08" name="Freeform 228">
              <a:extLst>
                <a:ext uri="{FF2B5EF4-FFF2-40B4-BE49-F238E27FC236}">
                  <a16:creationId xmlns:a16="http://schemas.microsoft.com/office/drawing/2014/main" id="{BFEF8D74-524A-40B4-8269-E2DCD3552FD3}"/>
                </a:ext>
              </a:extLst>
            </p:cNvPr>
            <p:cNvSpPr>
              <a:spLocks/>
            </p:cNvSpPr>
            <p:nvPr/>
          </p:nvSpPr>
          <p:spPr bwMode="auto">
            <a:xfrm>
              <a:off x="3455206" y="3848726"/>
              <a:ext cx="70141" cy="127243"/>
            </a:xfrm>
            <a:custGeom>
              <a:avLst/>
              <a:gdLst>
                <a:gd name="T0" fmla="*/ 2 w 53"/>
                <a:gd name="T1" fmla="*/ 91 h 95"/>
                <a:gd name="T2" fmla="*/ 0 w 53"/>
                <a:gd name="T3" fmla="*/ 68 h 95"/>
                <a:gd name="T4" fmla="*/ 2 w 53"/>
                <a:gd name="T5" fmla="*/ 45 h 95"/>
                <a:gd name="T6" fmla="*/ 10 w 53"/>
                <a:gd name="T7" fmla="*/ 44 h 95"/>
                <a:gd name="T8" fmla="*/ 12 w 53"/>
                <a:gd name="T9" fmla="*/ 32 h 95"/>
                <a:gd name="T10" fmla="*/ 2 w 53"/>
                <a:gd name="T11" fmla="*/ 27 h 95"/>
                <a:gd name="T12" fmla="*/ 2 w 53"/>
                <a:gd name="T13" fmla="*/ 14 h 95"/>
                <a:gd name="T14" fmla="*/ 9 w 53"/>
                <a:gd name="T15" fmla="*/ 0 h 95"/>
                <a:gd name="T16" fmla="*/ 17 w 53"/>
                <a:gd name="T17" fmla="*/ 0 h 95"/>
                <a:gd name="T18" fmla="*/ 27 w 53"/>
                <a:gd name="T19" fmla="*/ 6 h 95"/>
                <a:gd name="T20" fmla="*/ 39 w 53"/>
                <a:gd name="T21" fmla="*/ 9 h 95"/>
                <a:gd name="T22" fmla="*/ 40 w 53"/>
                <a:gd name="T23" fmla="*/ 23 h 95"/>
                <a:gd name="T24" fmla="*/ 46 w 53"/>
                <a:gd name="T25" fmla="*/ 26 h 95"/>
                <a:gd name="T26" fmla="*/ 45 w 53"/>
                <a:gd name="T27" fmla="*/ 39 h 95"/>
                <a:gd name="T28" fmla="*/ 48 w 53"/>
                <a:gd name="T29" fmla="*/ 60 h 95"/>
                <a:gd name="T30" fmla="*/ 52 w 53"/>
                <a:gd name="T31" fmla="*/ 79 h 95"/>
                <a:gd name="T32" fmla="*/ 46 w 53"/>
                <a:gd name="T33" fmla="*/ 86 h 95"/>
                <a:gd name="T34" fmla="*/ 35 w 53"/>
                <a:gd name="T35" fmla="*/ 86 h 95"/>
                <a:gd name="T36" fmla="*/ 29 w 53"/>
                <a:gd name="T37" fmla="*/ 93 h 95"/>
                <a:gd name="T38" fmla="*/ 18 w 53"/>
                <a:gd name="T39" fmla="*/ 94 h 95"/>
                <a:gd name="T40" fmla="*/ 2 w 53"/>
                <a:gd name="T41" fmla="*/ 9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3" h="95">
                  <a:moveTo>
                    <a:pt x="2" y="91"/>
                  </a:moveTo>
                  <a:lnTo>
                    <a:pt x="0" y="68"/>
                  </a:lnTo>
                  <a:lnTo>
                    <a:pt x="2" y="45"/>
                  </a:lnTo>
                  <a:lnTo>
                    <a:pt x="10" y="44"/>
                  </a:lnTo>
                  <a:lnTo>
                    <a:pt x="12" y="32"/>
                  </a:lnTo>
                  <a:lnTo>
                    <a:pt x="2" y="27"/>
                  </a:lnTo>
                  <a:lnTo>
                    <a:pt x="2" y="14"/>
                  </a:lnTo>
                  <a:lnTo>
                    <a:pt x="9" y="0"/>
                  </a:lnTo>
                  <a:lnTo>
                    <a:pt x="17" y="0"/>
                  </a:lnTo>
                  <a:lnTo>
                    <a:pt x="27" y="6"/>
                  </a:lnTo>
                  <a:lnTo>
                    <a:pt x="39" y="9"/>
                  </a:lnTo>
                  <a:lnTo>
                    <a:pt x="40" y="23"/>
                  </a:lnTo>
                  <a:lnTo>
                    <a:pt x="46" y="26"/>
                  </a:lnTo>
                  <a:lnTo>
                    <a:pt x="45" y="39"/>
                  </a:lnTo>
                  <a:lnTo>
                    <a:pt x="48" y="60"/>
                  </a:lnTo>
                  <a:lnTo>
                    <a:pt x="52" y="79"/>
                  </a:lnTo>
                  <a:lnTo>
                    <a:pt x="46" y="86"/>
                  </a:lnTo>
                  <a:lnTo>
                    <a:pt x="35" y="86"/>
                  </a:lnTo>
                  <a:lnTo>
                    <a:pt x="29" y="93"/>
                  </a:lnTo>
                  <a:lnTo>
                    <a:pt x="18" y="94"/>
                  </a:lnTo>
                  <a:lnTo>
                    <a:pt x="2" y="91"/>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09" name="Freeform 229">
              <a:extLst>
                <a:ext uri="{FF2B5EF4-FFF2-40B4-BE49-F238E27FC236}">
                  <a16:creationId xmlns:a16="http://schemas.microsoft.com/office/drawing/2014/main" id="{83B06B04-5F79-4C43-B6F6-AA73D260C7B9}"/>
                </a:ext>
              </a:extLst>
            </p:cNvPr>
            <p:cNvSpPr>
              <a:spLocks/>
            </p:cNvSpPr>
            <p:nvPr/>
          </p:nvSpPr>
          <p:spPr bwMode="auto">
            <a:xfrm>
              <a:off x="4078151" y="4109157"/>
              <a:ext cx="210422" cy="233080"/>
            </a:xfrm>
            <a:custGeom>
              <a:avLst/>
              <a:gdLst>
                <a:gd name="T0" fmla="*/ 156 w 157"/>
                <a:gd name="T1" fmla="*/ 154 h 175"/>
                <a:gd name="T2" fmla="*/ 139 w 157"/>
                <a:gd name="T3" fmla="*/ 158 h 175"/>
                <a:gd name="T4" fmla="*/ 136 w 157"/>
                <a:gd name="T5" fmla="*/ 165 h 175"/>
                <a:gd name="T6" fmla="*/ 119 w 157"/>
                <a:gd name="T7" fmla="*/ 165 h 175"/>
                <a:gd name="T8" fmla="*/ 116 w 157"/>
                <a:gd name="T9" fmla="*/ 174 h 175"/>
                <a:gd name="T10" fmla="*/ 86 w 157"/>
                <a:gd name="T11" fmla="*/ 171 h 175"/>
                <a:gd name="T12" fmla="*/ 84 w 157"/>
                <a:gd name="T13" fmla="*/ 163 h 175"/>
                <a:gd name="T14" fmla="*/ 71 w 157"/>
                <a:gd name="T15" fmla="*/ 154 h 175"/>
                <a:gd name="T16" fmla="*/ 60 w 157"/>
                <a:gd name="T17" fmla="*/ 146 h 175"/>
                <a:gd name="T18" fmla="*/ 53 w 157"/>
                <a:gd name="T19" fmla="*/ 143 h 175"/>
                <a:gd name="T20" fmla="*/ 44 w 157"/>
                <a:gd name="T21" fmla="*/ 129 h 175"/>
                <a:gd name="T22" fmla="*/ 31 w 157"/>
                <a:gd name="T23" fmla="*/ 122 h 175"/>
                <a:gd name="T24" fmla="*/ 21 w 157"/>
                <a:gd name="T25" fmla="*/ 112 h 175"/>
                <a:gd name="T26" fmla="*/ 19 w 157"/>
                <a:gd name="T27" fmla="*/ 104 h 175"/>
                <a:gd name="T28" fmla="*/ 8 w 157"/>
                <a:gd name="T29" fmla="*/ 105 h 175"/>
                <a:gd name="T30" fmla="*/ 9 w 157"/>
                <a:gd name="T31" fmla="*/ 97 h 175"/>
                <a:gd name="T32" fmla="*/ 8 w 157"/>
                <a:gd name="T33" fmla="*/ 87 h 175"/>
                <a:gd name="T34" fmla="*/ 4 w 157"/>
                <a:gd name="T35" fmla="*/ 78 h 175"/>
                <a:gd name="T36" fmla="*/ 3 w 157"/>
                <a:gd name="T37" fmla="*/ 70 h 175"/>
                <a:gd name="T38" fmla="*/ 4 w 157"/>
                <a:gd name="T39" fmla="*/ 57 h 175"/>
                <a:gd name="T40" fmla="*/ 0 w 157"/>
                <a:gd name="T41" fmla="*/ 46 h 175"/>
                <a:gd name="T42" fmla="*/ 8 w 157"/>
                <a:gd name="T43" fmla="*/ 45 h 175"/>
                <a:gd name="T44" fmla="*/ 19 w 157"/>
                <a:gd name="T45" fmla="*/ 43 h 175"/>
                <a:gd name="T46" fmla="*/ 18 w 157"/>
                <a:gd name="T47" fmla="*/ 26 h 175"/>
                <a:gd name="T48" fmla="*/ 14 w 157"/>
                <a:gd name="T49" fmla="*/ 19 h 175"/>
                <a:gd name="T50" fmla="*/ 11 w 157"/>
                <a:gd name="T51" fmla="*/ 4 h 175"/>
                <a:gd name="T52" fmla="*/ 18 w 157"/>
                <a:gd name="T53" fmla="*/ 0 h 175"/>
                <a:gd name="T54" fmla="*/ 33 w 157"/>
                <a:gd name="T55" fmla="*/ 1 h 175"/>
                <a:gd name="T56" fmla="*/ 63 w 157"/>
                <a:gd name="T57" fmla="*/ 0 h 175"/>
                <a:gd name="T58" fmla="*/ 74 w 157"/>
                <a:gd name="T59" fmla="*/ 0 h 175"/>
                <a:gd name="T60" fmla="*/ 103 w 157"/>
                <a:gd name="T61" fmla="*/ 24 h 175"/>
                <a:gd name="T62" fmla="*/ 118 w 157"/>
                <a:gd name="T63" fmla="*/ 28 h 175"/>
                <a:gd name="T64" fmla="*/ 119 w 157"/>
                <a:gd name="T65" fmla="*/ 41 h 175"/>
                <a:gd name="T66" fmla="*/ 141 w 157"/>
                <a:gd name="T67" fmla="*/ 52 h 175"/>
                <a:gd name="T68" fmla="*/ 142 w 157"/>
                <a:gd name="T69" fmla="*/ 60 h 175"/>
                <a:gd name="T70" fmla="*/ 142 w 157"/>
                <a:gd name="T71" fmla="*/ 71 h 175"/>
                <a:gd name="T72" fmla="*/ 137 w 157"/>
                <a:gd name="T73" fmla="*/ 77 h 175"/>
                <a:gd name="T74" fmla="*/ 135 w 157"/>
                <a:gd name="T75" fmla="*/ 88 h 175"/>
                <a:gd name="T76" fmla="*/ 143 w 157"/>
                <a:gd name="T77" fmla="*/ 90 h 175"/>
                <a:gd name="T78" fmla="*/ 142 w 157"/>
                <a:gd name="T79" fmla="*/ 106 h 175"/>
                <a:gd name="T80" fmla="*/ 145 w 157"/>
                <a:gd name="T81" fmla="*/ 122 h 175"/>
                <a:gd name="T82" fmla="*/ 146 w 157"/>
                <a:gd name="T83" fmla="*/ 140 h 175"/>
                <a:gd name="T84" fmla="*/ 152 w 157"/>
                <a:gd name="T85" fmla="*/ 146 h 175"/>
                <a:gd name="T86" fmla="*/ 156 w 157"/>
                <a:gd name="T87" fmla="*/ 15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7" h="175">
                  <a:moveTo>
                    <a:pt x="156" y="154"/>
                  </a:moveTo>
                  <a:lnTo>
                    <a:pt x="139" y="158"/>
                  </a:lnTo>
                  <a:lnTo>
                    <a:pt x="136" y="165"/>
                  </a:lnTo>
                  <a:lnTo>
                    <a:pt x="119" y="165"/>
                  </a:lnTo>
                  <a:lnTo>
                    <a:pt x="116" y="174"/>
                  </a:lnTo>
                  <a:lnTo>
                    <a:pt x="86" y="171"/>
                  </a:lnTo>
                  <a:lnTo>
                    <a:pt x="84" y="163"/>
                  </a:lnTo>
                  <a:lnTo>
                    <a:pt x="71" y="154"/>
                  </a:lnTo>
                  <a:lnTo>
                    <a:pt x="60" y="146"/>
                  </a:lnTo>
                  <a:lnTo>
                    <a:pt x="53" y="143"/>
                  </a:lnTo>
                  <a:lnTo>
                    <a:pt x="44" y="129"/>
                  </a:lnTo>
                  <a:lnTo>
                    <a:pt x="31" y="122"/>
                  </a:lnTo>
                  <a:lnTo>
                    <a:pt x="21" y="112"/>
                  </a:lnTo>
                  <a:lnTo>
                    <a:pt x="19" y="104"/>
                  </a:lnTo>
                  <a:lnTo>
                    <a:pt x="8" y="105"/>
                  </a:lnTo>
                  <a:lnTo>
                    <a:pt x="9" y="97"/>
                  </a:lnTo>
                  <a:lnTo>
                    <a:pt x="8" y="87"/>
                  </a:lnTo>
                  <a:lnTo>
                    <a:pt x="4" y="78"/>
                  </a:lnTo>
                  <a:lnTo>
                    <a:pt x="3" y="70"/>
                  </a:lnTo>
                  <a:lnTo>
                    <a:pt x="4" y="57"/>
                  </a:lnTo>
                  <a:lnTo>
                    <a:pt x="0" y="46"/>
                  </a:lnTo>
                  <a:lnTo>
                    <a:pt x="8" y="45"/>
                  </a:lnTo>
                  <a:lnTo>
                    <a:pt x="19" y="43"/>
                  </a:lnTo>
                  <a:lnTo>
                    <a:pt x="18" y="26"/>
                  </a:lnTo>
                  <a:lnTo>
                    <a:pt x="14" y="19"/>
                  </a:lnTo>
                  <a:lnTo>
                    <a:pt x="11" y="4"/>
                  </a:lnTo>
                  <a:lnTo>
                    <a:pt x="18" y="0"/>
                  </a:lnTo>
                  <a:lnTo>
                    <a:pt x="33" y="1"/>
                  </a:lnTo>
                  <a:lnTo>
                    <a:pt x="63" y="0"/>
                  </a:lnTo>
                  <a:lnTo>
                    <a:pt x="74" y="0"/>
                  </a:lnTo>
                  <a:lnTo>
                    <a:pt x="103" y="24"/>
                  </a:lnTo>
                  <a:lnTo>
                    <a:pt x="118" y="28"/>
                  </a:lnTo>
                  <a:lnTo>
                    <a:pt x="119" y="41"/>
                  </a:lnTo>
                  <a:lnTo>
                    <a:pt x="141" y="52"/>
                  </a:lnTo>
                  <a:lnTo>
                    <a:pt x="142" y="60"/>
                  </a:lnTo>
                  <a:lnTo>
                    <a:pt x="142" y="71"/>
                  </a:lnTo>
                  <a:lnTo>
                    <a:pt x="137" y="77"/>
                  </a:lnTo>
                  <a:lnTo>
                    <a:pt x="135" y="88"/>
                  </a:lnTo>
                  <a:lnTo>
                    <a:pt x="143" y="90"/>
                  </a:lnTo>
                  <a:lnTo>
                    <a:pt x="142" y="106"/>
                  </a:lnTo>
                  <a:lnTo>
                    <a:pt x="145" y="122"/>
                  </a:lnTo>
                  <a:lnTo>
                    <a:pt x="146" y="140"/>
                  </a:lnTo>
                  <a:lnTo>
                    <a:pt x="152" y="146"/>
                  </a:lnTo>
                  <a:lnTo>
                    <a:pt x="156" y="154"/>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10" name="Freeform 230">
              <a:extLst>
                <a:ext uri="{FF2B5EF4-FFF2-40B4-BE49-F238E27FC236}">
                  <a16:creationId xmlns:a16="http://schemas.microsoft.com/office/drawing/2014/main" id="{B62E09F4-0EFA-4033-98D9-213865899B09}"/>
                </a:ext>
              </a:extLst>
            </p:cNvPr>
            <p:cNvSpPr>
              <a:spLocks/>
            </p:cNvSpPr>
            <p:nvPr/>
          </p:nvSpPr>
          <p:spPr bwMode="auto">
            <a:xfrm>
              <a:off x="4078151" y="3997374"/>
              <a:ext cx="95106" cy="118918"/>
            </a:xfrm>
            <a:custGeom>
              <a:avLst/>
              <a:gdLst>
                <a:gd name="T0" fmla="*/ 61 w 71"/>
                <a:gd name="T1" fmla="*/ 0 h 89"/>
                <a:gd name="T2" fmla="*/ 70 w 71"/>
                <a:gd name="T3" fmla="*/ 14 h 89"/>
                <a:gd name="T4" fmla="*/ 70 w 71"/>
                <a:gd name="T5" fmla="*/ 41 h 89"/>
                <a:gd name="T6" fmla="*/ 61 w 71"/>
                <a:gd name="T7" fmla="*/ 58 h 89"/>
                <a:gd name="T8" fmla="*/ 59 w 71"/>
                <a:gd name="T9" fmla="*/ 74 h 89"/>
                <a:gd name="T10" fmla="*/ 63 w 71"/>
                <a:gd name="T11" fmla="*/ 84 h 89"/>
                <a:gd name="T12" fmla="*/ 33 w 71"/>
                <a:gd name="T13" fmla="*/ 85 h 89"/>
                <a:gd name="T14" fmla="*/ 18 w 71"/>
                <a:gd name="T15" fmla="*/ 84 h 89"/>
                <a:gd name="T16" fmla="*/ 11 w 71"/>
                <a:gd name="T17" fmla="*/ 88 h 89"/>
                <a:gd name="T18" fmla="*/ 0 w 71"/>
                <a:gd name="T19" fmla="*/ 84 h 89"/>
                <a:gd name="T20" fmla="*/ 4 w 71"/>
                <a:gd name="T21" fmla="*/ 49 h 89"/>
                <a:gd name="T22" fmla="*/ 19 w 71"/>
                <a:gd name="T23" fmla="*/ 43 h 89"/>
                <a:gd name="T24" fmla="*/ 27 w 71"/>
                <a:gd name="T25" fmla="*/ 39 h 89"/>
                <a:gd name="T26" fmla="*/ 28 w 71"/>
                <a:gd name="T27" fmla="*/ 30 h 89"/>
                <a:gd name="T28" fmla="*/ 19 w 71"/>
                <a:gd name="T29" fmla="*/ 30 h 89"/>
                <a:gd name="T30" fmla="*/ 19 w 71"/>
                <a:gd name="T31" fmla="*/ 23 h 89"/>
                <a:gd name="T32" fmla="*/ 15 w 71"/>
                <a:gd name="T33" fmla="*/ 4 h 89"/>
                <a:gd name="T34" fmla="*/ 31 w 71"/>
                <a:gd name="T35" fmla="*/ 4 h 89"/>
                <a:gd name="T36" fmla="*/ 44 w 71"/>
                <a:gd name="T37" fmla="*/ 5 h 89"/>
                <a:gd name="T38" fmla="*/ 61 w 71"/>
                <a:gd name="T3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 h="89">
                  <a:moveTo>
                    <a:pt x="61" y="0"/>
                  </a:moveTo>
                  <a:lnTo>
                    <a:pt x="70" y="14"/>
                  </a:lnTo>
                  <a:lnTo>
                    <a:pt x="70" y="41"/>
                  </a:lnTo>
                  <a:lnTo>
                    <a:pt x="61" y="58"/>
                  </a:lnTo>
                  <a:lnTo>
                    <a:pt x="59" y="74"/>
                  </a:lnTo>
                  <a:lnTo>
                    <a:pt x="63" y="84"/>
                  </a:lnTo>
                  <a:lnTo>
                    <a:pt x="33" y="85"/>
                  </a:lnTo>
                  <a:lnTo>
                    <a:pt x="18" y="84"/>
                  </a:lnTo>
                  <a:lnTo>
                    <a:pt x="11" y="88"/>
                  </a:lnTo>
                  <a:lnTo>
                    <a:pt x="0" y="84"/>
                  </a:lnTo>
                  <a:lnTo>
                    <a:pt x="4" y="49"/>
                  </a:lnTo>
                  <a:lnTo>
                    <a:pt x="19" y="43"/>
                  </a:lnTo>
                  <a:lnTo>
                    <a:pt x="27" y="39"/>
                  </a:lnTo>
                  <a:lnTo>
                    <a:pt x="28" y="30"/>
                  </a:lnTo>
                  <a:lnTo>
                    <a:pt x="19" y="30"/>
                  </a:lnTo>
                  <a:lnTo>
                    <a:pt x="19" y="23"/>
                  </a:lnTo>
                  <a:lnTo>
                    <a:pt x="15" y="4"/>
                  </a:lnTo>
                  <a:lnTo>
                    <a:pt x="31" y="4"/>
                  </a:lnTo>
                  <a:lnTo>
                    <a:pt x="44" y="5"/>
                  </a:lnTo>
                  <a:lnTo>
                    <a:pt x="61"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11" name="Freeform 231">
              <a:extLst>
                <a:ext uri="{FF2B5EF4-FFF2-40B4-BE49-F238E27FC236}">
                  <a16:creationId xmlns:a16="http://schemas.microsoft.com/office/drawing/2014/main" id="{C4A0C9AB-2750-4EB2-8E48-44F6B1064EEB}"/>
                </a:ext>
              </a:extLst>
            </p:cNvPr>
            <p:cNvSpPr>
              <a:spLocks/>
            </p:cNvSpPr>
            <p:nvPr/>
          </p:nvSpPr>
          <p:spPr bwMode="auto">
            <a:xfrm>
              <a:off x="4321861" y="3660835"/>
              <a:ext cx="196156" cy="147459"/>
            </a:xfrm>
            <a:custGeom>
              <a:avLst/>
              <a:gdLst>
                <a:gd name="T0" fmla="*/ 51 w 147"/>
                <a:gd name="T1" fmla="*/ 59 h 110"/>
                <a:gd name="T2" fmla="*/ 51 w 147"/>
                <a:gd name="T3" fmla="*/ 46 h 110"/>
                <a:gd name="T4" fmla="*/ 51 w 147"/>
                <a:gd name="T5" fmla="*/ 36 h 110"/>
                <a:gd name="T6" fmla="*/ 45 w 147"/>
                <a:gd name="T7" fmla="*/ 34 h 110"/>
                <a:gd name="T8" fmla="*/ 28 w 147"/>
                <a:gd name="T9" fmla="*/ 33 h 110"/>
                <a:gd name="T10" fmla="*/ 11 w 147"/>
                <a:gd name="T11" fmla="*/ 34 h 110"/>
                <a:gd name="T12" fmla="*/ 0 w 147"/>
                <a:gd name="T13" fmla="*/ 41 h 110"/>
                <a:gd name="T14" fmla="*/ 2 w 147"/>
                <a:gd name="T15" fmla="*/ 74 h 110"/>
                <a:gd name="T16" fmla="*/ 2 w 147"/>
                <a:gd name="T17" fmla="*/ 91 h 110"/>
                <a:gd name="T18" fmla="*/ 8 w 147"/>
                <a:gd name="T19" fmla="*/ 101 h 110"/>
                <a:gd name="T20" fmla="*/ 23 w 147"/>
                <a:gd name="T21" fmla="*/ 109 h 110"/>
                <a:gd name="T22" fmla="*/ 34 w 147"/>
                <a:gd name="T23" fmla="*/ 98 h 110"/>
                <a:gd name="T24" fmla="*/ 48 w 147"/>
                <a:gd name="T25" fmla="*/ 84 h 110"/>
                <a:gd name="T26" fmla="*/ 53 w 147"/>
                <a:gd name="T27" fmla="*/ 79 h 110"/>
                <a:gd name="T28" fmla="*/ 91 w 147"/>
                <a:gd name="T29" fmla="*/ 78 h 110"/>
                <a:gd name="T30" fmla="*/ 102 w 147"/>
                <a:gd name="T31" fmla="*/ 68 h 110"/>
                <a:gd name="T32" fmla="*/ 134 w 147"/>
                <a:gd name="T33" fmla="*/ 62 h 110"/>
                <a:gd name="T34" fmla="*/ 134 w 147"/>
                <a:gd name="T35" fmla="*/ 51 h 110"/>
                <a:gd name="T36" fmla="*/ 146 w 147"/>
                <a:gd name="T37" fmla="*/ 41 h 110"/>
                <a:gd name="T38" fmla="*/ 137 w 147"/>
                <a:gd name="T39" fmla="*/ 19 h 110"/>
                <a:gd name="T40" fmla="*/ 131 w 147"/>
                <a:gd name="T41" fmla="*/ 0 h 110"/>
                <a:gd name="T42" fmla="*/ 87 w 147"/>
                <a:gd name="T43" fmla="*/ 8 h 110"/>
                <a:gd name="T44" fmla="*/ 76 w 147"/>
                <a:gd name="T45" fmla="*/ 23 h 110"/>
                <a:gd name="T46" fmla="*/ 70 w 147"/>
                <a:gd name="T47" fmla="*/ 44 h 110"/>
                <a:gd name="T48" fmla="*/ 51 w 147"/>
                <a:gd name="T49" fmla="*/ 5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 h="110">
                  <a:moveTo>
                    <a:pt x="51" y="59"/>
                  </a:moveTo>
                  <a:lnTo>
                    <a:pt x="51" y="46"/>
                  </a:lnTo>
                  <a:lnTo>
                    <a:pt x="51" y="36"/>
                  </a:lnTo>
                  <a:lnTo>
                    <a:pt x="45" y="34"/>
                  </a:lnTo>
                  <a:lnTo>
                    <a:pt x="28" y="33"/>
                  </a:lnTo>
                  <a:lnTo>
                    <a:pt x="11" y="34"/>
                  </a:lnTo>
                  <a:lnTo>
                    <a:pt x="0" y="41"/>
                  </a:lnTo>
                  <a:lnTo>
                    <a:pt x="2" y="74"/>
                  </a:lnTo>
                  <a:lnTo>
                    <a:pt x="2" y="91"/>
                  </a:lnTo>
                  <a:lnTo>
                    <a:pt x="8" y="101"/>
                  </a:lnTo>
                  <a:lnTo>
                    <a:pt x="23" y="109"/>
                  </a:lnTo>
                  <a:lnTo>
                    <a:pt x="34" y="98"/>
                  </a:lnTo>
                  <a:lnTo>
                    <a:pt x="48" y="84"/>
                  </a:lnTo>
                  <a:lnTo>
                    <a:pt x="53" y="79"/>
                  </a:lnTo>
                  <a:lnTo>
                    <a:pt x="91" y="78"/>
                  </a:lnTo>
                  <a:lnTo>
                    <a:pt x="102" y="68"/>
                  </a:lnTo>
                  <a:lnTo>
                    <a:pt x="134" y="62"/>
                  </a:lnTo>
                  <a:lnTo>
                    <a:pt x="134" y="51"/>
                  </a:lnTo>
                  <a:lnTo>
                    <a:pt x="146" y="41"/>
                  </a:lnTo>
                  <a:lnTo>
                    <a:pt x="137" y="19"/>
                  </a:lnTo>
                  <a:lnTo>
                    <a:pt x="131" y="0"/>
                  </a:lnTo>
                  <a:lnTo>
                    <a:pt x="87" y="8"/>
                  </a:lnTo>
                  <a:lnTo>
                    <a:pt x="76" y="23"/>
                  </a:lnTo>
                  <a:lnTo>
                    <a:pt x="70" y="44"/>
                  </a:lnTo>
                  <a:lnTo>
                    <a:pt x="51" y="5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12" name="Freeform 232">
              <a:extLst>
                <a:ext uri="{FF2B5EF4-FFF2-40B4-BE49-F238E27FC236}">
                  <a16:creationId xmlns:a16="http://schemas.microsoft.com/office/drawing/2014/main" id="{5E8409E5-BD67-49A8-AB29-5109853BF318}"/>
                </a:ext>
              </a:extLst>
            </p:cNvPr>
            <p:cNvSpPr>
              <a:spLocks/>
            </p:cNvSpPr>
            <p:nvPr/>
          </p:nvSpPr>
          <p:spPr bwMode="auto">
            <a:xfrm>
              <a:off x="3763112" y="3581160"/>
              <a:ext cx="208045" cy="346052"/>
            </a:xfrm>
            <a:custGeom>
              <a:avLst/>
              <a:gdLst>
                <a:gd name="T0" fmla="*/ 24 w 155"/>
                <a:gd name="T1" fmla="*/ 0 h 260"/>
                <a:gd name="T2" fmla="*/ 26 w 155"/>
                <a:gd name="T3" fmla="*/ 8 h 260"/>
                <a:gd name="T4" fmla="*/ 29 w 155"/>
                <a:gd name="T5" fmla="*/ 14 h 260"/>
                <a:gd name="T6" fmla="*/ 36 w 155"/>
                <a:gd name="T7" fmla="*/ 30 h 260"/>
                <a:gd name="T8" fmla="*/ 30 w 155"/>
                <a:gd name="T9" fmla="*/ 108 h 260"/>
                <a:gd name="T10" fmla="*/ 20 w 155"/>
                <a:gd name="T11" fmla="*/ 112 h 260"/>
                <a:gd name="T12" fmla="*/ 15 w 155"/>
                <a:gd name="T13" fmla="*/ 121 h 260"/>
                <a:gd name="T14" fmla="*/ 5 w 155"/>
                <a:gd name="T15" fmla="*/ 127 h 260"/>
                <a:gd name="T16" fmla="*/ 0 w 155"/>
                <a:gd name="T17" fmla="*/ 135 h 260"/>
                <a:gd name="T18" fmla="*/ 0 w 155"/>
                <a:gd name="T19" fmla="*/ 149 h 260"/>
                <a:gd name="T20" fmla="*/ 6 w 155"/>
                <a:gd name="T21" fmla="*/ 148 h 260"/>
                <a:gd name="T22" fmla="*/ 8 w 155"/>
                <a:gd name="T23" fmla="*/ 158 h 260"/>
                <a:gd name="T24" fmla="*/ 13 w 155"/>
                <a:gd name="T25" fmla="*/ 166 h 260"/>
                <a:gd name="T26" fmla="*/ 19 w 155"/>
                <a:gd name="T27" fmla="*/ 180 h 260"/>
                <a:gd name="T28" fmla="*/ 19 w 155"/>
                <a:gd name="T29" fmla="*/ 188 h 260"/>
                <a:gd name="T30" fmla="*/ 14 w 155"/>
                <a:gd name="T31" fmla="*/ 191 h 260"/>
                <a:gd name="T32" fmla="*/ 17 w 155"/>
                <a:gd name="T33" fmla="*/ 194 h 260"/>
                <a:gd name="T34" fmla="*/ 19 w 155"/>
                <a:gd name="T35" fmla="*/ 202 h 260"/>
                <a:gd name="T36" fmla="*/ 25 w 155"/>
                <a:gd name="T37" fmla="*/ 210 h 260"/>
                <a:gd name="T38" fmla="*/ 24 w 155"/>
                <a:gd name="T39" fmla="*/ 218 h 260"/>
                <a:gd name="T40" fmla="*/ 17 w 155"/>
                <a:gd name="T41" fmla="*/ 221 h 260"/>
                <a:gd name="T42" fmla="*/ 18 w 155"/>
                <a:gd name="T43" fmla="*/ 229 h 260"/>
                <a:gd name="T44" fmla="*/ 29 w 155"/>
                <a:gd name="T45" fmla="*/ 243 h 260"/>
                <a:gd name="T46" fmla="*/ 36 w 155"/>
                <a:gd name="T47" fmla="*/ 259 h 260"/>
                <a:gd name="T48" fmla="*/ 45 w 155"/>
                <a:gd name="T49" fmla="*/ 254 h 260"/>
                <a:gd name="T50" fmla="*/ 58 w 155"/>
                <a:gd name="T51" fmla="*/ 256 h 260"/>
                <a:gd name="T52" fmla="*/ 63 w 155"/>
                <a:gd name="T53" fmla="*/ 246 h 260"/>
                <a:gd name="T54" fmla="*/ 79 w 155"/>
                <a:gd name="T55" fmla="*/ 245 h 260"/>
                <a:gd name="T56" fmla="*/ 85 w 155"/>
                <a:gd name="T57" fmla="*/ 235 h 260"/>
                <a:gd name="T58" fmla="*/ 99 w 155"/>
                <a:gd name="T59" fmla="*/ 232 h 260"/>
                <a:gd name="T60" fmla="*/ 104 w 155"/>
                <a:gd name="T61" fmla="*/ 221 h 260"/>
                <a:gd name="T62" fmla="*/ 113 w 155"/>
                <a:gd name="T63" fmla="*/ 218 h 260"/>
                <a:gd name="T64" fmla="*/ 119 w 155"/>
                <a:gd name="T65" fmla="*/ 206 h 260"/>
                <a:gd name="T66" fmla="*/ 129 w 155"/>
                <a:gd name="T67" fmla="*/ 196 h 260"/>
                <a:gd name="T68" fmla="*/ 136 w 155"/>
                <a:gd name="T69" fmla="*/ 194 h 260"/>
                <a:gd name="T70" fmla="*/ 139 w 155"/>
                <a:gd name="T71" fmla="*/ 189 h 260"/>
                <a:gd name="T72" fmla="*/ 139 w 155"/>
                <a:gd name="T73" fmla="*/ 182 h 260"/>
                <a:gd name="T74" fmla="*/ 133 w 155"/>
                <a:gd name="T75" fmla="*/ 179 h 260"/>
                <a:gd name="T76" fmla="*/ 129 w 155"/>
                <a:gd name="T77" fmla="*/ 168 h 260"/>
                <a:gd name="T78" fmla="*/ 118 w 155"/>
                <a:gd name="T79" fmla="*/ 163 h 260"/>
                <a:gd name="T80" fmla="*/ 120 w 155"/>
                <a:gd name="T81" fmla="*/ 154 h 260"/>
                <a:gd name="T82" fmla="*/ 131 w 155"/>
                <a:gd name="T83" fmla="*/ 153 h 260"/>
                <a:gd name="T84" fmla="*/ 135 w 155"/>
                <a:gd name="T85" fmla="*/ 139 h 260"/>
                <a:gd name="T86" fmla="*/ 144 w 155"/>
                <a:gd name="T87" fmla="*/ 123 h 260"/>
                <a:gd name="T88" fmla="*/ 152 w 155"/>
                <a:gd name="T89" fmla="*/ 119 h 260"/>
                <a:gd name="T90" fmla="*/ 154 w 155"/>
                <a:gd name="T91" fmla="*/ 77 h 260"/>
                <a:gd name="T92" fmla="*/ 145 w 155"/>
                <a:gd name="T93" fmla="*/ 75 h 260"/>
                <a:gd name="T94" fmla="*/ 120 w 155"/>
                <a:gd name="T95" fmla="*/ 57 h 260"/>
                <a:gd name="T96" fmla="*/ 111 w 155"/>
                <a:gd name="T97" fmla="*/ 52 h 260"/>
                <a:gd name="T98" fmla="*/ 89 w 155"/>
                <a:gd name="T99" fmla="*/ 41 h 260"/>
                <a:gd name="T100" fmla="*/ 81 w 155"/>
                <a:gd name="T101" fmla="*/ 28 h 260"/>
                <a:gd name="T102" fmla="*/ 57 w 155"/>
                <a:gd name="T103" fmla="*/ 24 h 260"/>
                <a:gd name="T104" fmla="*/ 52 w 155"/>
                <a:gd name="T105" fmla="*/ 12 h 260"/>
                <a:gd name="T106" fmla="*/ 38 w 155"/>
                <a:gd name="T107" fmla="*/ 7 h 260"/>
                <a:gd name="T108" fmla="*/ 38 w 155"/>
                <a:gd name="T109" fmla="*/ 2 h 260"/>
                <a:gd name="T110" fmla="*/ 24 w 155"/>
                <a:gd name="T11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5" h="260">
                  <a:moveTo>
                    <a:pt x="24" y="0"/>
                  </a:moveTo>
                  <a:lnTo>
                    <a:pt x="26" y="8"/>
                  </a:lnTo>
                  <a:lnTo>
                    <a:pt x="29" y="14"/>
                  </a:lnTo>
                  <a:lnTo>
                    <a:pt x="36" y="30"/>
                  </a:lnTo>
                  <a:lnTo>
                    <a:pt x="30" y="108"/>
                  </a:lnTo>
                  <a:lnTo>
                    <a:pt x="20" y="112"/>
                  </a:lnTo>
                  <a:lnTo>
                    <a:pt x="15" y="121"/>
                  </a:lnTo>
                  <a:lnTo>
                    <a:pt x="5" y="127"/>
                  </a:lnTo>
                  <a:lnTo>
                    <a:pt x="0" y="135"/>
                  </a:lnTo>
                  <a:lnTo>
                    <a:pt x="0" y="149"/>
                  </a:lnTo>
                  <a:lnTo>
                    <a:pt x="6" y="148"/>
                  </a:lnTo>
                  <a:lnTo>
                    <a:pt x="8" y="158"/>
                  </a:lnTo>
                  <a:lnTo>
                    <a:pt x="13" y="166"/>
                  </a:lnTo>
                  <a:lnTo>
                    <a:pt x="19" y="180"/>
                  </a:lnTo>
                  <a:lnTo>
                    <a:pt x="19" y="188"/>
                  </a:lnTo>
                  <a:lnTo>
                    <a:pt x="14" y="191"/>
                  </a:lnTo>
                  <a:lnTo>
                    <a:pt x="17" y="194"/>
                  </a:lnTo>
                  <a:lnTo>
                    <a:pt x="19" y="202"/>
                  </a:lnTo>
                  <a:lnTo>
                    <a:pt x="25" y="210"/>
                  </a:lnTo>
                  <a:lnTo>
                    <a:pt x="24" y="218"/>
                  </a:lnTo>
                  <a:lnTo>
                    <a:pt x="17" y="221"/>
                  </a:lnTo>
                  <a:lnTo>
                    <a:pt x="18" y="229"/>
                  </a:lnTo>
                  <a:lnTo>
                    <a:pt x="29" y="243"/>
                  </a:lnTo>
                  <a:lnTo>
                    <a:pt x="36" y="259"/>
                  </a:lnTo>
                  <a:lnTo>
                    <a:pt x="45" y="254"/>
                  </a:lnTo>
                  <a:lnTo>
                    <a:pt x="58" y="256"/>
                  </a:lnTo>
                  <a:lnTo>
                    <a:pt x="63" y="246"/>
                  </a:lnTo>
                  <a:lnTo>
                    <a:pt x="79" y="245"/>
                  </a:lnTo>
                  <a:lnTo>
                    <a:pt x="85" y="235"/>
                  </a:lnTo>
                  <a:lnTo>
                    <a:pt x="99" y="232"/>
                  </a:lnTo>
                  <a:lnTo>
                    <a:pt x="104" y="221"/>
                  </a:lnTo>
                  <a:lnTo>
                    <a:pt x="113" y="218"/>
                  </a:lnTo>
                  <a:lnTo>
                    <a:pt x="119" y="206"/>
                  </a:lnTo>
                  <a:lnTo>
                    <a:pt x="129" y="196"/>
                  </a:lnTo>
                  <a:lnTo>
                    <a:pt x="136" y="194"/>
                  </a:lnTo>
                  <a:lnTo>
                    <a:pt x="139" y="189"/>
                  </a:lnTo>
                  <a:lnTo>
                    <a:pt x="139" y="182"/>
                  </a:lnTo>
                  <a:lnTo>
                    <a:pt x="133" y="179"/>
                  </a:lnTo>
                  <a:lnTo>
                    <a:pt x="129" y="168"/>
                  </a:lnTo>
                  <a:lnTo>
                    <a:pt x="118" y="163"/>
                  </a:lnTo>
                  <a:lnTo>
                    <a:pt x="120" y="154"/>
                  </a:lnTo>
                  <a:lnTo>
                    <a:pt x="131" y="153"/>
                  </a:lnTo>
                  <a:lnTo>
                    <a:pt x="135" y="139"/>
                  </a:lnTo>
                  <a:lnTo>
                    <a:pt x="144" y="123"/>
                  </a:lnTo>
                  <a:lnTo>
                    <a:pt x="152" y="119"/>
                  </a:lnTo>
                  <a:lnTo>
                    <a:pt x="154" y="77"/>
                  </a:lnTo>
                  <a:lnTo>
                    <a:pt x="145" y="75"/>
                  </a:lnTo>
                  <a:lnTo>
                    <a:pt x="120" y="57"/>
                  </a:lnTo>
                  <a:lnTo>
                    <a:pt x="111" y="52"/>
                  </a:lnTo>
                  <a:lnTo>
                    <a:pt x="89" y="41"/>
                  </a:lnTo>
                  <a:lnTo>
                    <a:pt x="81" y="28"/>
                  </a:lnTo>
                  <a:lnTo>
                    <a:pt x="57" y="24"/>
                  </a:lnTo>
                  <a:lnTo>
                    <a:pt x="52" y="12"/>
                  </a:lnTo>
                  <a:lnTo>
                    <a:pt x="38" y="7"/>
                  </a:lnTo>
                  <a:lnTo>
                    <a:pt x="38" y="2"/>
                  </a:lnTo>
                  <a:lnTo>
                    <a:pt x="24"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13" name="Freeform 233">
              <a:extLst>
                <a:ext uri="{FF2B5EF4-FFF2-40B4-BE49-F238E27FC236}">
                  <a16:creationId xmlns:a16="http://schemas.microsoft.com/office/drawing/2014/main" id="{0BE2A57A-9E64-41D0-85FF-1B43F5DAE281}"/>
                </a:ext>
              </a:extLst>
            </p:cNvPr>
            <p:cNvSpPr>
              <a:spLocks/>
            </p:cNvSpPr>
            <p:nvPr/>
          </p:nvSpPr>
          <p:spPr bwMode="auto">
            <a:xfrm>
              <a:off x="3517025" y="3563322"/>
              <a:ext cx="293640" cy="250917"/>
            </a:xfrm>
            <a:custGeom>
              <a:avLst/>
              <a:gdLst>
                <a:gd name="T0" fmla="*/ 50 w 221"/>
                <a:gd name="T1" fmla="*/ 186 h 188"/>
                <a:gd name="T2" fmla="*/ 55 w 221"/>
                <a:gd name="T3" fmla="*/ 179 h 188"/>
                <a:gd name="T4" fmla="*/ 60 w 221"/>
                <a:gd name="T5" fmla="*/ 168 h 188"/>
                <a:gd name="T6" fmla="*/ 73 w 221"/>
                <a:gd name="T7" fmla="*/ 164 h 188"/>
                <a:gd name="T8" fmla="*/ 84 w 221"/>
                <a:gd name="T9" fmla="*/ 166 h 188"/>
                <a:gd name="T10" fmla="*/ 91 w 221"/>
                <a:gd name="T11" fmla="*/ 176 h 188"/>
                <a:gd name="T12" fmla="*/ 92 w 221"/>
                <a:gd name="T13" fmla="*/ 169 h 188"/>
                <a:gd name="T14" fmla="*/ 109 w 221"/>
                <a:gd name="T15" fmla="*/ 168 h 188"/>
                <a:gd name="T16" fmla="*/ 120 w 221"/>
                <a:gd name="T17" fmla="*/ 167 h 188"/>
                <a:gd name="T18" fmla="*/ 128 w 221"/>
                <a:gd name="T19" fmla="*/ 175 h 188"/>
                <a:gd name="T20" fmla="*/ 140 w 221"/>
                <a:gd name="T21" fmla="*/ 176 h 188"/>
                <a:gd name="T22" fmla="*/ 142 w 221"/>
                <a:gd name="T23" fmla="*/ 168 h 188"/>
                <a:gd name="T24" fmla="*/ 160 w 221"/>
                <a:gd name="T25" fmla="*/ 168 h 188"/>
                <a:gd name="T26" fmla="*/ 168 w 221"/>
                <a:gd name="T27" fmla="*/ 176 h 188"/>
                <a:gd name="T28" fmla="*/ 175 w 221"/>
                <a:gd name="T29" fmla="*/ 168 h 188"/>
                <a:gd name="T30" fmla="*/ 185 w 221"/>
                <a:gd name="T31" fmla="*/ 162 h 188"/>
                <a:gd name="T32" fmla="*/ 185 w 221"/>
                <a:gd name="T33" fmla="*/ 148 h 188"/>
                <a:gd name="T34" fmla="*/ 190 w 221"/>
                <a:gd name="T35" fmla="*/ 140 h 188"/>
                <a:gd name="T36" fmla="*/ 200 w 221"/>
                <a:gd name="T37" fmla="*/ 134 h 188"/>
                <a:gd name="T38" fmla="*/ 205 w 221"/>
                <a:gd name="T39" fmla="*/ 125 h 188"/>
                <a:gd name="T40" fmla="*/ 215 w 221"/>
                <a:gd name="T41" fmla="*/ 122 h 188"/>
                <a:gd name="T42" fmla="*/ 220 w 221"/>
                <a:gd name="T43" fmla="*/ 43 h 188"/>
                <a:gd name="T44" fmla="*/ 213 w 221"/>
                <a:gd name="T45" fmla="*/ 27 h 188"/>
                <a:gd name="T46" fmla="*/ 211 w 221"/>
                <a:gd name="T47" fmla="*/ 21 h 188"/>
                <a:gd name="T48" fmla="*/ 208 w 221"/>
                <a:gd name="T49" fmla="*/ 13 h 188"/>
                <a:gd name="T50" fmla="*/ 200 w 221"/>
                <a:gd name="T51" fmla="*/ 9 h 188"/>
                <a:gd name="T52" fmla="*/ 182 w 221"/>
                <a:gd name="T53" fmla="*/ 8 h 188"/>
                <a:gd name="T54" fmla="*/ 181 w 221"/>
                <a:gd name="T55" fmla="*/ 0 h 188"/>
                <a:gd name="T56" fmla="*/ 162 w 221"/>
                <a:gd name="T57" fmla="*/ 0 h 188"/>
                <a:gd name="T58" fmla="*/ 157 w 221"/>
                <a:gd name="T59" fmla="*/ 7 h 188"/>
                <a:gd name="T60" fmla="*/ 143 w 221"/>
                <a:gd name="T61" fmla="*/ 13 h 188"/>
                <a:gd name="T62" fmla="*/ 131 w 221"/>
                <a:gd name="T63" fmla="*/ 23 h 188"/>
                <a:gd name="T64" fmla="*/ 124 w 221"/>
                <a:gd name="T65" fmla="*/ 33 h 188"/>
                <a:gd name="T66" fmla="*/ 102 w 221"/>
                <a:gd name="T67" fmla="*/ 41 h 188"/>
                <a:gd name="T68" fmla="*/ 99 w 221"/>
                <a:gd name="T69" fmla="*/ 50 h 188"/>
                <a:gd name="T70" fmla="*/ 91 w 221"/>
                <a:gd name="T71" fmla="*/ 55 h 188"/>
                <a:gd name="T72" fmla="*/ 81 w 221"/>
                <a:gd name="T73" fmla="*/ 66 h 188"/>
                <a:gd name="T74" fmla="*/ 57 w 221"/>
                <a:gd name="T75" fmla="*/ 68 h 188"/>
                <a:gd name="T76" fmla="*/ 55 w 221"/>
                <a:gd name="T77" fmla="*/ 76 h 188"/>
                <a:gd name="T78" fmla="*/ 58 w 221"/>
                <a:gd name="T79" fmla="*/ 123 h 188"/>
                <a:gd name="T80" fmla="*/ 48 w 221"/>
                <a:gd name="T81" fmla="*/ 125 h 188"/>
                <a:gd name="T82" fmla="*/ 48 w 221"/>
                <a:gd name="T83" fmla="*/ 133 h 188"/>
                <a:gd name="T84" fmla="*/ 11 w 221"/>
                <a:gd name="T85" fmla="*/ 139 h 188"/>
                <a:gd name="T86" fmla="*/ 0 w 221"/>
                <a:gd name="T87" fmla="*/ 146 h 188"/>
                <a:gd name="T88" fmla="*/ 4 w 221"/>
                <a:gd name="T89" fmla="*/ 155 h 188"/>
                <a:gd name="T90" fmla="*/ 13 w 221"/>
                <a:gd name="T91" fmla="*/ 160 h 188"/>
                <a:gd name="T92" fmla="*/ 14 w 221"/>
                <a:gd name="T93" fmla="*/ 175 h 188"/>
                <a:gd name="T94" fmla="*/ 24 w 221"/>
                <a:gd name="T95" fmla="*/ 176 h 188"/>
                <a:gd name="T96" fmla="*/ 32 w 221"/>
                <a:gd name="T97" fmla="*/ 187 h 188"/>
                <a:gd name="T98" fmla="*/ 45 w 221"/>
                <a:gd name="T99" fmla="*/ 186 h 188"/>
                <a:gd name="T100" fmla="*/ 50 w 221"/>
                <a:gd name="T101" fmla="*/ 18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1" h="188">
                  <a:moveTo>
                    <a:pt x="50" y="186"/>
                  </a:moveTo>
                  <a:lnTo>
                    <a:pt x="55" y="179"/>
                  </a:lnTo>
                  <a:lnTo>
                    <a:pt x="60" y="168"/>
                  </a:lnTo>
                  <a:lnTo>
                    <a:pt x="73" y="164"/>
                  </a:lnTo>
                  <a:lnTo>
                    <a:pt x="84" y="166"/>
                  </a:lnTo>
                  <a:lnTo>
                    <a:pt x="91" y="176"/>
                  </a:lnTo>
                  <a:lnTo>
                    <a:pt x="92" y="169"/>
                  </a:lnTo>
                  <a:lnTo>
                    <a:pt x="109" y="168"/>
                  </a:lnTo>
                  <a:lnTo>
                    <a:pt x="120" y="167"/>
                  </a:lnTo>
                  <a:lnTo>
                    <a:pt x="128" y="175"/>
                  </a:lnTo>
                  <a:lnTo>
                    <a:pt x="140" y="176"/>
                  </a:lnTo>
                  <a:lnTo>
                    <a:pt x="142" y="168"/>
                  </a:lnTo>
                  <a:lnTo>
                    <a:pt x="160" y="168"/>
                  </a:lnTo>
                  <a:lnTo>
                    <a:pt x="168" y="176"/>
                  </a:lnTo>
                  <a:lnTo>
                    <a:pt x="175" y="168"/>
                  </a:lnTo>
                  <a:lnTo>
                    <a:pt x="185" y="162"/>
                  </a:lnTo>
                  <a:lnTo>
                    <a:pt x="185" y="148"/>
                  </a:lnTo>
                  <a:lnTo>
                    <a:pt x="190" y="140"/>
                  </a:lnTo>
                  <a:lnTo>
                    <a:pt x="200" y="134"/>
                  </a:lnTo>
                  <a:lnTo>
                    <a:pt x="205" y="125"/>
                  </a:lnTo>
                  <a:lnTo>
                    <a:pt x="215" y="122"/>
                  </a:lnTo>
                  <a:lnTo>
                    <a:pt x="220" y="43"/>
                  </a:lnTo>
                  <a:lnTo>
                    <a:pt x="213" y="27"/>
                  </a:lnTo>
                  <a:lnTo>
                    <a:pt x="211" y="21"/>
                  </a:lnTo>
                  <a:lnTo>
                    <a:pt x="208" y="13"/>
                  </a:lnTo>
                  <a:lnTo>
                    <a:pt x="200" y="9"/>
                  </a:lnTo>
                  <a:lnTo>
                    <a:pt x="182" y="8"/>
                  </a:lnTo>
                  <a:lnTo>
                    <a:pt x="181" y="0"/>
                  </a:lnTo>
                  <a:lnTo>
                    <a:pt x="162" y="0"/>
                  </a:lnTo>
                  <a:lnTo>
                    <a:pt x="157" y="7"/>
                  </a:lnTo>
                  <a:lnTo>
                    <a:pt x="143" y="13"/>
                  </a:lnTo>
                  <a:lnTo>
                    <a:pt x="131" y="23"/>
                  </a:lnTo>
                  <a:lnTo>
                    <a:pt x="124" y="33"/>
                  </a:lnTo>
                  <a:lnTo>
                    <a:pt x="102" y="41"/>
                  </a:lnTo>
                  <a:lnTo>
                    <a:pt x="99" y="50"/>
                  </a:lnTo>
                  <a:lnTo>
                    <a:pt x="91" y="55"/>
                  </a:lnTo>
                  <a:lnTo>
                    <a:pt x="81" y="66"/>
                  </a:lnTo>
                  <a:lnTo>
                    <a:pt x="57" y="68"/>
                  </a:lnTo>
                  <a:lnTo>
                    <a:pt x="55" y="76"/>
                  </a:lnTo>
                  <a:lnTo>
                    <a:pt x="58" y="123"/>
                  </a:lnTo>
                  <a:lnTo>
                    <a:pt x="48" y="125"/>
                  </a:lnTo>
                  <a:lnTo>
                    <a:pt x="48" y="133"/>
                  </a:lnTo>
                  <a:lnTo>
                    <a:pt x="11" y="139"/>
                  </a:lnTo>
                  <a:lnTo>
                    <a:pt x="0" y="146"/>
                  </a:lnTo>
                  <a:lnTo>
                    <a:pt x="4" y="155"/>
                  </a:lnTo>
                  <a:lnTo>
                    <a:pt x="13" y="160"/>
                  </a:lnTo>
                  <a:lnTo>
                    <a:pt x="14" y="175"/>
                  </a:lnTo>
                  <a:lnTo>
                    <a:pt x="24" y="176"/>
                  </a:lnTo>
                  <a:lnTo>
                    <a:pt x="32" y="187"/>
                  </a:lnTo>
                  <a:lnTo>
                    <a:pt x="45" y="186"/>
                  </a:lnTo>
                  <a:lnTo>
                    <a:pt x="50" y="186"/>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14" name="Freeform 234">
              <a:extLst>
                <a:ext uri="{FF2B5EF4-FFF2-40B4-BE49-F238E27FC236}">
                  <a16:creationId xmlns:a16="http://schemas.microsoft.com/office/drawing/2014/main" id="{0BC3FC2B-8F97-46EA-B67C-DB1921931B8B}"/>
                </a:ext>
              </a:extLst>
            </p:cNvPr>
            <p:cNvSpPr>
              <a:spLocks/>
            </p:cNvSpPr>
            <p:nvPr/>
          </p:nvSpPr>
          <p:spPr bwMode="auto">
            <a:xfrm>
              <a:off x="4160180" y="3336188"/>
              <a:ext cx="79651" cy="98702"/>
            </a:xfrm>
            <a:custGeom>
              <a:avLst/>
              <a:gdLst>
                <a:gd name="T0" fmla="*/ 18 w 60"/>
                <a:gd name="T1" fmla="*/ 72 h 73"/>
                <a:gd name="T2" fmla="*/ 31 w 60"/>
                <a:gd name="T3" fmla="*/ 59 h 73"/>
                <a:gd name="T4" fmla="*/ 44 w 60"/>
                <a:gd name="T5" fmla="*/ 49 h 73"/>
                <a:gd name="T6" fmla="*/ 44 w 60"/>
                <a:gd name="T7" fmla="*/ 29 h 73"/>
                <a:gd name="T8" fmla="*/ 59 w 60"/>
                <a:gd name="T9" fmla="*/ 15 h 73"/>
                <a:gd name="T10" fmla="*/ 50 w 60"/>
                <a:gd name="T11" fmla="*/ 0 h 73"/>
                <a:gd name="T12" fmla="*/ 32 w 60"/>
                <a:gd name="T13" fmla="*/ 14 h 73"/>
                <a:gd name="T14" fmla="*/ 13 w 60"/>
                <a:gd name="T15" fmla="*/ 12 h 73"/>
                <a:gd name="T16" fmla="*/ 3 w 60"/>
                <a:gd name="T17" fmla="*/ 3 h 73"/>
                <a:gd name="T18" fmla="*/ 3 w 60"/>
                <a:gd name="T19" fmla="*/ 36 h 73"/>
                <a:gd name="T20" fmla="*/ 0 w 60"/>
                <a:gd name="T21" fmla="*/ 54 h 73"/>
                <a:gd name="T22" fmla="*/ 0 w 60"/>
                <a:gd name="T23" fmla="*/ 72 h 73"/>
                <a:gd name="T24" fmla="*/ 18 w 60"/>
                <a:gd name="T25"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3">
                  <a:moveTo>
                    <a:pt x="18" y="72"/>
                  </a:moveTo>
                  <a:lnTo>
                    <a:pt x="31" y="59"/>
                  </a:lnTo>
                  <a:lnTo>
                    <a:pt x="44" y="49"/>
                  </a:lnTo>
                  <a:lnTo>
                    <a:pt x="44" y="29"/>
                  </a:lnTo>
                  <a:lnTo>
                    <a:pt x="59" y="15"/>
                  </a:lnTo>
                  <a:lnTo>
                    <a:pt x="50" y="0"/>
                  </a:lnTo>
                  <a:lnTo>
                    <a:pt x="32" y="14"/>
                  </a:lnTo>
                  <a:lnTo>
                    <a:pt x="13" y="12"/>
                  </a:lnTo>
                  <a:lnTo>
                    <a:pt x="3" y="3"/>
                  </a:lnTo>
                  <a:lnTo>
                    <a:pt x="3" y="36"/>
                  </a:lnTo>
                  <a:lnTo>
                    <a:pt x="0" y="54"/>
                  </a:lnTo>
                  <a:lnTo>
                    <a:pt x="0" y="72"/>
                  </a:lnTo>
                  <a:lnTo>
                    <a:pt x="18" y="7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15" name="Freeform 235">
              <a:extLst>
                <a:ext uri="{FF2B5EF4-FFF2-40B4-BE49-F238E27FC236}">
                  <a16:creationId xmlns:a16="http://schemas.microsoft.com/office/drawing/2014/main" id="{D8EF03B0-5B02-4329-A244-B2832CD8D87D}"/>
                </a:ext>
              </a:extLst>
            </p:cNvPr>
            <p:cNvSpPr>
              <a:spLocks/>
            </p:cNvSpPr>
            <p:nvPr/>
          </p:nvSpPr>
          <p:spPr bwMode="auto">
            <a:xfrm>
              <a:off x="4161369" y="3244621"/>
              <a:ext cx="116505" cy="111783"/>
            </a:xfrm>
            <a:custGeom>
              <a:avLst/>
              <a:gdLst>
                <a:gd name="T0" fmla="*/ 0 w 87"/>
                <a:gd name="T1" fmla="*/ 70 h 82"/>
                <a:gd name="T2" fmla="*/ 10 w 87"/>
                <a:gd name="T3" fmla="*/ 79 h 82"/>
                <a:gd name="T4" fmla="*/ 30 w 87"/>
                <a:gd name="T5" fmla="*/ 81 h 82"/>
                <a:gd name="T6" fmla="*/ 48 w 87"/>
                <a:gd name="T7" fmla="*/ 68 h 82"/>
                <a:gd name="T8" fmla="*/ 64 w 87"/>
                <a:gd name="T9" fmla="*/ 59 h 82"/>
                <a:gd name="T10" fmla="*/ 83 w 87"/>
                <a:gd name="T11" fmla="*/ 48 h 82"/>
                <a:gd name="T12" fmla="*/ 85 w 87"/>
                <a:gd name="T13" fmla="*/ 34 h 82"/>
                <a:gd name="T14" fmla="*/ 86 w 87"/>
                <a:gd name="T15" fmla="*/ 15 h 82"/>
                <a:gd name="T16" fmla="*/ 81 w 87"/>
                <a:gd name="T17" fmla="*/ 0 h 82"/>
                <a:gd name="T18" fmla="*/ 61 w 87"/>
                <a:gd name="T19" fmla="*/ 4 h 82"/>
                <a:gd name="T20" fmla="*/ 45 w 87"/>
                <a:gd name="T21" fmla="*/ 4 h 82"/>
                <a:gd name="T22" fmla="*/ 22 w 87"/>
                <a:gd name="T23" fmla="*/ 6 h 82"/>
                <a:gd name="T24" fmla="*/ 9 w 87"/>
                <a:gd name="T25" fmla="*/ 9 h 82"/>
                <a:gd name="T26" fmla="*/ 5 w 87"/>
                <a:gd name="T27" fmla="*/ 23 h 82"/>
                <a:gd name="T28" fmla="*/ 9 w 87"/>
                <a:gd name="T29" fmla="*/ 38 h 82"/>
                <a:gd name="T30" fmla="*/ 22 w 87"/>
                <a:gd name="T31" fmla="*/ 48 h 82"/>
                <a:gd name="T32" fmla="*/ 15 w 87"/>
                <a:gd name="T33" fmla="*/ 63 h 82"/>
                <a:gd name="T34" fmla="*/ 0 w 87"/>
                <a:gd name="T35" fmla="*/ 7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82">
                  <a:moveTo>
                    <a:pt x="0" y="70"/>
                  </a:moveTo>
                  <a:lnTo>
                    <a:pt x="10" y="79"/>
                  </a:lnTo>
                  <a:lnTo>
                    <a:pt x="30" y="81"/>
                  </a:lnTo>
                  <a:lnTo>
                    <a:pt x="48" y="68"/>
                  </a:lnTo>
                  <a:lnTo>
                    <a:pt x="64" y="59"/>
                  </a:lnTo>
                  <a:lnTo>
                    <a:pt x="83" y="48"/>
                  </a:lnTo>
                  <a:lnTo>
                    <a:pt x="85" y="34"/>
                  </a:lnTo>
                  <a:lnTo>
                    <a:pt x="86" y="15"/>
                  </a:lnTo>
                  <a:lnTo>
                    <a:pt x="81" y="0"/>
                  </a:lnTo>
                  <a:lnTo>
                    <a:pt x="61" y="4"/>
                  </a:lnTo>
                  <a:lnTo>
                    <a:pt x="45" y="4"/>
                  </a:lnTo>
                  <a:lnTo>
                    <a:pt x="22" y="6"/>
                  </a:lnTo>
                  <a:lnTo>
                    <a:pt x="9" y="9"/>
                  </a:lnTo>
                  <a:lnTo>
                    <a:pt x="5" y="23"/>
                  </a:lnTo>
                  <a:lnTo>
                    <a:pt x="9" y="38"/>
                  </a:lnTo>
                  <a:lnTo>
                    <a:pt x="22" y="48"/>
                  </a:lnTo>
                  <a:lnTo>
                    <a:pt x="15" y="63"/>
                  </a:lnTo>
                  <a:lnTo>
                    <a:pt x="0" y="7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16" name="Freeform 236">
              <a:extLst>
                <a:ext uri="{FF2B5EF4-FFF2-40B4-BE49-F238E27FC236}">
                  <a16:creationId xmlns:a16="http://schemas.microsoft.com/office/drawing/2014/main" id="{B9BC2D8E-DBE8-485D-9BCE-1FB53584FE9A}"/>
                </a:ext>
              </a:extLst>
            </p:cNvPr>
            <p:cNvSpPr>
              <a:spLocks/>
            </p:cNvSpPr>
            <p:nvPr/>
          </p:nvSpPr>
          <p:spPr bwMode="auto">
            <a:xfrm>
              <a:off x="4640466" y="3212513"/>
              <a:ext cx="255598" cy="229512"/>
            </a:xfrm>
            <a:custGeom>
              <a:avLst/>
              <a:gdLst>
                <a:gd name="T0" fmla="*/ 191 w 192"/>
                <a:gd name="T1" fmla="*/ 29 h 173"/>
                <a:gd name="T2" fmla="*/ 160 w 192"/>
                <a:gd name="T3" fmla="*/ 27 h 173"/>
                <a:gd name="T4" fmla="*/ 145 w 192"/>
                <a:gd name="T5" fmla="*/ 20 h 173"/>
                <a:gd name="T6" fmla="*/ 138 w 192"/>
                <a:gd name="T7" fmla="*/ 2 h 173"/>
                <a:gd name="T8" fmla="*/ 130 w 192"/>
                <a:gd name="T9" fmla="*/ 0 h 173"/>
                <a:gd name="T10" fmla="*/ 124 w 192"/>
                <a:gd name="T11" fmla="*/ 13 h 173"/>
                <a:gd name="T12" fmla="*/ 102 w 192"/>
                <a:gd name="T13" fmla="*/ 18 h 173"/>
                <a:gd name="T14" fmla="*/ 93 w 192"/>
                <a:gd name="T15" fmla="*/ 23 h 173"/>
                <a:gd name="T16" fmla="*/ 81 w 192"/>
                <a:gd name="T17" fmla="*/ 18 h 173"/>
                <a:gd name="T18" fmla="*/ 62 w 192"/>
                <a:gd name="T19" fmla="*/ 17 h 173"/>
                <a:gd name="T20" fmla="*/ 54 w 192"/>
                <a:gd name="T21" fmla="*/ 23 h 173"/>
                <a:gd name="T22" fmla="*/ 43 w 192"/>
                <a:gd name="T23" fmla="*/ 25 h 173"/>
                <a:gd name="T24" fmla="*/ 40 w 192"/>
                <a:gd name="T25" fmla="*/ 32 h 173"/>
                <a:gd name="T26" fmla="*/ 30 w 192"/>
                <a:gd name="T27" fmla="*/ 38 h 173"/>
                <a:gd name="T28" fmla="*/ 28 w 192"/>
                <a:gd name="T29" fmla="*/ 51 h 173"/>
                <a:gd name="T30" fmla="*/ 13 w 192"/>
                <a:gd name="T31" fmla="*/ 54 h 173"/>
                <a:gd name="T32" fmla="*/ 0 w 192"/>
                <a:gd name="T33" fmla="*/ 66 h 173"/>
                <a:gd name="T34" fmla="*/ 3 w 192"/>
                <a:gd name="T35" fmla="*/ 88 h 173"/>
                <a:gd name="T36" fmla="*/ 0 w 192"/>
                <a:gd name="T37" fmla="*/ 123 h 173"/>
                <a:gd name="T38" fmla="*/ 17 w 192"/>
                <a:gd name="T39" fmla="*/ 123 h 173"/>
                <a:gd name="T40" fmla="*/ 22 w 192"/>
                <a:gd name="T41" fmla="*/ 140 h 173"/>
                <a:gd name="T42" fmla="*/ 14 w 192"/>
                <a:gd name="T43" fmla="*/ 151 h 173"/>
                <a:gd name="T44" fmla="*/ 14 w 192"/>
                <a:gd name="T45" fmla="*/ 165 h 173"/>
                <a:gd name="T46" fmla="*/ 30 w 192"/>
                <a:gd name="T47" fmla="*/ 172 h 173"/>
                <a:gd name="T48" fmla="*/ 36 w 192"/>
                <a:gd name="T49" fmla="*/ 160 h 173"/>
                <a:gd name="T50" fmla="*/ 77 w 192"/>
                <a:gd name="T51" fmla="*/ 156 h 173"/>
                <a:gd name="T52" fmla="*/ 83 w 192"/>
                <a:gd name="T53" fmla="*/ 140 h 173"/>
                <a:gd name="T54" fmla="*/ 95 w 192"/>
                <a:gd name="T55" fmla="*/ 132 h 173"/>
                <a:gd name="T56" fmla="*/ 111 w 192"/>
                <a:gd name="T57" fmla="*/ 122 h 173"/>
                <a:gd name="T58" fmla="*/ 124 w 192"/>
                <a:gd name="T59" fmla="*/ 121 h 173"/>
                <a:gd name="T60" fmla="*/ 127 w 192"/>
                <a:gd name="T61" fmla="*/ 103 h 173"/>
                <a:gd name="T62" fmla="*/ 138 w 192"/>
                <a:gd name="T63" fmla="*/ 97 h 173"/>
                <a:gd name="T64" fmla="*/ 143 w 192"/>
                <a:gd name="T65" fmla="*/ 82 h 173"/>
                <a:gd name="T66" fmla="*/ 149 w 192"/>
                <a:gd name="T67" fmla="*/ 64 h 173"/>
                <a:gd name="T68" fmla="*/ 153 w 192"/>
                <a:gd name="T69" fmla="*/ 48 h 173"/>
                <a:gd name="T70" fmla="*/ 166 w 192"/>
                <a:gd name="T71" fmla="*/ 43 h 173"/>
                <a:gd name="T72" fmla="*/ 176 w 192"/>
                <a:gd name="T73" fmla="*/ 45 h 173"/>
                <a:gd name="T74" fmla="*/ 188 w 192"/>
                <a:gd name="T75" fmla="*/ 52 h 173"/>
                <a:gd name="T76" fmla="*/ 191 w 192"/>
                <a:gd name="T77" fmla="*/ 2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73">
                  <a:moveTo>
                    <a:pt x="191" y="29"/>
                  </a:moveTo>
                  <a:lnTo>
                    <a:pt x="160" y="27"/>
                  </a:lnTo>
                  <a:lnTo>
                    <a:pt x="145" y="20"/>
                  </a:lnTo>
                  <a:lnTo>
                    <a:pt x="138" y="2"/>
                  </a:lnTo>
                  <a:lnTo>
                    <a:pt x="130" y="0"/>
                  </a:lnTo>
                  <a:lnTo>
                    <a:pt x="124" y="13"/>
                  </a:lnTo>
                  <a:lnTo>
                    <a:pt x="102" y="18"/>
                  </a:lnTo>
                  <a:lnTo>
                    <a:pt x="93" y="23"/>
                  </a:lnTo>
                  <a:lnTo>
                    <a:pt x="81" y="18"/>
                  </a:lnTo>
                  <a:lnTo>
                    <a:pt x="62" y="17"/>
                  </a:lnTo>
                  <a:lnTo>
                    <a:pt x="54" y="23"/>
                  </a:lnTo>
                  <a:lnTo>
                    <a:pt x="43" y="25"/>
                  </a:lnTo>
                  <a:lnTo>
                    <a:pt x="40" y="32"/>
                  </a:lnTo>
                  <a:lnTo>
                    <a:pt x="30" y="38"/>
                  </a:lnTo>
                  <a:lnTo>
                    <a:pt x="28" y="51"/>
                  </a:lnTo>
                  <a:lnTo>
                    <a:pt x="13" y="54"/>
                  </a:lnTo>
                  <a:lnTo>
                    <a:pt x="0" y="66"/>
                  </a:lnTo>
                  <a:lnTo>
                    <a:pt x="3" y="88"/>
                  </a:lnTo>
                  <a:lnTo>
                    <a:pt x="0" y="123"/>
                  </a:lnTo>
                  <a:lnTo>
                    <a:pt x="17" y="123"/>
                  </a:lnTo>
                  <a:lnTo>
                    <a:pt x="22" y="140"/>
                  </a:lnTo>
                  <a:lnTo>
                    <a:pt x="14" y="151"/>
                  </a:lnTo>
                  <a:lnTo>
                    <a:pt x="14" y="165"/>
                  </a:lnTo>
                  <a:lnTo>
                    <a:pt x="30" y="172"/>
                  </a:lnTo>
                  <a:lnTo>
                    <a:pt x="36" y="160"/>
                  </a:lnTo>
                  <a:lnTo>
                    <a:pt x="77" y="156"/>
                  </a:lnTo>
                  <a:lnTo>
                    <a:pt x="83" y="140"/>
                  </a:lnTo>
                  <a:lnTo>
                    <a:pt x="95" y="132"/>
                  </a:lnTo>
                  <a:lnTo>
                    <a:pt x="111" y="122"/>
                  </a:lnTo>
                  <a:lnTo>
                    <a:pt x="124" y="121"/>
                  </a:lnTo>
                  <a:lnTo>
                    <a:pt x="127" y="103"/>
                  </a:lnTo>
                  <a:lnTo>
                    <a:pt x="138" y="97"/>
                  </a:lnTo>
                  <a:lnTo>
                    <a:pt x="143" y="82"/>
                  </a:lnTo>
                  <a:lnTo>
                    <a:pt x="149" y="64"/>
                  </a:lnTo>
                  <a:lnTo>
                    <a:pt x="153" y="48"/>
                  </a:lnTo>
                  <a:lnTo>
                    <a:pt x="166" y="43"/>
                  </a:lnTo>
                  <a:lnTo>
                    <a:pt x="176" y="45"/>
                  </a:lnTo>
                  <a:lnTo>
                    <a:pt x="188" y="52"/>
                  </a:lnTo>
                  <a:lnTo>
                    <a:pt x="191" y="2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17" name="Freeform 237">
              <a:extLst>
                <a:ext uri="{FF2B5EF4-FFF2-40B4-BE49-F238E27FC236}">
                  <a16:creationId xmlns:a16="http://schemas.microsoft.com/office/drawing/2014/main" id="{6DA459CC-5CD1-486D-BF14-3EE3EC8C87C1}"/>
                </a:ext>
              </a:extLst>
            </p:cNvPr>
            <p:cNvSpPr>
              <a:spLocks/>
            </p:cNvSpPr>
            <p:nvPr/>
          </p:nvSpPr>
          <p:spPr bwMode="auto">
            <a:xfrm>
              <a:off x="4483541" y="3128081"/>
              <a:ext cx="244898" cy="173621"/>
            </a:xfrm>
            <a:custGeom>
              <a:avLst/>
              <a:gdLst>
                <a:gd name="T0" fmla="*/ 181 w 184"/>
                <a:gd name="T1" fmla="*/ 82 h 131"/>
                <a:gd name="T2" fmla="*/ 174 w 184"/>
                <a:gd name="T3" fmla="*/ 88 h 131"/>
                <a:gd name="T4" fmla="*/ 163 w 184"/>
                <a:gd name="T5" fmla="*/ 89 h 131"/>
                <a:gd name="T6" fmla="*/ 159 w 184"/>
                <a:gd name="T7" fmla="*/ 97 h 131"/>
                <a:gd name="T8" fmla="*/ 149 w 184"/>
                <a:gd name="T9" fmla="*/ 103 h 131"/>
                <a:gd name="T10" fmla="*/ 147 w 184"/>
                <a:gd name="T11" fmla="*/ 116 h 131"/>
                <a:gd name="T12" fmla="*/ 132 w 184"/>
                <a:gd name="T13" fmla="*/ 119 h 131"/>
                <a:gd name="T14" fmla="*/ 119 w 184"/>
                <a:gd name="T15" fmla="*/ 130 h 131"/>
                <a:gd name="T16" fmla="*/ 124 w 184"/>
                <a:gd name="T17" fmla="*/ 98 h 131"/>
                <a:gd name="T18" fmla="*/ 104 w 184"/>
                <a:gd name="T19" fmla="*/ 88 h 131"/>
                <a:gd name="T20" fmla="*/ 81 w 184"/>
                <a:gd name="T21" fmla="*/ 71 h 131"/>
                <a:gd name="T22" fmla="*/ 66 w 184"/>
                <a:gd name="T23" fmla="*/ 70 h 131"/>
                <a:gd name="T24" fmla="*/ 40 w 184"/>
                <a:gd name="T25" fmla="*/ 65 h 131"/>
                <a:gd name="T26" fmla="*/ 33 w 184"/>
                <a:gd name="T27" fmla="*/ 77 h 131"/>
                <a:gd name="T28" fmla="*/ 19 w 184"/>
                <a:gd name="T29" fmla="*/ 83 h 131"/>
                <a:gd name="T30" fmla="*/ 16 w 184"/>
                <a:gd name="T31" fmla="*/ 65 h 131"/>
                <a:gd name="T32" fmla="*/ 14 w 184"/>
                <a:gd name="T33" fmla="*/ 55 h 131"/>
                <a:gd name="T34" fmla="*/ 11 w 184"/>
                <a:gd name="T35" fmla="*/ 48 h 131"/>
                <a:gd name="T36" fmla="*/ 9 w 184"/>
                <a:gd name="T37" fmla="*/ 31 h 131"/>
                <a:gd name="T38" fmla="*/ 3 w 184"/>
                <a:gd name="T39" fmla="*/ 25 h 131"/>
                <a:gd name="T40" fmla="*/ 7 w 184"/>
                <a:gd name="T41" fmla="*/ 19 h 131"/>
                <a:gd name="T42" fmla="*/ 0 w 184"/>
                <a:gd name="T43" fmla="*/ 14 h 131"/>
                <a:gd name="T44" fmla="*/ 1 w 184"/>
                <a:gd name="T45" fmla="*/ 3 h 131"/>
                <a:gd name="T46" fmla="*/ 16 w 184"/>
                <a:gd name="T47" fmla="*/ 19 h 131"/>
                <a:gd name="T48" fmla="*/ 24 w 184"/>
                <a:gd name="T49" fmla="*/ 6 h 131"/>
                <a:gd name="T50" fmla="*/ 37 w 184"/>
                <a:gd name="T51" fmla="*/ 0 h 131"/>
                <a:gd name="T52" fmla="*/ 49 w 184"/>
                <a:gd name="T53" fmla="*/ 5 h 131"/>
                <a:gd name="T54" fmla="*/ 49 w 184"/>
                <a:gd name="T55" fmla="*/ 14 h 131"/>
                <a:gd name="T56" fmla="*/ 63 w 184"/>
                <a:gd name="T57" fmla="*/ 19 h 131"/>
                <a:gd name="T58" fmla="*/ 81 w 184"/>
                <a:gd name="T59" fmla="*/ 24 h 131"/>
                <a:gd name="T60" fmla="*/ 83 w 184"/>
                <a:gd name="T61" fmla="*/ 14 h 131"/>
                <a:gd name="T62" fmla="*/ 92 w 184"/>
                <a:gd name="T63" fmla="*/ 11 h 131"/>
                <a:gd name="T64" fmla="*/ 102 w 184"/>
                <a:gd name="T65" fmla="*/ 6 h 131"/>
                <a:gd name="T66" fmla="*/ 107 w 184"/>
                <a:gd name="T67" fmla="*/ 14 h 131"/>
                <a:gd name="T68" fmla="*/ 114 w 184"/>
                <a:gd name="T69" fmla="*/ 20 h 131"/>
                <a:gd name="T70" fmla="*/ 111 w 184"/>
                <a:gd name="T71" fmla="*/ 28 h 131"/>
                <a:gd name="T72" fmla="*/ 122 w 184"/>
                <a:gd name="T73" fmla="*/ 31 h 131"/>
                <a:gd name="T74" fmla="*/ 129 w 184"/>
                <a:gd name="T75" fmla="*/ 31 h 131"/>
                <a:gd name="T76" fmla="*/ 137 w 184"/>
                <a:gd name="T77" fmla="*/ 34 h 131"/>
                <a:gd name="T78" fmla="*/ 133 w 184"/>
                <a:gd name="T79" fmla="*/ 46 h 131"/>
                <a:gd name="T80" fmla="*/ 167 w 184"/>
                <a:gd name="T81" fmla="*/ 72 h 131"/>
                <a:gd name="T82" fmla="*/ 175 w 184"/>
                <a:gd name="T83" fmla="*/ 68 h 131"/>
                <a:gd name="T84" fmla="*/ 183 w 184"/>
                <a:gd name="T85" fmla="*/ 71 h 131"/>
                <a:gd name="T86" fmla="*/ 181 w 184"/>
                <a:gd name="T87" fmla="*/ 8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4" h="131">
                  <a:moveTo>
                    <a:pt x="181" y="82"/>
                  </a:moveTo>
                  <a:lnTo>
                    <a:pt x="174" y="88"/>
                  </a:lnTo>
                  <a:lnTo>
                    <a:pt x="163" y="89"/>
                  </a:lnTo>
                  <a:lnTo>
                    <a:pt x="159" y="97"/>
                  </a:lnTo>
                  <a:lnTo>
                    <a:pt x="149" y="103"/>
                  </a:lnTo>
                  <a:lnTo>
                    <a:pt x="147" y="116"/>
                  </a:lnTo>
                  <a:lnTo>
                    <a:pt x="132" y="119"/>
                  </a:lnTo>
                  <a:lnTo>
                    <a:pt x="119" y="130"/>
                  </a:lnTo>
                  <a:lnTo>
                    <a:pt x="124" y="98"/>
                  </a:lnTo>
                  <a:lnTo>
                    <a:pt x="104" y="88"/>
                  </a:lnTo>
                  <a:lnTo>
                    <a:pt x="81" y="71"/>
                  </a:lnTo>
                  <a:lnTo>
                    <a:pt x="66" y="70"/>
                  </a:lnTo>
                  <a:lnTo>
                    <a:pt x="40" y="65"/>
                  </a:lnTo>
                  <a:lnTo>
                    <a:pt x="33" y="77"/>
                  </a:lnTo>
                  <a:lnTo>
                    <a:pt x="19" y="83"/>
                  </a:lnTo>
                  <a:lnTo>
                    <a:pt x="16" y="65"/>
                  </a:lnTo>
                  <a:lnTo>
                    <a:pt x="14" y="55"/>
                  </a:lnTo>
                  <a:lnTo>
                    <a:pt x="11" y="48"/>
                  </a:lnTo>
                  <a:lnTo>
                    <a:pt x="9" y="31"/>
                  </a:lnTo>
                  <a:lnTo>
                    <a:pt x="3" y="25"/>
                  </a:lnTo>
                  <a:lnTo>
                    <a:pt x="7" y="19"/>
                  </a:lnTo>
                  <a:lnTo>
                    <a:pt x="0" y="14"/>
                  </a:lnTo>
                  <a:lnTo>
                    <a:pt x="1" y="3"/>
                  </a:lnTo>
                  <a:lnTo>
                    <a:pt x="16" y="19"/>
                  </a:lnTo>
                  <a:lnTo>
                    <a:pt x="24" y="6"/>
                  </a:lnTo>
                  <a:lnTo>
                    <a:pt x="37" y="0"/>
                  </a:lnTo>
                  <a:lnTo>
                    <a:pt x="49" y="5"/>
                  </a:lnTo>
                  <a:lnTo>
                    <a:pt x="49" y="14"/>
                  </a:lnTo>
                  <a:lnTo>
                    <a:pt x="63" y="19"/>
                  </a:lnTo>
                  <a:lnTo>
                    <a:pt x="81" y="24"/>
                  </a:lnTo>
                  <a:lnTo>
                    <a:pt x="83" y="14"/>
                  </a:lnTo>
                  <a:lnTo>
                    <a:pt x="92" y="11"/>
                  </a:lnTo>
                  <a:lnTo>
                    <a:pt x="102" y="6"/>
                  </a:lnTo>
                  <a:lnTo>
                    <a:pt x="107" y="14"/>
                  </a:lnTo>
                  <a:lnTo>
                    <a:pt x="114" y="20"/>
                  </a:lnTo>
                  <a:lnTo>
                    <a:pt x="111" y="28"/>
                  </a:lnTo>
                  <a:lnTo>
                    <a:pt x="122" y="31"/>
                  </a:lnTo>
                  <a:lnTo>
                    <a:pt x="129" y="31"/>
                  </a:lnTo>
                  <a:lnTo>
                    <a:pt x="137" y="34"/>
                  </a:lnTo>
                  <a:lnTo>
                    <a:pt x="133" y="46"/>
                  </a:lnTo>
                  <a:lnTo>
                    <a:pt x="167" y="72"/>
                  </a:lnTo>
                  <a:lnTo>
                    <a:pt x="175" y="68"/>
                  </a:lnTo>
                  <a:lnTo>
                    <a:pt x="183" y="71"/>
                  </a:lnTo>
                  <a:lnTo>
                    <a:pt x="181" y="8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18" name="Freeform 238">
              <a:extLst>
                <a:ext uri="{FF2B5EF4-FFF2-40B4-BE49-F238E27FC236}">
                  <a16:creationId xmlns:a16="http://schemas.microsoft.com/office/drawing/2014/main" id="{1EF1C13A-5E27-4B43-AD33-4553942C7339}"/>
                </a:ext>
              </a:extLst>
            </p:cNvPr>
            <p:cNvSpPr>
              <a:spLocks/>
            </p:cNvSpPr>
            <p:nvPr/>
          </p:nvSpPr>
          <p:spPr bwMode="auto">
            <a:xfrm>
              <a:off x="4764104" y="3150676"/>
              <a:ext cx="154547" cy="101080"/>
            </a:xfrm>
            <a:custGeom>
              <a:avLst/>
              <a:gdLst>
                <a:gd name="T0" fmla="*/ 35 w 117"/>
                <a:gd name="T1" fmla="*/ 9 h 76"/>
                <a:gd name="T2" fmla="*/ 27 w 117"/>
                <a:gd name="T3" fmla="*/ 25 h 76"/>
                <a:gd name="T4" fmla="*/ 15 w 117"/>
                <a:gd name="T5" fmla="*/ 40 h 76"/>
                <a:gd name="T6" fmla="*/ 0 w 117"/>
                <a:gd name="T7" fmla="*/ 69 h 76"/>
                <a:gd name="T8" fmla="*/ 9 w 117"/>
                <a:gd name="T9" fmla="*/ 64 h 76"/>
                <a:gd name="T10" fmla="*/ 31 w 117"/>
                <a:gd name="T11" fmla="*/ 59 h 76"/>
                <a:gd name="T12" fmla="*/ 37 w 117"/>
                <a:gd name="T13" fmla="*/ 46 h 76"/>
                <a:gd name="T14" fmla="*/ 45 w 117"/>
                <a:gd name="T15" fmla="*/ 48 h 76"/>
                <a:gd name="T16" fmla="*/ 52 w 117"/>
                <a:gd name="T17" fmla="*/ 67 h 76"/>
                <a:gd name="T18" fmla="*/ 68 w 117"/>
                <a:gd name="T19" fmla="*/ 73 h 76"/>
                <a:gd name="T20" fmla="*/ 98 w 117"/>
                <a:gd name="T21" fmla="*/ 75 h 76"/>
                <a:gd name="T22" fmla="*/ 98 w 117"/>
                <a:gd name="T23" fmla="*/ 62 h 76"/>
                <a:gd name="T24" fmla="*/ 97 w 117"/>
                <a:gd name="T25" fmla="*/ 64 h 76"/>
                <a:gd name="T26" fmla="*/ 81 w 117"/>
                <a:gd name="T27" fmla="*/ 53 h 76"/>
                <a:gd name="T28" fmla="*/ 83 w 117"/>
                <a:gd name="T29" fmla="*/ 31 h 76"/>
                <a:gd name="T30" fmla="*/ 95 w 117"/>
                <a:gd name="T31" fmla="*/ 23 h 76"/>
                <a:gd name="T32" fmla="*/ 116 w 117"/>
                <a:gd name="T33" fmla="*/ 36 h 76"/>
                <a:gd name="T34" fmla="*/ 102 w 117"/>
                <a:gd name="T35" fmla="*/ 0 h 76"/>
                <a:gd name="T36" fmla="*/ 86 w 117"/>
                <a:gd name="T37" fmla="*/ 13 h 76"/>
                <a:gd name="T38" fmla="*/ 71 w 117"/>
                <a:gd name="T39" fmla="*/ 14 h 76"/>
                <a:gd name="T40" fmla="*/ 35 w 117"/>
                <a:gd name="T41"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76">
                  <a:moveTo>
                    <a:pt x="35" y="9"/>
                  </a:moveTo>
                  <a:lnTo>
                    <a:pt x="27" y="25"/>
                  </a:lnTo>
                  <a:lnTo>
                    <a:pt x="15" y="40"/>
                  </a:lnTo>
                  <a:lnTo>
                    <a:pt x="0" y="69"/>
                  </a:lnTo>
                  <a:lnTo>
                    <a:pt x="9" y="64"/>
                  </a:lnTo>
                  <a:lnTo>
                    <a:pt x="31" y="59"/>
                  </a:lnTo>
                  <a:lnTo>
                    <a:pt x="37" y="46"/>
                  </a:lnTo>
                  <a:lnTo>
                    <a:pt x="45" y="48"/>
                  </a:lnTo>
                  <a:lnTo>
                    <a:pt x="52" y="67"/>
                  </a:lnTo>
                  <a:lnTo>
                    <a:pt x="68" y="73"/>
                  </a:lnTo>
                  <a:lnTo>
                    <a:pt x="98" y="75"/>
                  </a:lnTo>
                  <a:lnTo>
                    <a:pt x="98" y="62"/>
                  </a:lnTo>
                  <a:lnTo>
                    <a:pt x="97" y="64"/>
                  </a:lnTo>
                  <a:lnTo>
                    <a:pt x="81" y="53"/>
                  </a:lnTo>
                  <a:lnTo>
                    <a:pt x="83" y="31"/>
                  </a:lnTo>
                  <a:lnTo>
                    <a:pt x="95" y="23"/>
                  </a:lnTo>
                  <a:lnTo>
                    <a:pt x="116" y="36"/>
                  </a:lnTo>
                  <a:lnTo>
                    <a:pt x="102" y="0"/>
                  </a:lnTo>
                  <a:lnTo>
                    <a:pt x="86" y="13"/>
                  </a:lnTo>
                  <a:lnTo>
                    <a:pt x="71" y="14"/>
                  </a:lnTo>
                  <a:lnTo>
                    <a:pt x="35" y="9"/>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19" name="Freeform 239">
              <a:extLst>
                <a:ext uri="{FF2B5EF4-FFF2-40B4-BE49-F238E27FC236}">
                  <a16:creationId xmlns:a16="http://schemas.microsoft.com/office/drawing/2014/main" id="{A9C9644E-5830-45A1-943F-3FD95E38A128}"/>
                </a:ext>
              </a:extLst>
            </p:cNvPr>
            <p:cNvSpPr>
              <a:spLocks/>
            </p:cNvSpPr>
            <p:nvPr/>
          </p:nvSpPr>
          <p:spPr bwMode="auto">
            <a:xfrm>
              <a:off x="4336127" y="3084082"/>
              <a:ext cx="101050" cy="115351"/>
            </a:xfrm>
            <a:custGeom>
              <a:avLst/>
              <a:gdLst>
                <a:gd name="T0" fmla="*/ 0 w 76"/>
                <a:gd name="T1" fmla="*/ 8 h 87"/>
                <a:gd name="T2" fmla="*/ 5 w 76"/>
                <a:gd name="T3" fmla="*/ 29 h 87"/>
                <a:gd name="T4" fmla="*/ 16 w 76"/>
                <a:gd name="T5" fmla="*/ 51 h 87"/>
                <a:gd name="T6" fmla="*/ 29 w 76"/>
                <a:gd name="T7" fmla="*/ 77 h 87"/>
                <a:gd name="T8" fmla="*/ 18 w 76"/>
                <a:gd name="T9" fmla="*/ 84 h 87"/>
                <a:gd name="T10" fmla="*/ 37 w 76"/>
                <a:gd name="T11" fmla="*/ 84 h 87"/>
                <a:gd name="T12" fmla="*/ 40 w 76"/>
                <a:gd name="T13" fmla="*/ 73 h 87"/>
                <a:gd name="T14" fmla="*/ 49 w 76"/>
                <a:gd name="T15" fmla="*/ 67 h 87"/>
                <a:gd name="T16" fmla="*/ 55 w 76"/>
                <a:gd name="T17" fmla="*/ 86 h 87"/>
                <a:gd name="T18" fmla="*/ 62 w 76"/>
                <a:gd name="T19" fmla="*/ 79 h 87"/>
                <a:gd name="T20" fmla="*/ 66 w 76"/>
                <a:gd name="T21" fmla="*/ 65 h 87"/>
                <a:gd name="T22" fmla="*/ 75 w 76"/>
                <a:gd name="T23" fmla="*/ 62 h 87"/>
                <a:gd name="T24" fmla="*/ 73 w 76"/>
                <a:gd name="T25" fmla="*/ 52 h 87"/>
                <a:gd name="T26" fmla="*/ 58 w 76"/>
                <a:gd name="T27" fmla="*/ 43 h 87"/>
                <a:gd name="T28" fmla="*/ 44 w 76"/>
                <a:gd name="T29" fmla="*/ 28 h 87"/>
                <a:gd name="T30" fmla="*/ 29 w 76"/>
                <a:gd name="T31" fmla="*/ 0 h 87"/>
                <a:gd name="T32" fmla="*/ 0 w 76"/>
                <a:gd name="T33" fmla="*/ 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87">
                  <a:moveTo>
                    <a:pt x="0" y="8"/>
                  </a:moveTo>
                  <a:lnTo>
                    <a:pt x="5" y="29"/>
                  </a:lnTo>
                  <a:lnTo>
                    <a:pt x="16" y="51"/>
                  </a:lnTo>
                  <a:lnTo>
                    <a:pt x="29" y="77"/>
                  </a:lnTo>
                  <a:lnTo>
                    <a:pt x="18" y="84"/>
                  </a:lnTo>
                  <a:lnTo>
                    <a:pt x="37" y="84"/>
                  </a:lnTo>
                  <a:lnTo>
                    <a:pt x="40" y="73"/>
                  </a:lnTo>
                  <a:lnTo>
                    <a:pt x="49" y="67"/>
                  </a:lnTo>
                  <a:lnTo>
                    <a:pt x="55" y="86"/>
                  </a:lnTo>
                  <a:lnTo>
                    <a:pt x="62" y="79"/>
                  </a:lnTo>
                  <a:lnTo>
                    <a:pt x="66" y="65"/>
                  </a:lnTo>
                  <a:lnTo>
                    <a:pt x="75" y="62"/>
                  </a:lnTo>
                  <a:lnTo>
                    <a:pt x="73" y="52"/>
                  </a:lnTo>
                  <a:lnTo>
                    <a:pt x="58" y="43"/>
                  </a:lnTo>
                  <a:lnTo>
                    <a:pt x="44" y="28"/>
                  </a:lnTo>
                  <a:lnTo>
                    <a:pt x="29" y="0"/>
                  </a:lnTo>
                  <a:lnTo>
                    <a:pt x="0" y="8"/>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20" name="Freeform 240">
              <a:extLst>
                <a:ext uri="{FF2B5EF4-FFF2-40B4-BE49-F238E27FC236}">
                  <a16:creationId xmlns:a16="http://schemas.microsoft.com/office/drawing/2014/main" id="{2F472392-5311-40B1-9EDA-53DDA759D0F6}"/>
                </a:ext>
              </a:extLst>
            </p:cNvPr>
            <p:cNvSpPr>
              <a:spLocks/>
            </p:cNvSpPr>
            <p:nvPr/>
          </p:nvSpPr>
          <p:spPr bwMode="auto">
            <a:xfrm>
              <a:off x="3797588" y="2952082"/>
              <a:ext cx="120071" cy="66594"/>
            </a:xfrm>
            <a:custGeom>
              <a:avLst/>
              <a:gdLst>
                <a:gd name="T0" fmla="*/ 88 w 89"/>
                <a:gd name="T1" fmla="*/ 13 h 50"/>
                <a:gd name="T2" fmla="*/ 76 w 89"/>
                <a:gd name="T3" fmla="*/ 3 h 50"/>
                <a:gd name="T4" fmla="*/ 69 w 89"/>
                <a:gd name="T5" fmla="*/ 0 h 50"/>
                <a:gd name="T6" fmla="*/ 46 w 89"/>
                <a:gd name="T7" fmla="*/ 5 h 50"/>
                <a:gd name="T8" fmla="*/ 30 w 89"/>
                <a:gd name="T9" fmla="*/ 5 h 50"/>
                <a:gd name="T10" fmla="*/ 9 w 89"/>
                <a:gd name="T11" fmla="*/ 2 h 50"/>
                <a:gd name="T12" fmla="*/ 11 w 89"/>
                <a:gd name="T13" fmla="*/ 16 h 50"/>
                <a:gd name="T14" fmla="*/ 5 w 89"/>
                <a:gd name="T15" fmla="*/ 25 h 50"/>
                <a:gd name="T16" fmla="*/ 5 w 89"/>
                <a:gd name="T17" fmla="*/ 29 h 50"/>
                <a:gd name="T18" fmla="*/ 0 w 89"/>
                <a:gd name="T19" fmla="*/ 35 h 50"/>
                <a:gd name="T20" fmla="*/ 6 w 89"/>
                <a:gd name="T21" fmla="*/ 37 h 50"/>
                <a:gd name="T22" fmla="*/ 21 w 89"/>
                <a:gd name="T23" fmla="*/ 46 h 50"/>
                <a:gd name="T24" fmla="*/ 38 w 89"/>
                <a:gd name="T25" fmla="*/ 49 h 50"/>
                <a:gd name="T26" fmla="*/ 47 w 89"/>
                <a:gd name="T27" fmla="*/ 41 h 50"/>
                <a:gd name="T28" fmla="*/ 58 w 89"/>
                <a:gd name="T29" fmla="*/ 42 h 50"/>
                <a:gd name="T30" fmla="*/ 71 w 89"/>
                <a:gd name="T31" fmla="*/ 38 h 50"/>
                <a:gd name="T32" fmla="*/ 82 w 89"/>
                <a:gd name="T33" fmla="*/ 22 h 50"/>
                <a:gd name="T34" fmla="*/ 88 w 89"/>
                <a:gd name="T35" fmla="*/ 1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50">
                  <a:moveTo>
                    <a:pt x="88" y="13"/>
                  </a:moveTo>
                  <a:lnTo>
                    <a:pt x="76" y="3"/>
                  </a:lnTo>
                  <a:lnTo>
                    <a:pt x="69" y="0"/>
                  </a:lnTo>
                  <a:lnTo>
                    <a:pt x="46" y="5"/>
                  </a:lnTo>
                  <a:lnTo>
                    <a:pt x="30" y="5"/>
                  </a:lnTo>
                  <a:lnTo>
                    <a:pt x="9" y="2"/>
                  </a:lnTo>
                  <a:lnTo>
                    <a:pt x="11" y="16"/>
                  </a:lnTo>
                  <a:lnTo>
                    <a:pt x="5" y="25"/>
                  </a:lnTo>
                  <a:lnTo>
                    <a:pt x="5" y="29"/>
                  </a:lnTo>
                  <a:lnTo>
                    <a:pt x="0" y="35"/>
                  </a:lnTo>
                  <a:lnTo>
                    <a:pt x="6" y="37"/>
                  </a:lnTo>
                  <a:lnTo>
                    <a:pt x="21" y="46"/>
                  </a:lnTo>
                  <a:lnTo>
                    <a:pt x="38" y="49"/>
                  </a:lnTo>
                  <a:lnTo>
                    <a:pt x="47" y="41"/>
                  </a:lnTo>
                  <a:lnTo>
                    <a:pt x="58" y="42"/>
                  </a:lnTo>
                  <a:lnTo>
                    <a:pt x="71" y="38"/>
                  </a:lnTo>
                  <a:lnTo>
                    <a:pt x="82" y="22"/>
                  </a:lnTo>
                  <a:lnTo>
                    <a:pt x="88" y="1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21" name="Freeform 241">
              <a:extLst>
                <a:ext uri="{FF2B5EF4-FFF2-40B4-BE49-F238E27FC236}">
                  <a16:creationId xmlns:a16="http://schemas.microsoft.com/office/drawing/2014/main" id="{3586D003-E3F0-43D2-BFC7-310A674EE04E}"/>
                </a:ext>
              </a:extLst>
            </p:cNvPr>
            <p:cNvSpPr>
              <a:spLocks/>
            </p:cNvSpPr>
            <p:nvPr/>
          </p:nvSpPr>
          <p:spPr bwMode="auto">
            <a:xfrm>
              <a:off x="3565767" y="2871218"/>
              <a:ext cx="63008" cy="51135"/>
            </a:xfrm>
            <a:custGeom>
              <a:avLst/>
              <a:gdLst>
                <a:gd name="T0" fmla="*/ 2 w 47"/>
                <a:gd name="T1" fmla="*/ 3 h 38"/>
                <a:gd name="T2" fmla="*/ 0 w 47"/>
                <a:gd name="T3" fmla="*/ 11 h 38"/>
                <a:gd name="T4" fmla="*/ 12 w 47"/>
                <a:gd name="T5" fmla="*/ 18 h 38"/>
                <a:gd name="T6" fmla="*/ 18 w 47"/>
                <a:gd name="T7" fmla="*/ 31 h 38"/>
                <a:gd name="T8" fmla="*/ 35 w 47"/>
                <a:gd name="T9" fmla="*/ 37 h 38"/>
                <a:gd name="T10" fmla="*/ 37 w 47"/>
                <a:gd name="T11" fmla="*/ 29 h 38"/>
                <a:gd name="T12" fmla="*/ 46 w 47"/>
                <a:gd name="T13" fmla="*/ 19 h 38"/>
                <a:gd name="T14" fmla="*/ 37 w 47"/>
                <a:gd name="T15" fmla="*/ 15 h 38"/>
                <a:gd name="T16" fmla="*/ 34 w 47"/>
                <a:gd name="T17" fmla="*/ 2 h 38"/>
                <a:gd name="T18" fmla="*/ 25 w 47"/>
                <a:gd name="T19" fmla="*/ 0 h 38"/>
                <a:gd name="T20" fmla="*/ 17 w 47"/>
                <a:gd name="T21" fmla="*/ 3 h 38"/>
                <a:gd name="T22" fmla="*/ 2 w 47"/>
                <a:gd name="T23"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38">
                  <a:moveTo>
                    <a:pt x="2" y="3"/>
                  </a:moveTo>
                  <a:lnTo>
                    <a:pt x="0" y="11"/>
                  </a:lnTo>
                  <a:lnTo>
                    <a:pt x="12" y="18"/>
                  </a:lnTo>
                  <a:lnTo>
                    <a:pt x="18" y="31"/>
                  </a:lnTo>
                  <a:lnTo>
                    <a:pt x="35" y="37"/>
                  </a:lnTo>
                  <a:lnTo>
                    <a:pt x="37" y="29"/>
                  </a:lnTo>
                  <a:lnTo>
                    <a:pt x="46" y="19"/>
                  </a:lnTo>
                  <a:lnTo>
                    <a:pt x="37" y="15"/>
                  </a:lnTo>
                  <a:lnTo>
                    <a:pt x="34" y="2"/>
                  </a:lnTo>
                  <a:lnTo>
                    <a:pt x="25" y="0"/>
                  </a:lnTo>
                  <a:lnTo>
                    <a:pt x="17" y="3"/>
                  </a:lnTo>
                  <a:lnTo>
                    <a:pt x="2" y="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22" name="Freeform 242">
              <a:extLst>
                <a:ext uri="{FF2B5EF4-FFF2-40B4-BE49-F238E27FC236}">
                  <a16:creationId xmlns:a16="http://schemas.microsoft.com/office/drawing/2014/main" id="{39362373-856D-4FA3-BE27-106ED8AA9B7F}"/>
                </a:ext>
              </a:extLst>
            </p:cNvPr>
            <p:cNvSpPr>
              <a:spLocks/>
            </p:cNvSpPr>
            <p:nvPr/>
          </p:nvSpPr>
          <p:spPr bwMode="auto">
            <a:xfrm>
              <a:off x="3656118" y="2703543"/>
              <a:ext cx="52308" cy="83243"/>
            </a:xfrm>
            <a:custGeom>
              <a:avLst/>
              <a:gdLst>
                <a:gd name="T0" fmla="*/ 30 w 39"/>
                <a:gd name="T1" fmla="*/ 58 h 63"/>
                <a:gd name="T2" fmla="*/ 14 w 39"/>
                <a:gd name="T3" fmla="*/ 62 h 63"/>
                <a:gd name="T4" fmla="*/ 8 w 39"/>
                <a:gd name="T5" fmla="*/ 48 h 63"/>
                <a:gd name="T6" fmla="*/ 0 w 39"/>
                <a:gd name="T7" fmla="*/ 43 h 63"/>
                <a:gd name="T8" fmla="*/ 0 w 39"/>
                <a:gd name="T9" fmla="*/ 19 h 63"/>
                <a:gd name="T10" fmla="*/ 18 w 39"/>
                <a:gd name="T11" fmla="*/ 17 h 63"/>
                <a:gd name="T12" fmla="*/ 27 w 39"/>
                <a:gd name="T13" fmla="*/ 0 h 63"/>
                <a:gd name="T14" fmla="*/ 38 w 39"/>
                <a:gd name="T15" fmla="*/ 17 h 63"/>
                <a:gd name="T16" fmla="*/ 28 w 39"/>
                <a:gd name="T17" fmla="*/ 42 h 63"/>
                <a:gd name="T18" fmla="*/ 30 w 39"/>
                <a:gd name="T19" fmla="*/ 5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63">
                  <a:moveTo>
                    <a:pt x="30" y="58"/>
                  </a:moveTo>
                  <a:lnTo>
                    <a:pt x="14" y="62"/>
                  </a:lnTo>
                  <a:lnTo>
                    <a:pt x="8" y="48"/>
                  </a:lnTo>
                  <a:lnTo>
                    <a:pt x="0" y="43"/>
                  </a:lnTo>
                  <a:lnTo>
                    <a:pt x="0" y="19"/>
                  </a:lnTo>
                  <a:lnTo>
                    <a:pt x="18" y="17"/>
                  </a:lnTo>
                  <a:lnTo>
                    <a:pt x="27" y="0"/>
                  </a:lnTo>
                  <a:lnTo>
                    <a:pt x="38" y="17"/>
                  </a:lnTo>
                  <a:lnTo>
                    <a:pt x="28" y="42"/>
                  </a:lnTo>
                  <a:lnTo>
                    <a:pt x="30" y="58"/>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23" name="Freeform 243">
              <a:extLst>
                <a:ext uri="{FF2B5EF4-FFF2-40B4-BE49-F238E27FC236}">
                  <a16:creationId xmlns:a16="http://schemas.microsoft.com/office/drawing/2014/main" id="{91E75BD0-546F-4D83-8722-40C67BFFC3B5}"/>
                </a:ext>
              </a:extLst>
            </p:cNvPr>
            <p:cNvSpPr>
              <a:spLocks/>
            </p:cNvSpPr>
            <p:nvPr/>
          </p:nvSpPr>
          <p:spPr bwMode="auto">
            <a:xfrm>
              <a:off x="3911715" y="3054352"/>
              <a:ext cx="109372" cy="82054"/>
            </a:xfrm>
            <a:custGeom>
              <a:avLst/>
              <a:gdLst>
                <a:gd name="T0" fmla="*/ 61 w 82"/>
                <a:gd name="T1" fmla="*/ 53 h 62"/>
                <a:gd name="T2" fmla="*/ 48 w 82"/>
                <a:gd name="T3" fmla="*/ 54 h 62"/>
                <a:gd name="T4" fmla="*/ 40 w 82"/>
                <a:gd name="T5" fmla="*/ 54 h 62"/>
                <a:gd name="T6" fmla="*/ 31 w 82"/>
                <a:gd name="T7" fmla="*/ 61 h 62"/>
                <a:gd name="T8" fmla="*/ 18 w 82"/>
                <a:gd name="T9" fmla="*/ 57 h 62"/>
                <a:gd name="T10" fmla="*/ 11 w 82"/>
                <a:gd name="T11" fmla="*/ 57 h 62"/>
                <a:gd name="T12" fmla="*/ 9 w 82"/>
                <a:gd name="T13" fmla="*/ 36 h 62"/>
                <a:gd name="T14" fmla="*/ 1 w 82"/>
                <a:gd name="T15" fmla="*/ 21 h 62"/>
                <a:gd name="T16" fmla="*/ 0 w 82"/>
                <a:gd name="T17" fmla="*/ 13 h 62"/>
                <a:gd name="T18" fmla="*/ 13 w 82"/>
                <a:gd name="T19" fmla="*/ 3 h 62"/>
                <a:gd name="T20" fmla="*/ 17 w 82"/>
                <a:gd name="T21" fmla="*/ 6 h 62"/>
                <a:gd name="T22" fmla="*/ 21 w 82"/>
                <a:gd name="T23" fmla="*/ 0 h 62"/>
                <a:gd name="T24" fmla="*/ 38 w 82"/>
                <a:gd name="T25" fmla="*/ 6 h 62"/>
                <a:gd name="T26" fmla="*/ 42 w 82"/>
                <a:gd name="T27" fmla="*/ 19 h 62"/>
                <a:gd name="T28" fmla="*/ 62 w 82"/>
                <a:gd name="T29" fmla="*/ 16 h 62"/>
                <a:gd name="T30" fmla="*/ 76 w 82"/>
                <a:gd name="T31" fmla="*/ 14 h 62"/>
                <a:gd name="T32" fmla="*/ 81 w 82"/>
                <a:gd name="T33" fmla="*/ 26 h 62"/>
                <a:gd name="T34" fmla="*/ 76 w 82"/>
                <a:gd name="T35" fmla="*/ 36 h 62"/>
                <a:gd name="T36" fmla="*/ 70 w 82"/>
                <a:gd name="T37" fmla="*/ 43 h 62"/>
                <a:gd name="T38" fmla="*/ 75 w 82"/>
                <a:gd name="T39" fmla="*/ 50 h 62"/>
                <a:gd name="T40" fmla="*/ 61 w 8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62">
                  <a:moveTo>
                    <a:pt x="61" y="53"/>
                  </a:moveTo>
                  <a:lnTo>
                    <a:pt x="48" y="54"/>
                  </a:lnTo>
                  <a:lnTo>
                    <a:pt x="40" y="54"/>
                  </a:lnTo>
                  <a:lnTo>
                    <a:pt x="31" y="61"/>
                  </a:lnTo>
                  <a:lnTo>
                    <a:pt x="18" y="57"/>
                  </a:lnTo>
                  <a:lnTo>
                    <a:pt x="11" y="57"/>
                  </a:lnTo>
                  <a:lnTo>
                    <a:pt x="9" y="36"/>
                  </a:lnTo>
                  <a:lnTo>
                    <a:pt x="1" y="21"/>
                  </a:lnTo>
                  <a:lnTo>
                    <a:pt x="0" y="13"/>
                  </a:lnTo>
                  <a:lnTo>
                    <a:pt x="13" y="3"/>
                  </a:lnTo>
                  <a:lnTo>
                    <a:pt x="17" y="6"/>
                  </a:lnTo>
                  <a:lnTo>
                    <a:pt x="21" y="0"/>
                  </a:lnTo>
                  <a:lnTo>
                    <a:pt x="38" y="6"/>
                  </a:lnTo>
                  <a:lnTo>
                    <a:pt x="42" y="19"/>
                  </a:lnTo>
                  <a:lnTo>
                    <a:pt x="62" y="16"/>
                  </a:lnTo>
                  <a:lnTo>
                    <a:pt x="76" y="14"/>
                  </a:lnTo>
                  <a:lnTo>
                    <a:pt x="81" y="26"/>
                  </a:lnTo>
                  <a:lnTo>
                    <a:pt x="76" y="36"/>
                  </a:lnTo>
                  <a:lnTo>
                    <a:pt x="70" y="43"/>
                  </a:lnTo>
                  <a:lnTo>
                    <a:pt x="75" y="50"/>
                  </a:lnTo>
                  <a:lnTo>
                    <a:pt x="61" y="5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24" name="Freeform 244">
              <a:extLst>
                <a:ext uri="{FF2B5EF4-FFF2-40B4-BE49-F238E27FC236}">
                  <a16:creationId xmlns:a16="http://schemas.microsoft.com/office/drawing/2014/main" id="{ACA0A2B0-93AA-496A-B523-2986732DFC0B}"/>
                </a:ext>
              </a:extLst>
            </p:cNvPr>
            <p:cNvSpPr>
              <a:spLocks/>
            </p:cNvSpPr>
            <p:nvPr/>
          </p:nvSpPr>
          <p:spPr bwMode="auto">
            <a:xfrm>
              <a:off x="3878428" y="2320627"/>
              <a:ext cx="185457" cy="322268"/>
            </a:xfrm>
            <a:custGeom>
              <a:avLst/>
              <a:gdLst>
                <a:gd name="T0" fmla="*/ 19 w 139"/>
                <a:gd name="T1" fmla="*/ 101 h 242"/>
                <a:gd name="T2" fmla="*/ 29 w 139"/>
                <a:gd name="T3" fmla="*/ 94 h 242"/>
                <a:gd name="T4" fmla="*/ 27 w 139"/>
                <a:gd name="T5" fmla="*/ 63 h 242"/>
                <a:gd name="T6" fmla="*/ 26 w 139"/>
                <a:gd name="T7" fmla="*/ 53 h 242"/>
                <a:gd name="T8" fmla="*/ 15 w 139"/>
                <a:gd name="T9" fmla="*/ 43 h 242"/>
                <a:gd name="T10" fmla="*/ 3 w 139"/>
                <a:gd name="T11" fmla="*/ 30 h 242"/>
                <a:gd name="T12" fmla="*/ 14 w 139"/>
                <a:gd name="T13" fmla="*/ 33 h 242"/>
                <a:gd name="T14" fmla="*/ 27 w 139"/>
                <a:gd name="T15" fmla="*/ 36 h 242"/>
                <a:gd name="T16" fmla="*/ 47 w 139"/>
                <a:gd name="T17" fmla="*/ 33 h 242"/>
                <a:gd name="T18" fmla="*/ 53 w 139"/>
                <a:gd name="T19" fmla="*/ 18 h 242"/>
                <a:gd name="T20" fmla="*/ 63 w 139"/>
                <a:gd name="T21" fmla="*/ 7 h 242"/>
                <a:gd name="T22" fmla="*/ 70 w 139"/>
                <a:gd name="T23" fmla="*/ 0 h 242"/>
                <a:gd name="T24" fmla="*/ 82 w 139"/>
                <a:gd name="T25" fmla="*/ 2 h 242"/>
                <a:gd name="T26" fmla="*/ 93 w 139"/>
                <a:gd name="T27" fmla="*/ 12 h 242"/>
                <a:gd name="T28" fmla="*/ 85 w 139"/>
                <a:gd name="T29" fmla="*/ 36 h 242"/>
                <a:gd name="T30" fmla="*/ 100 w 139"/>
                <a:gd name="T31" fmla="*/ 50 h 242"/>
                <a:gd name="T32" fmla="*/ 100 w 139"/>
                <a:gd name="T33" fmla="*/ 65 h 242"/>
                <a:gd name="T34" fmla="*/ 105 w 139"/>
                <a:gd name="T35" fmla="*/ 85 h 242"/>
                <a:gd name="T36" fmla="*/ 107 w 139"/>
                <a:gd name="T37" fmla="*/ 109 h 242"/>
                <a:gd name="T38" fmla="*/ 113 w 139"/>
                <a:gd name="T39" fmla="*/ 129 h 242"/>
                <a:gd name="T40" fmla="*/ 120 w 139"/>
                <a:gd name="T41" fmla="*/ 151 h 242"/>
                <a:gd name="T42" fmla="*/ 128 w 139"/>
                <a:gd name="T43" fmla="*/ 161 h 242"/>
                <a:gd name="T44" fmla="*/ 138 w 139"/>
                <a:gd name="T45" fmla="*/ 169 h 242"/>
                <a:gd name="T46" fmla="*/ 127 w 139"/>
                <a:gd name="T47" fmla="*/ 178 h 242"/>
                <a:gd name="T48" fmla="*/ 112 w 139"/>
                <a:gd name="T49" fmla="*/ 194 h 242"/>
                <a:gd name="T50" fmla="*/ 98 w 139"/>
                <a:gd name="T51" fmla="*/ 211 h 242"/>
                <a:gd name="T52" fmla="*/ 94 w 139"/>
                <a:gd name="T53" fmla="*/ 225 h 242"/>
                <a:gd name="T54" fmla="*/ 96 w 139"/>
                <a:gd name="T55" fmla="*/ 241 h 242"/>
                <a:gd name="T56" fmla="*/ 81 w 139"/>
                <a:gd name="T57" fmla="*/ 219 h 242"/>
                <a:gd name="T58" fmla="*/ 63 w 139"/>
                <a:gd name="T59" fmla="*/ 222 h 242"/>
                <a:gd name="T60" fmla="*/ 53 w 139"/>
                <a:gd name="T61" fmla="*/ 231 h 242"/>
                <a:gd name="T62" fmla="*/ 29 w 139"/>
                <a:gd name="T63" fmla="*/ 229 h 242"/>
                <a:gd name="T64" fmla="*/ 11 w 139"/>
                <a:gd name="T65" fmla="*/ 217 h 242"/>
                <a:gd name="T66" fmla="*/ 4 w 139"/>
                <a:gd name="T67" fmla="*/ 200 h 242"/>
                <a:gd name="T68" fmla="*/ 0 w 139"/>
                <a:gd name="T69" fmla="*/ 185 h 242"/>
                <a:gd name="T70" fmla="*/ 3 w 139"/>
                <a:gd name="T71" fmla="*/ 157 h 242"/>
                <a:gd name="T72" fmla="*/ 21 w 139"/>
                <a:gd name="T73" fmla="*/ 150 h 242"/>
                <a:gd name="T74" fmla="*/ 33 w 139"/>
                <a:gd name="T75" fmla="*/ 138 h 242"/>
                <a:gd name="T76" fmla="*/ 37 w 139"/>
                <a:gd name="T77" fmla="*/ 121 h 242"/>
                <a:gd name="T78" fmla="*/ 58 w 139"/>
                <a:gd name="T79" fmla="*/ 123 h 242"/>
                <a:gd name="T80" fmla="*/ 46 w 139"/>
                <a:gd name="T81" fmla="*/ 102 h 242"/>
                <a:gd name="T82" fmla="*/ 19 w 139"/>
                <a:gd name="T83" fmla="*/ 10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9" h="242">
                  <a:moveTo>
                    <a:pt x="19" y="101"/>
                  </a:moveTo>
                  <a:lnTo>
                    <a:pt x="29" y="94"/>
                  </a:lnTo>
                  <a:lnTo>
                    <a:pt x="27" y="63"/>
                  </a:lnTo>
                  <a:lnTo>
                    <a:pt x="26" y="53"/>
                  </a:lnTo>
                  <a:lnTo>
                    <a:pt x="15" y="43"/>
                  </a:lnTo>
                  <a:lnTo>
                    <a:pt x="3" y="30"/>
                  </a:lnTo>
                  <a:lnTo>
                    <a:pt x="14" y="33"/>
                  </a:lnTo>
                  <a:lnTo>
                    <a:pt x="27" y="36"/>
                  </a:lnTo>
                  <a:lnTo>
                    <a:pt x="47" y="33"/>
                  </a:lnTo>
                  <a:lnTo>
                    <a:pt x="53" y="18"/>
                  </a:lnTo>
                  <a:lnTo>
                    <a:pt x="63" y="7"/>
                  </a:lnTo>
                  <a:lnTo>
                    <a:pt x="70" y="0"/>
                  </a:lnTo>
                  <a:lnTo>
                    <a:pt x="82" y="2"/>
                  </a:lnTo>
                  <a:lnTo>
                    <a:pt x="93" y="12"/>
                  </a:lnTo>
                  <a:lnTo>
                    <a:pt x="85" y="36"/>
                  </a:lnTo>
                  <a:lnTo>
                    <a:pt x="100" y="50"/>
                  </a:lnTo>
                  <a:lnTo>
                    <a:pt x="100" y="65"/>
                  </a:lnTo>
                  <a:lnTo>
                    <a:pt x="105" y="85"/>
                  </a:lnTo>
                  <a:lnTo>
                    <a:pt x="107" y="109"/>
                  </a:lnTo>
                  <a:lnTo>
                    <a:pt x="113" y="129"/>
                  </a:lnTo>
                  <a:lnTo>
                    <a:pt x="120" y="151"/>
                  </a:lnTo>
                  <a:lnTo>
                    <a:pt x="128" y="161"/>
                  </a:lnTo>
                  <a:lnTo>
                    <a:pt x="138" y="169"/>
                  </a:lnTo>
                  <a:lnTo>
                    <a:pt x="127" y="178"/>
                  </a:lnTo>
                  <a:lnTo>
                    <a:pt x="112" y="194"/>
                  </a:lnTo>
                  <a:lnTo>
                    <a:pt x="98" y="211"/>
                  </a:lnTo>
                  <a:lnTo>
                    <a:pt x="94" y="225"/>
                  </a:lnTo>
                  <a:lnTo>
                    <a:pt x="96" y="241"/>
                  </a:lnTo>
                  <a:lnTo>
                    <a:pt x="81" y="219"/>
                  </a:lnTo>
                  <a:lnTo>
                    <a:pt x="63" y="222"/>
                  </a:lnTo>
                  <a:lnTo>
                    <a:pt x="53" y="231"/>
                  </a:lnTo>
                  <a:lnTo>
                    <a:pt x="29" y="229"/>
                  </a:lnTo>
                  <a:lnTo>
                    <a:pt x="11" y="217"/>
                  </a:lnTo>
                  <a:lnTo>
                    <a:pt x="4" y="200"/>
                  </a:lnTo>
                  <a:lnTo>
                    <a:pt x="0" y="185"/>
                  </a:lnTo>
                  <a:lnTo>
                    <a:pt x="3" y="157"/>
                  </a:lnTo>
                  <a:lnTo>
                    <a:pt x="21" y="150"/>
                  </a:lnTo>
                  <a:lnTo>
                    <a:pt x="33" y="138"/>
                  </a:lnTo>
                  <a:lnTo>
                    <a:pt x="37" y="121"/>
                  </a:lnTo>
                  <a:lnTo>
                    <a:pt x="58" y="123"/>
                  </a:lnTo>
                  <a:lnTo>
                    <a:pt x="46" y="102"/>
                  </a:lnTo>
                  <a:lnTo>
                    <a:pt x="19" y="101"/>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25" name="Freeform 245">
              <a:extLst>
                <a:ext uri="{FF2B5EF4-FFF2-40B4-BE49-F238E27FC236}">
                  <a16:creationId xmlns:a16="http://schemas.microsoft.com/office/drawing/2014/main" id="{32028542-719F-46E5-BCDB-369BC5D4373A}"/>
                </a:ext>
              </a:extLst>
            </p:cNvPr>
            <p:cNvSpPr>
              <a:spLocks/>
            </p:cNvSpPr>
            <p:nvPr/>
          </p:nvSpPr>
          <p:spPr bwMode="auto">
            <a:xfrm>
              <a:off x="3687027" y="2931866"/>
              <a:ext cx="126016" cy="77297"/>
            </a:xfrm>
            <a:custGeom>
              <a:avLst/>
              <a:gdLst>
                <a:gd name="T0" fmla="*/ 3 w 94"/>
                <a:gd name="T1" fmla="*/ 43 h 57"/>
                <a:gd name="T2" fmla="*/ 0 w 94"/>
                <a:gd name="T3" fmla="*/ 34 h 57"/>
                <a:gd name="T4" fmla="*/ 7 w 94"/>
                <a:gd name="T5" fmla="*/ 35 h 57"/>
                <a:gd name="T6" fmla="*/ 11 w 94"/>
                <a:gd name="T7" fmla="*/ 36 h 57"/>
                <a:gd name="T8" fmla="*/ 29 w 94"/>
                <a:gd name="T9" fmla="*/ 28 h 57"/>
                <a:gd name="T10" fmla="*/ 43 w 94"/>
                <a:gd name="T11" fmla="*/ 20 h 57"/>
                <a:gd name="T12" fmla="*/ 47 w 94"/>
                <a:gd name="T13" fmla="*/ 15 h 57"/>
                <a:gd name="T14" fmla="*/ 48 w 94"/>
                <a:gd name="T15" fmla="*/ 0 h 57"/>
                <a:gd name="T16" fmla="*/ 59 w 94"/>
                <a:gd name="T17" fmla="*/ 10 h 57"/>
                <a:gd name="T18" fmla="*/ 69 w 94"/>
                <a:gd name="T19" fmla="*/ 9 h 57"/>
                <a:gd name="T20" fmla="*/ 71 w 94"/>
                <a:gd name="T21" fmla="*/ 1 h 57"/>
                <a:gd name="T22" fmla="*/ 84 w 94"/>
                <a:gd name="T23" fmla="*/ 2 h 57"/>
                <a:gd name="T24" fmla="*/ 83 w 94"/>
                <a:gd name="T25" fmla="*/ 12 h 57"/>
                <a:gd name="T26" fmla="*/ 91 w 94"/>
                <a:gd name="T27" fmla="*/ 16 h 57"/>
                <a:gd name="T28" fmla="*/ 93 w 94"/>
                <a:gd name="T29" fmla="*/ 31 h 57"/>
                <a:gd name="T30" fmla="*/ 87 w 94"/>
                <a:gd name="T31" fmla="*/ 39 h 57"/>
                <a:gd name="T32" fmla="*/ 87 w 94"/>
                <a:gd name="T33" fmla="*/ 43 h 57"/>
                <a:gd name="T34" fmla="*/ 82 w 94"/>
                <a:gd name="T35" fmla="*/ 50 h 57"/>
                <a:gd name="T36" fmla="*/ 69 w 94"/>
                <a:gd name="T37" fmla="*/ 56 h 57"/>
                <a:gd name="T38" fmla="*/ 45 w 94"/>
                <a:gd name="T39" fmla="*/ 50 h 57"/>
                <a:gd name="T40" fmla="*/ 37 w 94"/>
                <a:gd name="T41" fmla="*/ 41 h 57"/>
                <a:gd name="T42" fmla="*/ 24 w 94"/>
                <a:gd name="T43" fmla="*/ 47 h 57"/>
                <a:gd name="T44" fmla="*/ 10 w 94"/>
                <a:gd name="T45" fmla="*/ 47 h 57"/>
                <a:gd name="T46" fmla="*/ 3 w 94"/>
                <a:gd name="T47" fmla="*/ 4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 h="57">
                  <a:moveTo>
                    <a:pt x="3" y="43"/>
                  </a:moveTo>
                  <a:lnTo>
                    <a:pt x="0" y="34"/>
                  </a:lnTo>
                  <a:lnTo>
                    <a:pt x="7" y="35"/>
                  </a:lnTo>
                  <a:lnTo>
                    <a:pt x="11" y="36"/>
                  </a:lnTo>
                  <a:lnTo>
                    <a:pt x="29" y="28"/>
                  </a:lnTo>
                  <a:lnTo>
                    <a:pt x="43" y="20"/>
                  </a:lnTo>
                  <a:lnTo>
                    <a:pt x="47" y="15"/>
                  </a:lnTo>
                  <a:lnTo>
                    <a:pt x="48" y="0"/>
                  </a:lnTo>
                  <a:lnTo>
                    <a:pt x="59" y="10"/>
                  </a:lnTo>
                  <a:lnTo>
                    <a:pt x="69" y="9"/>
                  </a:lnTo>
                  <a:lnTo>
                    <a:pt x="71" y="1"/>
                  </a:lnTo>
                  <a:lnTo>
                    <a:pt x="84" y="2"/>
                  </a:lnTo>
                  <a:lnTo>
                    <a:pt x="83" y="12"/>
                  </a:lnTo>
                  <a:lnTo>
                    <a:pt x="91" y="16"/>
                  </a:lnTo>
                  <a:lnTo>
                    <a:pt x="93" y="31"/>
                  </a:lnTo>
                  <a:lnTo>
                    <a:pt x="87" y="39"/>
                  </a:lnTo>
                  <a:lnTo>
                    <a:pt x="87" y="43"/>
                  </a:lnTo>
                  <a:lnTo>
                    <a:pt x="82" y="50"/>
                  </a:lnTo>
                  <a:lnTo>
                    <a:pt x="69" y="56"/>
                  </a:lnTo>
                  <a:lnTo>
                    <a:pt x="45" y="50"/>
                  </a:lnTo>
                  <a:lnTo>
                    <a:pt x="37" y="41"/>
                  </a:lnTo>
                  <a:lnTo>
                    <a:pt x="24" y="47"/>
                  </a:lnTo>
                  <a:lnTo>
                    <a:pt x="10" y="47"/>
                  </a:lnTo>
                  <a:lnTo>
                    <a:pt x="3" y="4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26" name="Freeform 246">
              <a:extLst>
                <a:ext uri="{FF2B5EF4-FFF2-40B4-BE49-F238E27FC236}">
                  <a16:creationId xmlns:a16="http://schemas.microsoft.com/office/drawing/2014/main" id="{4E106EB0-2761-402F-99B3-CC0DD526249A}"/>
                </a:ext>
              </a:extLst>
            </p:cNvPr>
            <p:cNvSpPr>
              <a:spLocks/>
            </p:cNvSpPr>
            <p:nvPr/>
          </p:nvSpPr>
          <p:spPr bwMode="auto">
            <a:xfrm>
              <a:off x="3761923" y="3213702"/>
              <a:ext cx="42798" cy="29730"/>
            </a:xfrm>
            <a:custGeom>
              <a:avLst/>
              <a:gdLst>
                <a:gd name="T0" fmla="*/ 28 w 32"/>
                <a:gd name="T1" fmla="*/ 0 h 22"/>
                <a:gd name="T2" fmla="*/ 16 w 32"/>
                <a:gd name="T3" fmla="*/ 3 h 22"/>
                <a:gd name="T4" fmla="*/ 0 w 32"/>
                <a:gd name="T5" fmla="*/ 2 h 22"/>
                <a:gd name="T6" fmla="*/ 3 w 32"/>
                <a:gd name="T7" fmla="*/ 6 h 22"/>
                <a:gd name="T8" fmla="*/ 6 w 32"/>
                <a:gd name="T9" fmla="*/ 14 h 22"/>
                <a:gd name="T10" fmla="*/ 14 w 32"/>
                <a:gd name="T11" fmla="*/ 15 h 22"/>
                <a:gd name="T12" fmla="*/ 31 w 32"/>
                <a:gd name="T13" fmla="*/ 21 h 22"/>
                <a:gd name="T14" fmla="*/ 30 w 32"/>
                <a:gd name="T15" fmla="*/ 11 h 22"/>
                <a:gd name="T16" fmla="*/ 28 w 32"/>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2">
                  <a:moveTo>
                    <a:pt x="28" y="0"/>
                  </a:moveTo>
                  <a:lnTo>
                    <a:pt x="16" y="3"/>
                  </a:lnTo>
                  <a:lnTo>
                    <a:pt x="0" y="2"/>
                  </a:lnTo>
                  <a:lnTo>
                    <a:pt x="3" y="6"/>
                  </a:lnTo>
                  <a:lnTo>
                    <a:pt x="6" y="14"/>
                  </a:lnTo>
                  <a:lnTo>
                    <a:pt x="14" y="15"/>
                  </a:lnTo>
                  <a:lnTo>
                    <a:pt x="31" y="21"/>
                  </a:lnTo>
                  <a:lnTo>
                    <a:pt x="30" y="11"/>
                  </a:lnTo>
                  <a:lnTo>
                    <a:pt x="28"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27" name="Freeform 247">
              <a:extLst>
                <a:ext uri="{FF2B5EF4-FFF2-40B4-BE49-F238E27FC236}">
                  <a16:creationId xmlns:a16="http://schemas.microsoft.com/office/drawing/2014/main" id="{810B968B-A96B-437A-BF68-71D5389CB77B}"/>
                </a:ext>
              </a:extLst>
            </p:cNvPr>
            <p:cNvSpPr>
              <a:spLocks/>
            </p:cNvSpPr>
            <p:nvPr/>
          </p:nvSpPr>
          <p:spPr bwMode="auto">
            <a:xfrm>
              <a:off x="3329190" y="2773705"/>
              <a:ext cx="78463" cy="99891"/>
            </a:xfrm>
            <a:custGeom>
              <a:avLst/>
              <a:gdLst>
                <a:gd name="T0" fmla="*/ 31 w 60"/>
                <a:gd name="T1" fmla="*/ 0 h 75"/>
                <a:gd name="T2" fmla="*/ 27 w 60"/>
                <a:gd name="T3" fmla="*/ 6 h 75"/>
                <a:gd name="T4" fmla="*/ 27 w 60"/>
                <a:gd name="T5" fmla="*/ 16 h 75"/>
                <a:gd name="T6" fmla="*/ 3 w 60"/>
                <a:gd name="T7" fmla="*/ 19 h 75"/>
                <a:gd name="T8" fmla="*/ 0 w 60"/>
                <a:gd name="T9" fmla="*/ 26 h 75"/>
                <a:gd name="T10" fmla="*/ 0 w 60"/>
                <a:gd name="T11" fmla="*/ 38 h 75"/>
                <a:gd name="T12" fmla="*/ 8 w 60"/>
                <a:gd name="T13" fmla="*/ 40 h 75"/>
                <a:gd name="T14" fmla="*/ 8 w 60"/>
                <a:gd name="T15" fmla="*/ 48 h 75"/>
                <a:gd name="T16" fmla="*/ 0 w 60"/>
                <a:gd name="T17" fmla="*/ 53 h 75"/>
                <a:gd name="T18" fmla="*/ 1 w 60"/>
                <a:gd name="T19" fmla="*/ 66 h 75"/>
                <a:gd name="T20" fmla="*/ 1 w 60"/>
                <a:gd name="T21" fmla="*/ 74 h 75"/>
                <a:gd name="T22" fmla="*/ 17 w 60"/>
                <a:gd name="T23" fmla="*/ 73 h 75"/>
                <a:gd name="T24" fmla="*/ 32 w 60"/>
                <a:gd name="T25" fmla="*/ 63 h 75"/>
                <a:gd name="T26" fmla="*/ 45 w 60"/>
                <a:gd name="T27" fmla="*/ 63 h 75"/>
                <a:gd name="T28" fmla="*/ 56 w 60"/>
                <a:gd name="T29" fmla="*/ 61 h 75"/>
                <a:gd name="T30" fmla="*/ 59 w 60"/>
                <a:gd name="T31" fmla="*/ 40 h 75"/>
                <a:gd name="T32" fmla="*/ 53 w 60"/>
                <a:gd name="T33" fmla="*/ 24 h 75"/>
                <a:gd name="T34" fmla="*/ 38 w 60"/>
                <a:gd name="T35" fmla="*/ 24 h 75"/>
                <a:gd name="T36" fmla="*/ 34 w 60"/>
                <a:gd name="T37" fmla="*/ 15 h 75"/>
                <a:gd name="T38" fmla="*/ 38 w 60"/>
                <a:gd name="T39" fmla="*/ 4 h 75"/>
                <a:gd name="T40" fmla="*/ 31 w 60"/>
                <a:gd name="T4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 h="75">
                  <a:moveTo>
                    <a:pt x="31" y="0"/>
                  </a:moveTo>
                  <a:lnTo>
                    <a:pt x="27" y="6"/>
                  </a:lnTo>
                  <a:lnTo>
                    <a:pt x="27" y="16"/>
                  </a:lnTo>
                  <a:lnTo>
                    <a:pt x="3" y="19"/>
                  </a:lnTo>
                  <a:lnTo>
                    <a:pt x="0" y="26"/>
                  </a:lnTo>
                  <a:lnTo>
                    <a:pt x="0" y="38"/>
                  </a:lnTo>
                  <a:lnTo>
                    <a:pt x="8" y="40"/>
                  </a:lnTo>
                  <a:lnTo>
                    <a:pt x="8" y="48"/>
                  </a:lnTo>
                  <a:lnTo>
                    <a:pt x="0" y="53"/>
                  </a:lnTo>
                  <a:lnTo>
                    <a:pt x="1" y="66"/>
                  </a:lnTo>
                  <a:lnTo>
                    <a:pt x="1" y="74"/>
                  </a:lnTo>
                  <a:lnTo>
                    <a:pt x="17" y="73"/>
                  </a:lnTo>
                  <a:lnTo>
                    <a:pt x="32" y="63"/>
                  </a:lnTo>
                  <a:lnTo>
                    <a:pt x="45" y="63"/>
                  </a:lnTo>
                  <a:lnTo>
                    <a:pt x="56" y="61"/>
                  </a:lnTo>
                  <a:lnTo>
                    <a:pt x="59" y="40"/>
                  </a:lnTo>
                  <a:lnTo>
                    <a:pt x="53" y="24"/>
                  </a:lnTo>
                  <a:lnTo>
                    <a:pt x="38" y="24"/>
                  </a:lnTo>
                  <a:lnTo>
                    <a:pt x="34" y="15"/>
                  </a:lnTo>
                  <a:lnTo>
                    <a:pt x="38" y="4"/>
                  </a:lnTo>
                  <a:lnTo>
                    <a:pt x="31"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28" name="Freeform 248">
              <a:extLst>
                <a:ext uri="{FF2B5EF4-FFF2-40B4-BE49-F238E27FC236}">
                  <a16:creationId xmlns:a16="http://schemas.microsoft.com/office/drawing/2014/main" id="{6A5E5401-1211-4409-B9DE-44A49A15C591}"/>
                </a:ext>
              </a:extLst>
            </p:cNvPr>
            <p:cNvSpPr>
              <a:spLocks/>
            </p:cNvSpPr>
            <p:nvPr/>
          </p:nvSpPr>
          <p:spPr bwMode="auto">
            <a:xfrm>
              <a:off x="3371988" y="2770137"/>
              <a:ext cx="43987" cy="35675"/>
            </a:xfrm>
            <a:custGeom>
              <a:avLst/>
              <a:gdLst>
                <a:gd name="T0" fmla="*/ 19 w 32"/>
                <a:gd name="T1" fmla="*/ 26 h 27"/>
                <a:gd name="T2" fmla="*/ 4 w 32"/>
                <a:gd name="T3" fmla="*/ 26 h 27"/>
                <a:gd name="T4" fmla="*/ 0 w 32"/>
                <a:gd name="T5" fmla="*/ 17 h 27"/>
                <a:gd name="T6" fmla="*/ 4 w 32"/>
                <a:gd name="T7" fmla="*/ 6 h 27"/>
                <a:gd name="T8" fmla="*/ 12 w 32"/>
                <a:gd name="T9" fmla="*/ 0 h 27"/>
                <a:gd name="T10" fmla="*/ 22 w 32"/>
                <a:gd name="T11" fmla="*/ 3 h 27"/>
                <a:gd name="T12" fmla="*/ 28 w 32"/>
                <a:gd name="T13" fmla="*/ 10 h 27"/>
                <a:gd name="T14" fmla="*/ 31 w 32"/>
                <a:gd name="T15" fmla="*/ 19 h 27"/>
                <a:gd name="T16" fmla="*/ 19 w 32"/>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7">
                  <a:moveTo>
                    <a:pt x="19" y="26"/>
                  </a:moveTo>
                  <a:lnTo>
                    <a:pt x="4" y="26"/>
                  </a:lnTo>
                  <a:lnTo>
                    <a:pt x="0" y="17"/>
                  </a:lnTo>
                  <a:lnTo>
                    <a:pt x="4" y="6"/>
                  </a:lnTo>
                  <a:lnTo>
                    <a:pt x="12" y="0"/>
                  </a:lnTo>
                  <a:lnTo>
                    <a:pt x="22" y="3"/>
                  </a:lnTo>
                  <a:lnTo>
                    <a:pt x="28" y="10"/>
                  </a:lnTo>
                  <a:lnTo>
                    <a:pt x="31" y="19"/>
                  </a:lnTo>
                  <a:lnTo>
                    <a:pt x="19" y="26"/>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29" name="Freeform 249">
              <a:extLst>
                <a:ext uri="{FF2B5EF4-FFF2-40B4-BE49-F238E27FC236}">
                  <a16:creationId xmlns:a16="http://schemas.microsoft.com/office/drawing/2014/main" id="{B3B0C811-2093-4386-9C3F-D4216A9AE692}"/>
                </a:ext>
              </a:extLst>
            </p:cNvPr>
            <p:cNvSpPr>
              <a:spLocks/>
            </p:cNvSpPr>
            <p:nvPr/>
          </p:nvSpPr>
          <p:spPr bwMode="auto">
            <a:xfrm>
              <a:off x="3402898" y="2676192"/>
              <a:ext cx="139093" cy="239026"/>
            </a:xfrm>
            <a:custGeom>
              <a:avLst/>
              <a:gdLst>
                <a:gd name="T0" fmla="*/ 16 w 104"/>
                <a:gd name="T1" fmla="*/ 2 h 180"/>
                <a:gd name="T2" fmla="*/ 10 w 104"/>
                <a:gd name="T3" fmla="*/ 14 h 180"/>
                <a:gd name="T4" fmla="*/ 0 w 104"/>
                <a:gd name="T5" fmla="*/ 25 h 180"/>
                <a:gd name="T6" fmla="*/ 8 w 104"/>
                <a:gd name="T7" fmla="*/ 29 h 180"/>
                <a:gd name="T8" fmla="*/ 10 w 104"/>
                <a:gd name="T9" fmla="*/ 36 h 180"/>
                <a:gd name="T10" fmla="*/ 10 w 104"/>
                <a:gd name="T11" fmla="*/ 46 h 180"/>
                <a:gd name="T12" fmla="*/ 2 w 104"/>
                <a:gd name="T13" fmla="*/ 51 h 180"/>
                <a:gd name="T14" fmla="*/ 5 w 104"/>
                <a:gd name="T15" fmla="*/ 59 h 180"/>
                <a:gd name="T16" fmla="*/ 14 w 104"/>
                <a:gd name="T17" fmla="*/ 61 h 180"/>
                <a:gd name="T18" fmla="*/ 16 w 104"/>
                <a:gd name="T19" fmla="*/ 69 h 180"/>
                <a:gd name="T20" fmla="*/ 13 w 104"/>
                <a:gd name="T21" fmla="*/ 76 h 180"/>
                <a:gd name="T22" fmla="*/ 36 w 104"/>
                <a:gd name="T23" fmla="*/ 81 h 180"/>
                <a:gd name="T24" fmla="*/ 41 w 104"/>
                <a:gd name="T25" fmla="*/ 89 h 180"/>
                <a:gd name="T26" fmla="*/ 48 w 104"/>
                <a:gd name="T27" fmla="*/ 92 h 180"/>
                <a:gd name="T28" fmla="*/ 46 w 104"/>
                <a:gd name="T29" fmla="*/ 99 h 180"/>
                <a:gd name="T30" fmla="*/ 34 w 104"/>
                <a:gd name="T31" fmla="*/ 107 h 180"/>
                <a:gd name="T32" fmla="*/ 24 w 104"/>
                <a:gd name="T33" fmla="*/ 107 h 180"/>
                <a:gd name="T34" fmla="*/ 22 w 104"/>
                <a:gd name="T35" fmla="*/ 118 h 180"/>
                <a:gd name="T36" fmla="*/ 26 w 104"/>
                <a:gd name="T37" fmla="*/ 124 h 180"/>
                <a:gd name="T38" fmla="*/ 24 w 104"/>
                <a:gd name="T39" fmla="*/ 135 h 180"/>
                <a:gd name="T40" fmla="*/ 16 w 104"/>
                <a:gd name="T41" fmla="*/ 139 h 180"/>
                <a:gd name="T42" fmla="*/ 39 w 104"/>
                <a:gd name="T43" fmla="*/ 144 h 180"/>
                <a:gd name="T44" fmla="*/ 37 w 104"/>
                <a:gd name="T45" fmla="*/ 148 h 180"/>
                <a:gd name="T46" fmla="*/ 29 w 104"/>
                <a:gd name="T47" fmla="*/ 149 h 180"/>
                <a:gd name="T48" fmla="*/ 19 w 104"/>
                <a:gd name="T49" fmla="*/ 159 h 180"/>
                <a:gd name="T50" fmla="*/ 11 w 104"/>
                <a:gd name="T51" fmla="*/ 170 h 180"/>
                <a:gd name="T52" fmla="*/ 10 w 104"/>
                <a:gd name="T53" fmla="*/ 179 h 180"/>
                <a:gd name="T54" fmla="*/ 31 w 104"/>
                <a:gd name="T55" fmla="*/ 171 h 180"/>
                <a:gd name="T56" fmla="*/ 45 w 104"/>
                <a:gd name="T57" fmla="*/ 164 h 180"/>
                <a:gd name="T58" fmla="*/ 63 w 104"/>
                <a:gd name="T59" fmla="*/ 168 h 180"/>
                <a:gd name="T60" fmla="*/ 79 w 104"/>
                <a:gd name="T61" fmla="*/ 158 h 180"/>
                <a:gd name="T62" fmla="*/ 97 w 104"/>
                <a:gd name="T63" fmla="*/ 154 h 180"/>
                <a:gd name="T64" fmla="*/ 86 w 104"/>
                <a:gd name="T65" fmla="*/ 144 h 180"/>
                <a:gd name="T66" fmla="*/ 92 w 104"/>
                <a:gd name="T67" fmla="*/ 139 h 180"/>
                <a:gd name="T68" fmla="*/ 102 w 104"/>
                <a:gd name="T69" fmla="*/ 141 h 180"/>
                <a:gd name="T70" fmla="*/ 103 w 104"/>
                <a:gd name="T71" fmla="*/ 118 h 180"/>
                <a:gd name="T72" fmla="*/ 84 w 104"/>
                <a:gd name="T73" fmla="*/ 112 h 180"/>
                <a:gd name="T74" fmla="*/ 84 w 104"/>
                <a:gd name="T75" fmla="*/ 97 h 180"/>
                <a:gd name="T76" fmla="*/ 81 w 104"/>
                <a:gd name="T77" fmla="*/ 88 h 180"/>
                <a:gd name="T78" fmla="*/ 71 w 104"/>
                <a:gd name="T79" fmla="*/ 84 h 180"/>
                <a:gd name="T80" fmla="*/ 73 w 104"/>
                <a:gd name="T81" fmla="*/ 72 h 180"/>
                <a:gd name="T82" fmla="*/ 63 w 104"/>
                <a:gd name="T83" fmla="*/ 69 h 180"/>
                <a:gd name="T84" fmla="*/ 66 w 104"/>
                <a:gd name="T85" fmla="*/ 52 h 180"/>
                <a:gd name="T86" fmla="*/ 42 w 104"/>
                <a:gd name="T87" fmla="*/ 35 h 180"/>
                <a:gd name="T88" fmla="*/ 55 w 104"/>
                <a:gd name="T89" fmla="*/ 31 h 180"/>
                <a:gd name="T90" fmla="*/ 56 w 104"/>
                <a:gd name="T91" fmla="*/ 15 h 180"/>
                <a:gd name="T92" fmla="*/ 34 w 104"/>
                <a:gd name="T93" fmla="*/ 15 h 180"/>
                <a:gd name="T94" fmla="*/ 34 w 104"/>
                <a:gd name="T95" fmla="*/ 0 h 180"/>
                <a:gd name="T96" fmla="*/ 16 w 104"/>
                <a:gd name="T97" fmla="*/ 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 h="180">
                  <a:moveTo>
                    <a:pt x="16" y="2"/>
                  </a:moveTo>
                  <a:lnTo>
                    <a:pt x="10" y="14"/>
                  </a:lnTo>
                  <a:lnTo>
                    <a:pt x="0" y="25"/>
                  </a:lnTo>
                  <a:lnTo>
                    <a:pt x="8" y="29"/>
                  </a:lnTo>
                  <a:lnTo>
                    <a:pt x="10" y="36"/>
                  </a:lnTo>
                  <a:lnTo>
                    <a:pt x="10" y="46"/>
                  </a:lnTo>
                  <a:lnTo>
                    <a:pt x="2" y="51"/>
                  </a:lnTo>
                  <a:lnTo>
                    <a:pt x="5" y="59"/>
                  </a:lnTo>
                  <a:lnTo>
                    <a:pt x="14" y="61"/>
                  </a:lnTo>
                  <a:lnTo>
                    <a:pt x="16" y="69"/>
                  </a:lnTo>
                  <a:lnTo>
                    <a:pt x="13" y="76"/>
                  </a:lnTo>
                  <a:lnTo>
                    <a:pt x="36" y="81"/>
                  </a:lnTo>
                  <a:lnTo>
                    <a:pt x="41" y="89"/>
                  </a:lnTo>
                  <a:lnTo>
                    <a:pt x="48" y="92"/>
                  </a:lnTo>
                  <a:lnTo>
                    <a:pt x="46" y="99"/>
                  </a:lnTo>
                  <a:lnTo>
                    <a:pt x="34" y="107"/>
                  </a:lnTo>
                  <a:lnTo>
                    <a:pt x="24" y="107"/>
                  </a:lnTo>
                  <a:lnTo>
                    <a:pt x="22" y="118"/>
                  </a:lnTo>
                  <a:lnTo>
                    <a:pt x="26" y="124"/>
                  </a:lnTo>
                  <a:lnTo>
                    <a:pt x="24" y="135"/>
                  </a:lnTo>
                  <a:lnTo>
                    <a:pt x="16" y="139"/>
                  </a:lnTo>
                  <a:lnTo>
                    <a:pt x="39" y="144"/>
                  </a:lnTo>
                  <a:lnTo>
                    <a:pt x="37" y="148"/>
                  </a:lnTo>
                  <a:lnTo>
                    <a:pt x="29" y="149"/>
                  </a:lnTo>
                  <a:lnTo>
                    <a:pt x="19" y="159"/>
                  </a:lnTo>
                  <a:lnTo>
                    <a:pt x="11" y="170"/>
                  </a:lnTo>
                  <a:lnTo>
                    <a:pt x="10" y="179"/>
                  </a:lnTo>
                  <a:lnTo>
                    <a:pt x="31" y="171"/>
                  </a:lnTo>
                  <a:lnTo>
                    <a:pt x="45" y="164"/>
                  </a:lnTo>
                  <a:lnTo>
                    <a:pt x="63" y="168"/>
                  </a:lnTo>
                  <a:lnTo>
                    <a:pt x="79" y="158"/>
                  </a:lnTo>
                  <a:lnTo>
                    <a:pt x="97" y="154"/>
                  </a:lnTo>
                  <a:lnTo>
                    <a:pt x="86" y="144"/>
                  </a:lnTo>
                  <a:lnTo>
                    <a:pt x="92" y="139"/>
                  </a:lnTo>
                  <a:lnTo>
                    <a:pt x="102" y="141"/>
                  </a:lnTo>
                  <a:lnTo>
                    <a:pt x="103" y="118"/>
                  </a:lnTo>
                  <a:lnTo>
                    <a:pt x="84" y="112"/>
                  </a:lnTo>
                  <a:lnTo>
                    <a:pt x="84" y="97"/>
                  </a:lnTo>
                  <a:lnTo>
                    <a:pt x="81" y="88"/>
                  </a:lnTo>
                  <a:lnTo>
                    <a:pt x="71" y="84"/>
                  </a:lnTo>
                  <a:lnTo>
                    <a:pt x="73" y="72"/>
                  </a:lnTo>
                  <a:lnTo>
                    <a:pt x="63" y="69"/>
                  </a:lnTo>
                  <a:lnTo>
                    <a:pt x="66" y="52"/>
                  </a:lnTo>
                  <a:lnTo>
                    <a:pt x="42" y="35"/>
                  </a:lnTo>
                  <a:lnTo>
                    <a:pt x="55" y="31"/>
                  </a:lnTo>
                  <a:lnTo>
                    <a:pt x="56" y="15"/>
                  </a:lnTo>
                  <a:lnTo>
                    <a:pt x="34" y="15"/>
                  </a:lnTo>
                  <a:lnTo>
                    <a:pt x="34" y="0"/>
                  </a:lnTo>
                  <a:lnTo>
                    <a:pt x="16" y="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30" name="Freeform 250">
              <a:extLst>
                <a:ext uri="{FF2B5EF4-FFF2-40B4-BE49-F238E27FC236}">
                  <a16:creationId xmlns:a16="http://schemas.microsoft.com/office/drawing/2014/main" id="{EF1B368F-94D6-466A-8CAC-FB389F01F04C}"/>
                </a:ext>
              </a:extLst>
            </p:cNvPr>
            <p:cNvSpPr>
              <a:spLocks/>
            </p:cNvSpPr>
            <p:nvPr/>
          </p:nvSpPr>
          <p:spPr bwMode="auto">
            <a:xfrm>
              <a:off x="3481360" y="2614355"/>
              <a:ext cx="20210" cy="23784"/>
            </a:xfrm>
            <a:custGeom>
              <a:avLst/>
              <a:gdLst>
                <a:gd name="T0" fmla="*/ 11 w 15"/>
                <a:gd name="T1" fmla="*/ 0 h 19"/>
                <a:gd name="T2" fmla="*/ 0 w 15"/>
                <a:gd name="T3" fmla="*/ 9 h 19"/>
                <a:gd name="T4" fmla="*/ 4 w 15"/>
                <a:gd name="T5" fmla="*/ 18 h 19"/>
                <a:gd name="T6" fmla="*/ 14 w 15"/>
                <a:gd name="T7" fmla="*/ 18 h 19"/>
                <a:gd name="T8" fmla="*/ 11 w 15"/>
                <a:gd name="T9" fmla="*/ 0 h 19"/>
              </a:gdLst>
              <a:ahLst/>
              <a:cxnLst>
                <a:cxn ang="0">
                  <a:pos x="T0" y="T1"/>
                </a:cxn>
                <a:cxn ang="0">
                  <a:pos x="T2" y="T3"/>
                </a:cxn>
                <a:cxn ang="0">
                  <a:pos x="T4" y="T5"/>
                </a:cxn>
                <a:cxn ang="0">
                  <a:pos x="T6" y="T7"/>
                </a:cxn>
                <a:cxn ang="0">
                  <a:pos x="T8" y="T9"/>
                </a:cxn>
              </a:cxnLst>
              <a:rect l="0" t="0" r="r" b="b"/>
              <a:pathLst>
                <a:path w="15" h="19">
                  <a:moveTo>
                    <a:pt x="11" y="0"/>
                  </a:moveTo>
                  <a:lnTo>
                    <a:pt x="0" y="9"/>
                  </a:lnTo>
                  <a:lnTo>
                    <a:pt x="4" y="18"/>
                  </a:lnTo>
                  <a:lnTo>
                    <a:pt x="14" y="18"/>
                  </a:lnTo>
                  <a:lnTo>
                    <a:pt x="11"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31" name="Freeform 251">
              <a:extLst>
                <a:ext uri="{FF2B5EF4-FFF2-40B4-BE49-F238E27FC236}">
                  <a16:creationId xmlns:a16="http://schemas.microsoft.com/office/drawing/2014/main" id="{22388B23-E8A1-42E9-9A0D-545EE5A69D67}"/>
                </a:ext>
              </a:extLst>
            </p:cNvPr>
            <p:cNvSpPr>
              <a:spLocks/>
            </p:cNvSpPr>
            <p:nvPr/>
          </p:nvSpPr>
          <p:spPr bwMode="auto">
            <a:xfrm>
              <a:off x="3596676" y="2281384"/>
              <a:ext cx="470775" cy="407890"/>
            </a:xfrm>
            <a:custGeom>
              <a:avLst/>
              <a:gdLst>
                <a:gd name="T0" fmla="*/ 303 w 352"/>
                <a:gd name="T1" fmla="*/ 42 h 306"/>
                <a:gd name="T2" fmla="*/ 280 w 352"/>
                <a:gd name="T3" fmla="*/ 30 h 306"/>
                <a:gd name="T4" fmla="*/ 263 w 352"/>
                <a:gd name="T5" fmla="*/ 48 h 306"/>
                <a:gd name="T6" fmla="*/ 237 w 352"/>
                <a:gd name="T7" fmla="*/ 66 h 306"/>
                <a:gd name="T8" fmla="*/ 213 w 352"/>
                <a:gd name="T9" fmla="*/ 61 h 306"/>
                <a:gd name="T10" fmla="*/ 197 w 352"/>
                <a:gd name="T11" fmla="*/ 78 h 306"/>
                <a:gd name="T12" fmla="*/ 173 w 352"/>
                <a:gd name="T13" fmla="*/ 78 h 306"/>
                <a:gd name="T14" fmla="*/ 158 w 352"/>
                <a:gd name="T15" fmla="*/ 90 h 306"/>
                <a:gd name="T16" fmla="*/ 148 w 352"/>
                <a:gd name="T17" fmla="*/ 100 h 306"/>
                <a:gd name="T18" fmla="*/ 138 w 352"/>
                <a:gd name="T19" fmla="*/ 117 h 306"/>
                <a:gd name="T20" fmla="*/ 124 w 352"/>
                <a:gd name="T21" fmla="*/ 129 h 306"/>
                <a:gd name="T22" fmla="*/ 115 w 352"/>
                <a:gd name="T23" fmla="*/ 151 h 306"/>
                <a:gd name="T24" fmla="*/ 117 w 352"/>
                <a:gd name="T25" fmla="*/ 172 h 306"/>
                <a:gd name="T26" fmla="*/ 96 w 352"/>
                <a:gd name="T27" fmla="*/ 174 h 306"/>
                <a:gd name="T28" fmla="*/ 96 w 352"/>
                <a:gd name="T29" fmla="*/ 210 h 306"/>
                <a:gd name="T30" fmla="*/ 107 w 352"/>
                <a:gd name="T31" fmla="*/ 242 h 306"/>
                <a:gd name="T32" fmla="*/ 96 w 352"/>
                <a:gd name="T33" fmla="*/ 267 h 306"/>
                <a:gd name="T34" fmla="*/ 87 w 352"/>
                <a:gd name="T35" fmla="*/ 295 h 306"/>
                <a:gd name="T36" fmla="*/ 55 w 352"/>
                <a:gd name="T37" fmla="*/ 292 h 306"/>
                <a:gd name="T38" fmla="*/ 33 w 352"/>
                <a:gd name="T39" fmla="*/ 303 h 306"/>
                <a:gd name="T40" fmla="*/ 15 w 352"/>
                <a:gd name="T41" fmla="*/ 287 h 306"/>
                <a:gd name="T42" fmla="*/ 11 w 352"/>
                <a:gd name="T43" fmla="*/ 256 h 306"/>
                <a:gd name="T44" fmla="*/ 0 w 352"/>
                <a:gd name="T45" fmla="*/ 218 h 306"/>
                <a:gd name="T46" fmla="*/ 14 w 352"/>
                <a:gd name="T47" fmla="*/ 205 h 306"/>
                <a:gd name="T48" fmla="*/ 40 w 352"/>
                <a:gd name="T49" fmla="*/ 199 h 306"/>
                <a:gd name="T50" fmla="*/ 60 w 352"/>
                <a:gd name="T51" fmla="*/ 189 h 306"/>
                <a:gd name="T52" fmla="*/ 82 w 352"/>
                <a:gd name="T53" fmla="*/ 165 h 306"/>
                <a:gd name="T54" fmla="*/ 94 w 352"/>
                <a:gd name="T55" fmla="*/ 144 h 306"/>
                <a:gd name="T56" fmla="*/ 102 w 352"/>
                <a:gd name="T57" fmla="*/ 117 h 306"/>
                <a:gd name="T58" fmla="*/ 129 w 352"/>
                <a:gd name="T59" fmla="*/ 87 h 306"/>
                <a:gd name="T60" fmla="*/ 163 w 352"/>
                <a:gd name="T61" fmla="*/ 74 h 306"/>
                <a:gd name="T62" fmla="*/ 195 w 352"/>
                <a:gd name="T63" fmla="*/ 64 h 306"/>
                <a:gd name="T64" fmla="*/ 212 w 352"/>
                <a:gd name="T65" fmla="*/ 46 h 306"/>
                <a:gd name="T66" fmla="*/ 198 w 352"/>
                <a:gd name="T67" fmla="*/ 23 h 306"/>
                <a:gd name="T68" fmla="*/ 218 w 352"/>
                <a:gd name="T69" fmla="*/ 8 h 306"/>
                <a:gd name="T70" fmla="*/ 229 w 352"/>
                <a:gd name="T71" fmla="*/ 25 h 306"/>
                <a:gd name="T72" fmla="*/ 236 w 352"/>
                <a:gd name="T73" fmla="*/ 17 h 306"/>
                <a:gd name="T74" fmla="*/ 248 w 352"/>
                <a:gd name="T75" fmla="*/ 26 h 306"/>
                <a:gd name="T76" fmla="*/ 246 w 352"/>
                <a:gd name="T77" fmla="*/ 10 h 306"/>
                <a:gd name="T78" fmla="*/ 271 w 352"/>
                <a:gd name="T79" fmla="*/ 12 h 306"/>
                <a:gd name="T80" fmla="*/ 282 w 352"/>
                <a:gd name="T81" fmla="*/ 14 h 306"/>
                <a:gd name="T82" fmla="*/ 309 w 352"/>
                <a:gd name="T83" fmla="*/ 5 h 306"/>
                <a:gd name="T84" fmla="*/ 322 w 352"/>
                <a:gd name="T85" fmla="*/ 26 h 306"/>
                <a:gd name="T86" fmla="*/ 333 w 352"/>
                <a:gd name="T87" fmla="*/ 48 h 306"/>
                <a:gd name="T88" fmla="*/ 310 w 352"/>
                <a:gd name="T89" fmla="*/ 80 h 306"/>
                <a:gd name="T90" fmla="*/ 303 w 352"/>
                <a:gd name="T91" fmla="*/ 4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2" h="306">
                  <a:moveTo>
                    <a:pt x="295" y="66"/>
                  </a:moveTo>
                  <a:lnTo>
                    <a:pt x="303" y="42"/>
                  </a:lnTo>
                  <a:lnTo>
                    <a:pt x="292" y="32"/>
                  </a:lnTo>
                  <a:lnTo>
                    <a:pt x="280" y="30"/>
                  </a:lnTo>
                  <a:lnTo>
                    <a:pt x="273" y="37"/>
                  </a:lnTo>
                  <a:lnTo>
                    <a:pt x="263" y="48"/>
                  </a:lnTo>
                  <a:lnTo>
                    <a:pt x="258" y="63"/>
                  </a:lnTo>
                  <a:lnTo>
                    <a:pt x="237" y="66"/>
                  </a:lnTo>
                  <a:lnTo>
                    <a:pt x="224" y="63"/>
                  </a:lnTo>
                  <a:lnTo>
                    <a:pt x="213" y="61"/>
                  </a:lnTo>
                  <a:lnTo>
                    <a:pt x="205" y="68"/>
                  </a:lnTo>
                  <a:lnTo>
                    <a:pt x="197" y="78"/>
                  </a:lnTo>
                  <a:lnTo>
                    <a:pt x="184" y="78"/>
                  </a:lnTo>
                  <a:lnTo>
                    <a:pt x="173" y="78"/>
                  </a:lnTo>
                  <a:lnTo>
                    <a:pt x="166" y="85"/>
                  </a:lnTo>
                  <a:lnTo>
                    <a:pt x="158" y="90"/>
                  </a:lnTo>
                  <a:lnTo>
                    <a:pt x="150" y="87"/>
                  </a:lnTo>
                  <a:lnTo>
                    <a:pt x="148" y="100"/>
                  </a:lnTo>
                  <a:lnTo>
                    <a:pt x="140" y="104"/>
                  </a:lnTo>
                  <a:lnTo>
                    <a:pt x="138" y="117"/>
                  </a:lnTo>
                  <a:lnTo>
                    <a:pt x="128" y="117"/>
                  </a:lnTo>
                  <a:lnTo>
                    <a:pt x="124" y="129"/>
                  </a:lnTo>
                  <a:lnTo>
                    <a:pt x="117" y="133"/>
                  </a:lnTo>
                  <a:lnTo>
                    <a:pt x="115" y="151"/>
                  </a:lnTo>
                  <a:lnTo>
                    <a:pt x="108" y="165"/>
                  </a:lnTo>
                  <a:lnTo>
                    <a:pt x="117" y="172"/>
                  </a:lnTo>
                  <a:lnTo>
                    <a:pt x="110" y="177"/>
                  </a:lnTo>
                  <a:lnTo>
                    <a:pt x="96" y="174"/>
                  </a:lnTo>
                  <a:lnTo>
                    <a:pt x="93" y="184"/>
                  </a:lnTo>
                  <a:lnTo>
                    <a:pt x="96" y="210"/>
                  </a:lnTo>
                  <a:lnTo>
                    <a:pt x="99" y="226"/>
                  </a:lnTo>
                  <a:lnTo>
                    <a:pt x="107" y="242"/>
                  </a:lnTo>
                  <a:lnTo>
                    <a:pt x="110" y="259"/>
                  </a:lnTo>
                  <a:lnTo>
                    <a:pt x="96" y="267"/>
                  </a:lnTo>
                  <a:lnTo>
                    <a:pt x="92" y="286"/>
                  </a:lnTo>
                  <a:lnTo>
                    <a:pt x="87" y="295"/>
                  </a:lnTo>
                  <a:lnTo>
                    <a:pt x="76" y="289"/>
                  </a:lnTo>
                  <a:lnTo>
                    <a:pt x="55" y="292"/>
                  </a:lnTo>
                  <a:lnTo>
                    <a:pt x="44" y="300"/>
                  </a:lnTo>
                  <a:lnTo>
                    <a:pt x="33" y="303"/>
                  </a:lnTo>
                  <a:lnTo>
                    <a:pt x="16" y="305"/>
                  </a:lnTo>
                  <a:lnTo>
                    <a:pt x="15" y="287"/>
                  </a:lnTo>
                  <a:lnTo>
                    <a:pt x="8" y="282"/>
                  </a:lnTo>
                  <a:lnTo>
                    <a:pt x="11" y="256"/>
                  </a:lnTo>
                  <a:lnTo>
                    <a:pt x="1" y="255"/>
                  </a:lnTo>
                  <a:lnTo>
                    <a:pt x="0" y="218"/>
                  </a:lnTo>
                  <a:lnTo>
                    <a:pt x="11" y="214"/>
                  </a:lnTo>
                  <a:lnTo>
                    <a:pt x="14" y="205"/>
                  </a:lnTo>
                  <a:lnTo>
                    <a:pt x="27" y="200"/>
                  </a:lnTo>
                  <a:lnTo>
                    <a:pt x="40" y="199"/>
                  </a:lnTo>
                  <a:lnTo>
                    <a:pt x="45" y="191"/>
                  </a:lnTo>
                  <a:lnTo>
                    <a:pt x="60" y="189"/>
                  </a:lnTo>
                  <a:lnTo>
                    <a:pt x="62" y="172"/>
                  </a:lnTo>
                  <a:lnTo>
                    <a:pt x="82" y="165"/>
                  </a:lnTo>
                  <a:lnTo>
                    <a:pt x="84" y="151"/>
                  </a:lnTo>
                  <a:lnTo>
                    <a:pt x="94" y="144"/>
                  </a:lnTo>
                  <a:lnTo>
                    <a:pt x="98" y="131"/>
                  </a:lnTo>
                  <a:lnTo>
                    <a:pt x="102" y="117"/>
                  </a:lnTo>
                  <a:lnTo>
                    <a:pt x="117" y="102"/>
                  </a:lnTo>
                  <a:lnTo>
                    <a:pt x="129" y="87"/>
                  </a:lnTo>
                  <a:lnTo>
                    <a:pt x="144" y="78"/>
                  </a:lnTo>
                  <a:lnTo>
                    <a:pt x="163" y="74"/>
                  </a:lnTo>
                  <a:lnTo>
                    <a:pt x="174" y="68"/>
                  </a:lnTo>
                  <a:lnTo>
                    <a:pt x="195" y="64"/>
                  </a:lnTo>
                  <a:lnTo>
                    <a:pt x="199" y="52"/>
                  </a:lnTo>
                  <a:lnTo>
                    <a:pt x="212" y="46"/>
                  </a:lnTo>
                  <a:lnTo>
                    <a:pt x="208" y="30"/>
                  </a:lnTo>
                  <a:lnTo>
                    <a:pt x="198" y="23"/>
                  </a:lnTo>
                  <a:lnTo>
                    <a:pt x="213" y="19"/>
                  </a:lnTo>
                  <a:lnTo>
                    <a:pt x="218" y="8"/>
                  </a:lnTo>
                  <a:lnTo>
                    <a:pt x="221" y="23"/>
                  </a:lnTo>
                  <a:lnTo>
                    <a:pt x="229" y="25"/>
                  </a:lnTo>
                  <a:lnTo>
                    <a:pt x="229" y="17"/>
                  </a:lnTo>
                  <a:lnTo>
                    <a:pt x="236" y="17"/>
                  </a:lnTo>
                  <a:lnTo>
                    <a:pt x="239" y="23"/>
                  </a:lnTo>
                  <a:lnTo>
                    <a:pt x="248" y="26"/>
                  </a:lnTo>
                  <a:lnTo>
                    <a:pt x="253" y="15"/>
                  </a:lnTo>
                  <a:lnTo>
                    <a:pt x="246" y="10"/>
                  </a:lnTo>
                  <a:lnTo>
                    <a:pt x="258" y="3"/>
                  </a:lnTo>
                  <a:lnTo>
                    <a:pt x="271" y="12"/>
                  </a:lnTo>
                  <a:lnTo>
                    <a:pt x="279" y="0"/>
                  </a:lnTo>
                  <a:lnTo>
                    <a:pt x="282" y="14"/>
                  </a:lnTo>
                  <a:lnTo>
                    <a:pt x="295" y="15"/>
                  </a:lnTo>
                  <a:lnTo>
                    <a:pt x="309" y="5"/>
                  </a:lnTo>
                  <a:lnTo>
                    <a:pt x="325" y="15"/>
                  </a:lnTo>
                  <a:lnTo>
                    <a:pt x="322" y="26"/>
                  </a:lnTo>
                  <a:lnTo>
                    <a:pt x="351" y="36"/>
                  </a:lnTo>
                  <a:lnTo>
                    <a:pt x="333" y="48"/>
                  </a:lnTo>
                  <a:lnTo>
                    <a:pt x="317" y="65"/>
                  </a:lnTo>
                  <a:lnTo>
                    <a:pt x="310" y="80"/>
                  </a:lnTo>
                  <a:lnTo>
                    <a:pt x="295" y="66"/>
                  </a:lnTo>
                  <a:lnTo>
                    <a:pt x="303" y="4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32" name="Freeform 252">
              <a:extLst>
                <a:ext uri="{FF2B5EF4-FFF2-40B4-BE49-F238E27FC236}">
                  <a16:creationId xmlns:a16="http://schemas.microsoft.com/office/drawing/2014/main" id="{7126BEC4-3ABC-42DD-BD0B-4CE9FC059849}"/>
                </a:ext>
              </a:extLst>
            </p:cNvPr>
            <p:cNvSpPr>
              <a:spLocks/>
            </p:cNvSpPr>
            <p:nvPr/>
          </p:nvSpPr>
          <p:spPr bwMode="auto">
            <a:xfrm>
              <a:off x="3432618" y="2875975"/>
              <a:ext cx="227066" cy="235458"/>
            </a:xfrm>
            <a:custGeom>
              <a:avLst/>
              <a:gdLst>
                <a:gd name="T0" fmla="*/ 89 w 170"/>
                <a:gd name="T1" fmla="*/ 3 h 176"/>
                <a:gd name="T2" fmla="*/ 85 w 170"/>
                <a:gd name="T3" fmla="*/ 15 h 176"/>
                <a:gd name="T4" fmla="*/ 78 w 170"/>
                <a:gd name="T5" fmla="*/ 21 h 176"/>
                <a:gd name="T6" fmla="*/ 74 w 170"/>
                <a:gd name="T7" fmla="*/ 29 h 176"/>
                <a:gd name="T8" fmla="*/ 63 w 170"/>
                <a:gd name="T9" fmla="*/ 27 h 176"/>
                <a:gd name="T10" fmla="*/ 61 w 170"/>
                <a:gd name="T11" fmla="*/ 36 h 176"/>
                <a:gd name="T12" fmla="*/ 50 w 170"/>
                <a:gd name="T13" fmla="*/ 37 h 176"/>
                <a:gd name="T14" fmla="*/ 42 w 170"/>
                <a:gd name="T15" fmla="*/ 29 h 176"/>
                <a:gd name="T16" fmla="*/ 34 w 170"/>
                <a:gd name="T17" fmla="*/ 31 h 176"/>
                <a:gd name="T18" fmla="*/ 38 w 170"/>
                <a:gd name="T19" fmla="*/ 39 h 176"/>
                <a:gd name="T20" fmla="*/ 36 w 170"/>
                <a:gd name="T21" fmla="*/ 47 h 176"/>
                <a:gd name="T22" fmla="*/ 23 w 170"/>
                <a:gd name="T23" fmla="*/ 48 h 176"/>
                <a:gd name="T24" fmla="*/ 17 w 170"/>
                <a:gd name="T25" fmla="*/ 52 h 176"/>
                <a:gd name="T26" fmla="*/ 15 w 170"/>
                <a:gd name="T27" fmla="*/ 54 h 176"/>
                <a:gd name="T28" fmla="*/ 0 w 170"/>
                <a:gd name="T29" fmla="*/ 56 h 176"/>
                <a:gd name="T30" fmla="*/ 0 w 170"/>
                <a:gd name="T31" fmla="*/ 60 h 176"/>
                <a:gd name="T32" fmla="*/ 0 w 170"/>
                <a:gd name="T33" fmla="*/ 66 h 176"/>
                <a:gd name="T34" fmla="*/ 18 w 170"/>
                <a:gd name="T35" fmla="*/ 75 h 176"/>
                <a:gd name="T36" fmla="*/ 26 w 170"/>
                <a:gd name="T37" fmla="*/ 79 h 176"/>
                <a:gd name="T38" fmla="*/ 34 w 170"/>
                <a:gd name="T39" fmla="*/ 88 h 176"/>
                <a:gd name="T40" fmla="*/ 40 w 170"/>
                <a:gd name="T41" fmla="*/ 102 h 176"/>
                <a:gd name="T42" fmla="*/ 48 w 170"/>
                <a:gd name="T43" fmla="*/ 111 h 176"/>
                <a:gd name="T44" fmla="*/ 40 w 170"/>
                <a:gd name="T45" fmla="*/ 115 h 176"/>
                <a:gd name="T46" fmla="*/ 36 w 170"/>
                <a:gd name="T47" fmla="*/ 150 h 176"/>
                <a:gd name="T48" fmla="*/ 31 w 170"/>
                <a:gd name="T49" fmla="*/ 160 h 176"/>
                <a:gd name="T50" fmla="*/ 50 w 170"/>
                <a:gd name="T51" fmla="*/ 166 h 176"/>
                <a:gd name="T52" fmla="*/ 70 w 170"/>
                <a:gd name="T53" fmla="*/ 167 h 176"/>
                <a:gd name="T54" fmla="*/ 80 w 170"/>
                <a:gd name="T55" fmla="*/ 175 h 176"/>
                <a:gd name="T56" fmla="*/ 108 w 170"/>
                <a:gd name="T57" fmla="*/ 175 h 176"/>
                <a:gd name="T58" fmla="*/ 105 w 170"/>
                <a:gd name="T59" fmla="*/ 164 h 176"/>
                <a:gd name="T60" fmla="*/ 110 w 170"/>
                <a:gd name="T61" fmla="*/ 153 h 176"/>
                <a:gd name="T62" fmla="*/ 122 w 170"/>
                <a:gd name="T63" fmla="*/ 152 h 176"/>
                <a:gd name="T64" fmla="*/ 134 w 170"/>
                <a:gd name="T65" fmla="*/ 152 h 176"/>
                <a:gd name="T66" fmla="*/ 143 w 170"/>
                <a:gd name="T67" fmla="*/ 158 h 176"/>
                <a:gd name="T68" fmla="*/ 154 w 170"/>
                <a:gd name="T69" fmla="*/ 161 h 176"/>
                <a:gd name="T70" fmla="*/ 162 w 170"/>
                <a:gd name="T71" fmla="*/ 148 h 176"/>
                <a:gd name="T72" fmla="*/ 162 w 170"/>
                <a:gd name="T73" fmla="*/ 138 h 176"/>
                <a:gd name="T74" fmla="*/ 151 w 170"/>
                <a:gd name="T75" fmla="*/ 133 h 176"/>
                <a:gd name="T76" fmla="*/ 149 w 170"/>
                <a:gd name="T77" fmla="*/ 119 h 176"/>
                <a:gd name="T78" fmla="*/ 155 w 170"/>
                <a:gd name="T79" fmla="*/ 110 h 176"/>
                <a:gd name="T80" fmla="*/ 155 w 170"/>
                <a:gd name="T81" fmla="*/ 99 h 176"/>
                <a:gd name="T82" fmla="*/ 148 w 170"/>
                <a:gd name="T83" fmla="*/ 93 h 176"/>
                <a:gd name="T84" fmla="*/ 151 w 170"/>
                <a:gd name="T85" fmla="*/ 84 h 176"/>
                <a:gd name="T86" fmla="*/ 157 w 170"/>
                <a:gd name="T87" fmla="*/ 74 h 176"/>
                <a:gd name="T88" fmla="*/ 166 w 170"/>
                <a:gd name="T89" fmla="*/ 73 h 176"/>
                <a:gd name="T90" fmla="*/ 163 w 170"/>
                <a:gd name="T91" fmla="*/ 51 h 176"/>
                <a:gd name="T92" fmla="*/ 169 w 170"/>
                <a:gd name="T93" fmla="*/ 43 h 176"/>
                <a:gd name="T94" fmla="*/ 156 w 170"/>
                <a:gd name="T95" fmla="*/ 32 h 176"/>
                <a:gd name="T96" fmla="*/ 137 w 170"/>
                <a:gd name="T97" fmla="*/ 33 h 176"/>
                <a:gd name="T98" fmla="*/ 119 w 170"/>
                <a:gd name="T99" fmla="*/ 27 h 176"/>
                <a:gd name="T100" fmla="*/ 114 w 170"/>
                <a:gd name="T101" fmla="*/ 14 h 176"/>
                <a:gd name="T102" fmla="*/ 102 w 170"/>
                <a:gd name="T103" fmla="*/ 8 h 176"/>
                <a:gd name="T104" fmla="*/ 103 w 170"/>
                <a:gd name="T105" fmla="*/ 0 h 176"/>
                <a:gd name="T106" fmla="*/ 89 w 170"/>
                <a:gd name="T107" fmla="*/ 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6">
                  <a:moveTo>
                    <a:pt x="89" y="3"/>
                  </a:moveTo>
                  <a:lnTo>
                    <a:pt x="85" y="15"/>
                  </a:lnTo>
                  <a:lnTo>
                    <a:pt x="78" y="21"/>
                  </a:lnTo>
                  <a:lnTo>
                    <a:pt x="74" y="29"/>
                  </a:lnTo>
                  <a:lnTo>
                    <a:pt x="63" y="27"/>
                  </a:lnTo>
                  <a:lnTo>
                    <a:pt x="61" y="36"/>
                  </a:lnTo>
                  <a:lnTo>
                    <a:pt x="50" y="37"/>
                  </a:lnTo>
                  <a:lnTo>
                    <a:pt x="42" y="29"/>
                  </a:lnTo>
                  <a:lnTo>
                    <a:pt x="34" y="31"/>
                  </a:lnTo>
                  <a:lnTo>
                    <a:pt x="38" y="39"/>
                  </a:lnTo>
                  <a:lnTo>
                    <a:pt x="36" y="47"/>
                  </a:lnTo>
                  <a:lnTo>
                    <a:pt x="23" y="48"/>
                  </a:lnTo>
                  <a:lnTo>
                    <a:pt x="17" y="52"/>
                  </a:lnTo>
                  <a:lnTo>
                    <a:pt x="15" y="54"/>
                  </a:lnTo>
                  <a:lnTo>
                    <a:pt x="0" y="56"/>
                  </a:lnTo>
                  <a:lnTo>
                    <a:pt x="0" y="60"/>
                  </a:lnTo>
                  <a:lnTo>
                    <a:pt x="0" y="66"/>
                  </a:lnTo>
                  <a:lnTo>
                    <a:pt x="18" y="75"/>
                  </a:lnTo>
                  <a:lnTo>
                    <a:pt x="26" y="79"/>
                  </a:lnTo>
                  <a:lnTo>
                    <a:pt x="34" y="88"/>
                  </a:lnTo>
                  <a:lnTo>
                    <a:pt x="40" y="102"/>
                  </a:lnTo>
                  <a:lnTo>
                    <a:pt x="48" y="111"/>
                  </a:lnTo>
                  <a:lnTo>
                    <a:pt x="40" y="115"/>
                  </a:lnTo>
                  <a:lnTo>
                    <a:pt x="36" y="150"/>
                  </a:lnTo>
                  <a:lnTo>
                    <a:pt x="31" y="160"/>
                  </a:lnTo>
                  <a:lnTo>
                    <a:pt x="50" y="166"/>
                  </a:lnTo>
                  <a:lnTo>
                    <a:pt x="70" y="167"/>
                  </a:lnTo>
                  <a:lnTo>
                    <a:pt x="80" y="175"/>
                  </a:lnTo>
                  <a:lnTo>
                    <a:pt x="108" y="175"/>
                  </a:lnTo>
                  <a:lnTo>
                    <a:pt x="105" y="164"/>
                  </a:lnTo>
                  <a:lnTo>
                    <a:pt x="110" y="153"/>
                  </a:lnTo>
                  <a:lnTo>
                    <a:pt x="122" y="152"/>
                  </a:lnTo>
                  <a:lnTo>
                    <a:pt x="134" y="152"/>
                  </a:lnTo>
                  <a:lnTo>
                    <a:pt x="143" y="158"/>
                  </a:lnTo>
                  <a:lnTo>
                    <a:pt x="154" y="161"/>
                  </a:lnTo>
                  <a:lnTo>
                    <a:pt x="162" y="148"/>
                  </a:lnTo>
                  <a:lnTo>
                    <a:pt x="162" y="138"/>
                  </a:lnTo>
                  <a:lnTo>
                    <a:pt x="151" y="133"/>
                  </a:lnTo>
                  <a:lnTo>
                    <a:pt x="149" y="119"/>
                  </a:lnTo>
                  <a:lnTo>
                    <a:pt x="155" y="110"/>
                  </a:lnTo>
                  <a:lnTo>
                    <a:pt x="155" y="99"/>
                  </a:lnTo>
                  <a:lnTo>
                    <a:pt x="148" y="93"/>
                  </a:lnTo>
                  <a:lnTo>
                    <a:pt x="151" y="84"/>
                  </a:lnTo>
                  <a:lnTo>
                    <a:pt x="157" y="74"/>
                  </a:lnTo>
                  <a:lnTo>
                    <a:pt x="166" y="73"/>
                  </a:lnTo>
                  <a:lnTo>
                    <a:pt x="163" y="51"/>
                  </a:lnTo>
                  <a:lnTo>
                    <a:pt x="169" y="43"/>
                  </a:lnTo>
                  <a:lnTo>
                    <a:pt x="156" y="32"/>
                  </a:lnTo>
                  <a:lnTo>
                    <a:pt x="137" y="33"/>
                  </a:lnTo>
                  <a:lnTo>
                    <a:pt x="119" y="27"/>
                  </a:lnTo>
                  <a:lnTo>
                    <a:pt x="114" y="14"/>
                  </a:lnTo>
                  <a:lnTo>
                    <a:pt x="102" y="8"/>
                  </a:lnTo>
                  <a:lnTo>
                    <a:pt x="103" y="0"/>
                  </a:lnTo>
                  <a:lnTo>
                    <a:pt x="89" y="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33" name="Freeform 253">
              <a:extLst>
                <a:ext uri="{FF2B5EF4-FFF2-40B4-BE49-F238E27FC236}">
                  <a16:creationId xmlns:a16="http://schemas.microsoft.com/office/drawing/2014/main" id="{B1CD6D1E-E133-436A-80EB-9845229527A4}"/>
                </a:ext>
              </a:extLst>
            </p:cNvPr>
            <p:cNvSpPr>
              <a:spLocks/>
            </p:cNvSpPr>
            <p:nvPr/>
          </p:nvSpPr>
          <p:spPr bwMode="auto">
            <a:xfrm>
              <a:off x="3629963" y="2987758"/>
              <a:ext cx="228255" cy="225945"/>
            </a:xfrm>
            <a:custGeom>
              <a:avLst/>
              <a:gdLst>
                <a:gd name="T0" fmla="*/ 13 w 172"/>
                <a:gd name="T1" fmla="*/ 65 h 170"/>
                <a:gd name="T2" fmla="*/ 13 w 172"/>
                <a:gd name="T3" fmla="*/ 55 h 170"/>
                <a:gd name="T4" fmla="*/ 2 w 172"/>
                <a:gd name="T5" fmla="*/ 50 h 170"/>
                <a:gd name="T6" fmla="*/ 0 w 172"/>
                <a:gd name="T7" fmla="*/ 36 h 170"/>
                <a:gd name="T8" fmla="*/ 6 w 172"/>
                <a:gd name="T9" fmla="*/ 27 h 170"/>
                <a:gd name="T10" fmla="*/ 6 w 172"/>
                <a:gd name="T11" fmla="*/ 16 h 170"/>
                <a:gd name="T12" fmla="*/ 20 w 172"/>
                <a:gd name="T13" fmla="*/ 16 h 170"/>
                <a:gd name="T14" fmla="*/ 25 w 172"/>
                <a:gd name="T15" fmla="*/ 10 h 170"/>
                <a:gd name="T16" fmla="*/ 30 w 172"/>
                <a:gd name="T17" fmla="*/ 17 h 170"/>
                <a:gd name="T18" fmla="*/ 35 w 172"/>
                <a:gd name="T19" fmla="*/ 12 h 170"/>
                <a:gd name="T20" fmla="*/ 41 w 172"/>
                <a:gd name="T21" fmla="*/ 14 h 170"/>
                <a:gd name="T22" fmla="*/ 46 w 172"/>
                <a:gd name="T23" fmla="*/ 3 h 170"/>
                <a:gd name="T24" fmla="*/ 52 w 172"/>
                <a:gd name="T25" fmla="*/ 6 h 170"/>
                <a:gd name="T26" fmla="*/ 67 w 172"/>
                <a:gd name="T27" fmla="*/ 6 h 170"/>
                <a:gd name="T28" fmla="*/ 80 w 172"/>
                <a:gd name="T29" fmla="*/ 0 h 170"/>
                <a:gd name="T30" fmla="*/ 88 w 172"/>
                <a:gd name="T31" fmla="*/ 9 h 170"/>
                <a:gd name="T32" fmla="*/ 91 w 172"/>
                <a:gd name="T33" fmla="*/ 21 h 170"/>
                <a:gd name="T34" fmla="*/ 84 w 172"/>
                <a:gd name="T35" fmla="*/ 27 h 170"/>
                <a:gd name="T36" fmla="*/ 80 w 172"/>
                <a:gd name="T37" fmla="*/ 41 h 170"/>
                <a:gd name="T38" fmla="*/ 80 w 172"/>
                <a:gd name="T39" fmla="*/ 51 h 170"/>
                <a:gd name="T40" fmla="*/ 86 w 172"/>
                <a:gd name="T41" fmla="*/ 54 h 170"/>
                <a:gd name="T42" fmla="*/ 95 w 172"/>
                <a:gd name="T43" fmla="*/ 69 h 170"/>
                <a:gd name="T44" fmla="*/ 106 w 172"/>
                <a:gd name="T45" fmla="*/ 85 h 170"/>
                <a:gd name="T46" fmla="*/ 124 w 172"/>
                <a:gd name="T47" fmla="*/ 101 h 170"/>
                <a:gd name="T48" fmla="*/ 133 w 172"/>
                <a:gd name="T49" fmla="*/ 101 h 170"/>
                <a:gd name="T50" fmla="*/ 140 w 172"/>
                <a:gd name="T51" fmla="*/ 99 h 170"/>
                <a:gd name="T52" fmla="*/ 141 w 172"/>
                <a:gd name="T53" fmla="*/ 106 h 170"/>
                <a:gd name="T54" fmla="*/ 146 w 172"/>
                <a:gd name="T55" fmla="*/ 111 h 170"/>
                <a:gd name="T56" fmla="*/ 149 w 172"/>
                <a:gd name="T57" fmla="*/ 117 h 170"/>
                <a:gd name="T58" fmla="*/ 157 w 172"/>
                <a:gd name="T59" fmla="*/ 123 h 170"/>
                <a:gd name="T60" fmla="*/ 163 w 172"/>
                <a:gd name="T61" fmla="*/ 129 h 170"/>
                <a:gd name="T62" fmla="*/ 171 w 172"/>
                <a:gd name="T63" fmla="*/ 139 h 170"/>
                <a:gd name="T64" fmla="*/ 166 w 172"/>
                <a:gd name="T65" fmla="*/ 143 h 170"/>
                <a:gd name="T66" fmla="*/ 154 w 172"/>
                <a:gd name="T67" fmla="*/ 134 h 170"/>
                <a:gd name="T68" fmla="*/ 145 w 172"/>
                <a:gd name="T69" fmla="*/ 138 h 170"/>
                <a:gd name="T70" fmla="*/ 142 w 172"/>
                <a:gd name="T71" fmla="*/ 144 h 170"/>
                <a:gd name="T72" fmla="*/ 148 w 172"/>
                <a:gd name="T73" fmla="*/ 155 h 170"/>
                <a:gd name="T74" fmla="*/ 142 w 172"/>
                <a:gd name="T75" fmla="*/ 161 h 170"/>
                <a:gd name="T76" fmla="*/ 138 w 172"/>
                <a:gd name="T77" fmla="*/ 169 h 170"/>
                <a:gd name="T78" fmla="*/ 130 w 172"/>
                <a:gd name="T79" fmla="*/ 169 h 170"/>
                <a:gd name="T80" fmla="*/ 131 w 172"/>
                <a:gd name="T81" fmla="*/ 152 h 170"/>
                <a:gd name="T82" fmla="*/ 131 w 172"/>
                <a:gd name="T83" fmla="*/ 144 h 170"/>
                <a:gd name="T84" fmla="*/ 121 w 172"/>
                <a:gd name="T85" fmla="*/ 137 h 170"/>
                <a:gd name="T86" fmla="*/ 116 w 172"/>
                <a:gd name="T87" fmla="*/ 128 h 170"/>
                <a:gd name="T88" fmla="*/ 108 w 172"/>
                <a:gd name="T89" fmla="*/ 126 h 170"/>
                <a:gd name="T90" fmla="*/ 108 w 172"/>
                <a:gd name="T91" fmla="*/ 117 h 170"/>
                <a:gd name="T92" fmla="*/ 87 w 172"/>
                <a:gd name="T93" fmla="*/ 111 h 170"/>
                <a:gd name="T94" fmla="*/ 74 w 172"/>
                <a:gd name="T95" fmla="*/ 99 h 170"/>
                <a:gd name="T96" fmla="*/ 66 w 172"/>
                <a:gd name="T97" fmla="*/ 93 h 170"/>
                <a:gd name="T98" fmla="*/ 58 w 172"/>
                <a:gd name="T99" fmla="*/ 86 h 170"/>
                <a:gd name="T100" fmla="*/ 53 w 172"/>
                <a:gd name="T101" fmla="*/ 69 h 170"/>
                <a:gd name="T102" fmla="*/ 49 w 172"/>
                <a:gd name="T103" fmla="*/ 59 h 170"/>
                <a:gd name="T104" fmla="*/ 32 w 172"/>
                <a:gd name="T105" fmla="*/ 56 h 170"/>
                <a:gd name="T106" fmla="*/ 29 w 172"/>
                <a:gd name="T107" fmla="*/ 64 h 170"/>
                <a:gd name="T108" fmla="*/ 13 w 172"/>
                <a:gd name="T109" fmla="*/ 6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170">
                  <a:moveTo>
                    <a:pt x="13" y="65"/>
                  </a:moveTo>
                  <a:lnTo>
                    <a:pt x="13" y="55"/>
                  </a:lnTo>
                  <a:lnTo>
                    <a:pt x="2" y="50"/>
                  </a:lnTo>
                  <a:lnTo>
                    <a:pt x="0" y="36"/>
                  </a:lnTo>
                  <a:lnTo>
                    <a:pt x="6" y="27"/>
                  </a:lnTo>
                  <a:lnTo>
                    <a:pt x="6" y="16"/>
                  </a:lnTo>
                  <a:lnTo>
                    <a:pt x="20" y="16"/>
                  </a:lnTo>
                  <a:lnTo>
                    <a:pt x="25" y="10"/>
                  </a:lnTo>
                  <a:lnTo>
                    <a:pt x="30" y="17"/>
                  </a:lnTo>
                  <a:lnTo>
                    <a:pt x="35" y="12"/>
                  </a:lnTo>
                  <a:lnTo>
                    <a:pt x="41" y="14"/>
                  </a:lnTo>
                  <a:lnTo>
                    <a:pt x="46" y="3"/>
                  </a:lnTo>
                  <a:lnTo>
                    <a:pt x="52" y="6"/>
                  </a:lnTo>
                  <a:lnTo>
                    <a:pt x="67" y="6"/>
                  </a:lnTo>
                  <a:lnTo>
                    <a:pt x="80" y="0"/>
                  </a:lnTo>
                  <a:lnTo>
                    <a:pt x="88" y="9"/>
                  </a:lnTo>
                  <a:lnTo>
                    <a:pt x="91" y="21"/>
                  </a:lnTo>
                  <a:lnTo>
                    <a:pt x="84" y="27"/>
                  </a:lnTo>
                  <a:lnTo>
                    <a:pt x="80" y="41"/>
                  </a:lnTo>
                  <a:lnTo>
                    <a:pt x="80" y="51"/>
                  </a:lnTo>
                  <a:lnTo>
                    <a:pt x="86" y="54"/>
                  </a:lnTo>
                  <a:lnTo>
                    <a:pt x="95" y="69"/>
                  </a:lnTo>
                  <a:lnTo>
                    <a:pt x="106" y="85"/>
                  </a:lnTo>
                  <a:lnTo>
                    <a:pt x="124" y="101"/>
                  </a:lnTo>
                  <a:lnTo>
                    <a:pt x="133" y="101"/>
                  </a:lnTo>
                  <a:lnTo>
                    <a:pt x="140" y="99"/>
                  </a:lnTo>
                  <a:lnTo>
                    <a:pt x="141" y="106"/>
                  </a:lnTo>
                  <a:lnTo>
                    <a:pt x="146" y="111"/>
                  </a:lnTo>
                  <a:lnTo>
                    <a:pt x="149" y="117"/>
                  </a:lnTo>
                  <a:lnTo>
                    <a:pt x="157" y="123"/>
                  </a:lnTo>
                  <a:lnTo>
                    <a:pt x="163" y="129"/>
                  </a:lnTo>
                  <a:lnTo>
                    <a:pt x="171" y="139"/>
                  </a:lnTo>
                  <a:lnTo>
                    <a:pt x="166" y="143"/>
                  </a:lnTo>
                  <a:lnTo>
                    <a:pt x="154" y="134"/>
                  </a:lnTo>
                  <a:lnTo>
                    <a:pt x="145" y="138"/>
                  </a:lnTo>
                  <a:lnTo>
                    <a:pt x="142" y="144"/>
                  </a:lnTo>
                  <a:lnTo>
                    <a:pt x="148" y="155"/>
                  </a:lnTo>
                  <a:lnTo>
                    <a:pt x="142" y="161"/>
                  </a:lnTo>
                  <a:lnTo>
                    <a:pt x="138" y="169"/>
                  </a:lnTo>
                  <a:lnTo>
                    <a:pt x="130" y="169"/>
                  </a:lnTo>
                  <a:lnTo>
                    <a:pt x="131" y="152"/>
                  </a:lnTo>
                  <a:lnTo>
                    <a:pt x="131" y="144"/>
                  </a:lnTo>
                  <a:lnTo>
                    <a:pt x="121" y="137"/>
                  </a:lnTo>
                  <a:lnTo>
                    <a:pt x="116" y="128"/>
                  </a:lnTo>
                  <a:lnTo>
                    <a:pt x="108" y="126"/>
                  </a:lnTo>
                  <a:lnTo>
                    <a:pt x="108" y="117"/>
                  </a:lnTo>
                  <a:lnTo>
                    <a:pt x="87" y="111"/>
                  </a:lnTo>
                  <a:lnTo>
                    <a:pt x="74" y="99"/>
                  </a:lnTo>
                  <a:lnTo>
                    <a:pt x="66" y="93"/>
                  </a:lnTo>
                  <a:lnTo>
                    <a:pt x="58" y="86"/>
                  </a:lnTo>
                  <a:lnTo>
                    <a:pt x="53" y="69"/>
                  </a:lnTo>
                  <a:lnTo>
                    <a:pt x="49" y="59"/>
                  </a:lnTo>
                  <a:lnTo>
                    <a:pt x="32" y="56"/>
                  </a:lnTo>
                  <a:lnTo>
                    <a:pt x="29" y="64"/>
                  </a:lnTo>
                  <a:lnTo>
                    <a:pt x="13" y="65"/>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34" name="Freeform 254">
              <a:extLst>
                <a:ext uri="{FF2B5EF4-FFF2-40B4-BE49-F238E27FC236}">
                  <a16:creationId xmlns:a16="http://schemas.microsoft.com/office/drawing/2014/main" id="{5EFCA12C-3DDF-4897-AAA9-1F67F9E46EF7}"/>
                </a:ext>
              </a:extLst>
            </p:cNvPr>
            <p:cNvSpPr>
              <a:spLocks/>
            </p:cNvSpPr>
            <p:nvPr/>
          </p:nvSpPr>
          <p:spPr bwMode="auto">
            <a:xfrm>
              <a:off x="3342267" y="3076946"/>
              <a:ext cx="234199" cy="186702"/>
            </a:xfrm>
            <a:custGeom>
              <a:avLst/>
              <a:gdLst>
                <a:gd name="T0" fmla="*/ 174 w 175"/>
                <a:gd name="T1" fmla="*/ 25 h 140"/>
                <a:gd name="T2" fmla="*/ 147 w 175"/>
                <a:gd name="T3" fmla="*/ 25 h 140"/>
                <a:gd name="T4" fmla="*/ 137 w 175"/>
                <a:gd name="T5" fmla="*/ 18 h 140"/>
                <a:gd name="T6" fmla="*/ 116 w 175"/>
                <a:gd name="T7" fmla="*/ 16 h 140"/>
                <a:gd name="T8" fmla="*/ 98 w 175"/>
                <a:gd name="T9" fmla="*/ 10 h 140"/>
                <a:gd name="T10" fmla="*/ 76 w 175"/>
                <a:gd name="T11" fmla="*/ 3 h 140"/>
                <a:gd name="T12" fmla="*/ 64 w 175"/>
                <a:gd name="T13" fmla="*/ 6 h 140"/>
                <a:gd name="T14" fmla="*/ 53 w 175"/>
                <a:gd name="T15" fmla="*/ 0 h 140"/>
                <a:gd name="T16" fmla="*/ 5 w 175"/>
                <a:gd name="T17" fmla="*/ 1 h 140"/>
                <a:gd name="T18" fmla="*/ 8 w 175"/>
                <a:gd name="T19" fmla="*/ 8 h 140"/>
                <a:gd name="T20" fmla="*/ 0 w 175"/>
                <a:gd name="T21" fmla="*/ 11 h 140"/>
                <a:gd name="T22" fmla="*/ 1 w 175"/>
                <a:gd name="T23" fmla="*/ 22 h 140"/>
                <a:gd name="T24" fmla="*/ 8 w 175"/>
                <a:gd name="T25" fmla="*/ 30 h 140"/>
                <a:gd name="T26" fmla="*/ 12 w 175"/>
                <a:gd name="T27" fmla="*/ 40 h 140"/>
                <a:gd name="T28" fmla="*/ 25 w 175"/>
                <a:gd name="T29" fmla="*/ 39 h 140"/>
                <a:gd name="T30" fmla="*/ 35 w 175"/>
                <a:gd name="T31" fmla="*/ 35 h 140"/>
                <a:gd name="T32" fmla="*/ 39 w 175"/>
                <a:gd name="T33" fmla="*/ 40 h 140"/>
                <a:gd name="T34" fmla="*/ 36 w 175"/>
                <a:gd name="T35" fmla="*/ 45 h 140"/>
                <a:gd name="T36" fmla="*/ 33 w 175"/>
                <a:gd name="T37" fmla="*/ 50 h 140"/>
                <a:gd name="T38" fmla="*/ 27 w 175"/>
                <a:gd name="T39" fmla="*/ 77 h 140"/>
                <a:gd name="T40" fmla="*/ 21 w 175"/>
                <a:gd name="T41" fmla="*/ 84 h 140"/>
                <a:gd name="T42" fmla="*/ 29 w 175"/>
                <a:gd name="T43" fmla="*/ 90 h 140"/>
                <a:gd name="T44" fmla="*/ 30 w 175"/>
                <a:gd name="T45" fmla="*/ 111 h 140"/>
                <a:gd name="T46" fmla="*/ 31 w 175"/>
                <a:gd name="T47" fmla="*/ 120 h 140"/>
                <a:gd name="T48" fmla="*/ 40 w 175"/>
                <a:gd name="T49" fmla="*/ 122 h 140"/>
                <a:gd name="T50" fmla="*/ 40 w 175"/>
                <a:gd name="T51" fmla="*/ 132 h 140"/>
                <a:gd name="T52" fmla="*/ 50 w 175"/>
                <a:gd name="T53" fmla="*/ 139 h 140"/>
                <a:gd name="T54" fmla="*/ 59 w 175"/>
                <a:gd name="T55" fmla="*/ 136 h 140"/>
                <a:gd name="T56" fmla="*/ 67 w 175"/>
                <a:gd name="T57" fmla="*/ 131 h 140"/>
                <a:gd name="T58" fmla="*/ 101 w 175"/>
                <a:gd name="T59" fmla="*/ 132 h 140"/>
                <a:gd name="T60" fmla="*/ 109 w 175"/>
                <a:gd name="T61" fmla="*/ 126 h 140"/>
                <a:gd name="T62" fmla="*/ 109 w 175"/>
                <a:gd name="T63" fmla="*/ 117 h 140"/>
                <a:gd name="T64" fmla="*/ 119 w 175"/>
                <a:gd name="T65" fmla="*/ 111 h 140"/>
                <a:gd name="T66" fmla="*/ 126 w 175"/>
                <a:gd name="T67" fmla="*/ 103 h 140"/>
                <a:gd name="T68" fmla="*/ 129 w 175"/>
                <a:gd name="T69" fmla="*/ 92 h 140"/>
                <a:gd name="T70" fmla="*/ 119 w 175"/>
                <a:gd name="T71" fmla="*/ 80 h 140"/>
                <a:gd name="T72" fmla="*/ 126 w 175"/>
                <a:gd name="T73" fmla="*/ 71 h 140"/>
                <a:gd name="T74" fmla="*/ 133 w 175"/>
                <a:gd name="T75" fmla="*/ 61 h 140"/>
                <a:gd name="T76" fmla="*/ 144 w 175"/>
                <a:gd name="T77" fmla="*/ 58 h 140"/>
                <a:gd name="T78" fmla="*/ 155 w 175"/>
                <a:gd name="T79" fmla="*/ 44 h 140"/>
                <a:gd name="T80" fmla="*/ 163 w 175"/>
                <a:gd name="T81" fmla="*/ 36 h 140"/>
                <a:gd name="T82" fmla="*/ 174 w 175"/>
                <a:gd name="T83" fmla="*/ 2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5" h="140">
                  <a:moveTo>
                    <a:pt x="174" y="25"/>
                  </a:moveTo>
                  <a:lnTo>
                    <a:pt x="147" y="25"/>
                  </a:lnTo>
                  <a:lnTo>
                    <a:pt x="137" y="18"/>
                  </a:lnTo>
                  <a:lnTo>
                    <a:pt x="116" y="16"/>
                  </a:lnTo>
                  <a:lnTo>
                    <a:pt x="98" y="10"/>
                  </a:lnTo>
                  <a:lnTo>
                    <a:pt x="76" y="3"/>
                  </a:lnTo>
                  <a:lnTo>
                    <a:pt x="64" y="6"/>
                  </a:lnTo>
                  <a:lnTo>
                    <a:pt x="53" y="0"/>
                  </a:lnTo>
                  <a:lnTo>
                    <a:pt x="5" y="1"/>
                  </a:lnTo>
                  <a:lnTo>
                    <a:pt x="8" y="8"/>
                  </a:lnTo>
                  <a:lnTo>
                    <a:pt x="0" y="11"/>
                  </a:lnTo>
                  <a:lnTo>
                    <a:pt x="1" y="22"/>
                  </a:lnTo>
                  <a:lnTo>
                    <a:pt x="8" y="30"/>
                  </a:lnTo>
                  <a:lnTo>
                    <a:pt x="12" y="40"/>
                  </a:lnTo>
                  <a:lnTo>
                    <a:pt x="25" y="39"/>
                  </a:lnTo>
                  <a:lnTo>
                    <a:pt x="35" y="35"/>
                  </a:lnTo>
                  <a:lnTo>
                    <a:pt x="39" y="40"/>
                  </a:lnTo>
                  <a:lnTo>
                    <a:pt x="36" y="45"/>
                  </a:lnTo>
                  <a:lnTo>
                    <a:pt x="33" y="50"/>
                  </a:lnTo>
                  <a:lnTo>
                    <a:pt x="27" y="77"/>
                  </a:lnTo>
                  <a:lnTo>
                    <a:pt x="21" y="84"/>
                  </a:lnTo>
                  <a:lnTo>
                    <a:pt x="29" y="90"/>
                  </a:lnTo>
                  <a:lnTo>
                    <a:pt x="30" y="111"/>
                  </a:lnTo>
                  <a:lnTo>
                    <a:pt x="31" y="120"/>
                  </a:lnTo>
                  <a:lnTo>
                    <a:pt x="40" y="122"/>
                  </a:lnTo>
                  <a:lnTo>
                    <a:pt x="40" y="132"/>
                  </a:lnTo>
                  <a:lnTo>
                    <a:pt x="50" y="139"/>
                  </a:lnTo>
                  <a:lnTo>
                    <a:pt x="59" y="136"/>
                  </a:lnTo>
                  <a:lnTo>
                    <a:pt x="67" y="131"/>
                  </a:lnTo>
                  <a:lnTo>
                    <a:pt x="101" y="132"/>
                  </a:lnTo>
                  <a:lnTo>
                    <a:pt x="109" y="126"/>
                  </a:lnTo>
                  <a:lnTo>
                    <a:pt x="109" y="117"/>
                  </a:lnTo>
                  <a:lnTo>
                    <a:pt x="119" y="111"/>
                  </a:lnTo>
                  <a:lnTo>
                    <a:pt x="126" y="103"/>
                  </a:lnTo>
                  <a:lnTo>
                    <a:pt x="129" y="92"/>
                  </a:lnTo>
                  <a:lnTo>
                    <a:pt x="119" y="80"/>
                  </a:lnTo>
                  <a:lnTo>
                    <a:pt x="126" y="71"/>
                  </a:lnTo>
                  <a:lnTo>
                    <a:pt x="133" y="61"/>
                  </a:lnTo>
                  <a:lnTo>
                    <a:pt x="144" y="58"/>
                  </a:lnTo>
                  <a:lnTo>
                    <a:pt x="155" y="44"/>
                  </a:lnTo>
                  <a:lnTo>
                    <a:pt x="163" y="36"/>
                  </a:lnTo>
                  <a:lnTo>
                    <a:pt x="174" y="25"/>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35" name="Freeform 255">
              <a:extLst>
                <a:ext uri="{FF2B5EF4-FFF2-40B4-BE49-F238E27FC236}">
                  <a16:creationId xmlns:a16="http://schemas.microsoft.com/office/drawing/2014/main" id="{72AB57C6-C722-4E6D-84EC-79ABF5A874B9}"/>
                </a:ext>
              </a:extLst>
            </p:cNvPr>
            <p:cNvSpPr>
              <a:spLocks/>
            </p:cNvSpPr>
            <p:nvPr/>
          </p:nvSpPr>
          <p:spPr bwMode="auto">
            <a:xfrm>
              <a:off x="3329190" y="3115000"/>
              <a:ext cx="67763" cy="128432"/>
            </a:xfrm>
            <a:custGeom>
              <a:avLst/>
              <a:gdLst>
                <a:gd name="T0" fmla="*/ 41 w 51"/>
                <a:gd name="T1" fmla="*/ 82 h 96"/>
                <a:gd name="T2" fmla="*/ 40 w 51"/>
                <a:gd name="T3" fmla="*/ 61 h 96"/>
                <a:gd name="T4" fmla="*/ 32 w 51"/>
                <a:gd name="T5" fmla="*/ 55 h 96"/>
                <a:gd name="T6" fmla="*/ 38 w 51"/>
                <a:gd name="T7" fmla="*/ 48 h 96"/>
                <a:gd name="T8" fmla="*/ 44 w 51"/>
                <a:gd name="T9" fmla="*/ 21 h 96"/>
                <a:gd name="T10" fmla="*/ 47 w 51"/>
                <a:gd name="T11" fmla="*/ 15 h 96"/>
                <a:gd name="T12" fmla="*/ 50 w 51"/>
                <a:gd name="T13" fmla="*/ 10 h 96"/>
                <a:gd name="T14" fmla="*/ 46 w 51"/>
                <a:gd name="T15" fmla="*/ 5 h 96"/>
                <a:gd name="T16" fmla="*/ 36 w 51"/>
                <a:gd name="T17" fmla="*/ 9 h 96"/>
                <a:gd name="T18" fmla="*/ 23 w 51"/>
                <a:gd name="T19" fmla="*/ 10 h 96"/>
                <a:gd name="T20" fmla="*/ 19 w 51"/>
                <a:gd name="T21" fmla="*/ 0 h 96"/>
                <a:gd name="T22" fmla="*/ 14 w 51"/>
                <a:gd name="T23" fmla="*/ 13 h 96"/>
                <a:gd name="T24" fmla="*/ 14 w 51"/>
                <a:gd name="T25" fmla="*/ 28 h 96"/>
                <a:gd name="T26" fmla="*/ 16 w 51"/>
                <a:gd name="T27" fmla="*/ 34 h 96"/>
                <a:gd name="T28" fmla="*/ 10 w 51"/>
                <a:gd name="T29" fmla="*/ 44 h 96"/>
                <a:gd name="T30" fmla="*/ 1 w 51"/>
                <a:gd name="T31" fmla="*/ 50 h 96"/>
                <a:gd name="T32" fmla="*/ 0 w 51"/>
                <a:gd name="T33" fmla="*/ 66 h 96"/>
                <a:gd name="T34" fmla="*/ 10 w 51"/>
                <a:gd name="T35" fmla="*/ 70 h 96"/>
                <a:gd name="T36" fmla="*/ 11 w 51"/>
                <a:gd name="T37" fmla="*/ 80 h 96"/>
                <a:gd name="T38" fmla="*/ 12 w 51"/>
                <a:gd name="T39" fmla="*/ 91 h 96"/>
                <a:gd name="T40" fmla="*/ 23 w 51"/>
                <a:gd name="T41" fmla="*/ 95 h 96"/>
                <a:gd name="T42" fmla="*/ 34 w 51"/>
                <a:gd name="T43" fmla="*/ 95 h 96"/>
                <a:gd name="T44" fmla="*/ 41 w 51"/>
                <a:gd name="T45"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96">
                  <a:moveTo>
                    <a:pt x="41" y="82"/>
                  </a:moveTo>
                  <a:lnTo>
                    <a:pt x="40" y="61"/>
                  </a:lnTo>
                  <a:lnTo>
                    <a:pt x="32" y="55"/>
                  </a:lnTo>
                  <a:lnTo>
                    <a:pt x="38" y="48"/>
                  </a:lnTo>
                  <a:lnTo>
                    <a:pt x="44" y="21"/>
                  </a:lnTo>
                  <a:lnTo>
                    <a:pt x="47" y="15"/>
                  </a:lnTo>
                  <a:lnTo>
                    <a:pt x="50" y="10"/>
                  </a:lnTo>
                  <a:lnTo>
                    <a:pt x="46" y="5"/>
                  </a:lnTo>
                  <a:lnTo>
                    <a:pt x="36" y="9"/>
                  </a:lnTo>
                  <a:lnTo>
                    <a:pt x="23" y="10"/>
                  </a:lnTo>
                  <a:lnTo>
                    <a:pt x="19" y="0"/>
                  </a:lnTo>
                  <a:lnTo>
                    <a:pt x="14" y="13"/>
                  </a:lnTo>
                  <a:lnTo>
                    <a:pt x="14" y="28"/>
                  </a:lnTo>
                  <a:lnTo>
                    <a:pt x="16" y="34"/>
                  </a:lnTo>
                  <a:lnTo>
                    <a:pt x="10" y="44"/>
                  </a:lnTo>
                  <a:lnTo>
                    <a:pt x="1" y="50"/>
                  </a:lnTo>
                  <a:lnTo>
                    <a:pt x="0" y="66"/>
                  </a:lnTo>
                  <a:lnTo>
                    <a:pt x="10" y="70"/>
                  </a:lnTo>
                  <a:lnTo>
                    <a:pt x="11" y="80"/>
                  </a:lnTo>
                  <a:lnTo>
                    <a:pt x="12" y="91"/>
                  </a:lnTo>
                  <a:lnTo>
                    <a:pt x="23" y="95"/>
                  </a:lnTo>
                  <a:lnTo>
                    <a:pt x="34" y="95"/>
                  </a:lnTo>
                  <a:lnTo>
                    <a:pt x="41" y="8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36" name="Freeform 256">
              <a:extLst>
                <a:ext uri="{FF2B5EF4-FFF2-40B4-BE49-F238E27FC236}">
                  <a16:creationId xmlns:a16="http://schemas.microsoft.com/office/drawing/2014/main" id="{C6101FB0-21A0-49C3-9D50-0F8C7E9565B9}"/>
                </a:ext>
              </a:extLst>
            </p:cNvPr>
            <p:cNvSpPr>
              <a:spLocks/>
            </p:cNvSpPr>
            <p:nvPr/>
          </p:nvSpPr>
          <p:spPr bwMode="auto">
            <a:xfrm>
              <a:off x="3673950" y="3099541"/>
              <a:ext cx="21399" cy="36865"/>
            </a:xfrm>
            <a:custGeom>
              <a:avLst/>
              <a:gdLst>
                <a:gd name="T0" fmla="*/ 14 w 15"/>
                <a:gd name="T1" fmla="*/ 0 h 27"/>
                <a:gd name="T2" fmla="*/ 9 w 15"/>
                <a:gd name="T3" fmla="*/ 4 h 27"/>
                <a:gd name="T4" fmla="*/ 0 w 15"/>
                <a:gd name="T5" fmla="*/ 10 h 27"/>
                <a:gd name="T6" fmla="*/ 3 w 15"/>
                <a:gd name="T7" fmla="*/ 20 h 27"/>
                <a:gd name="T8" fmla="*/ 10 w 15"/>
                <a:gd name="T9" fmla="*/ 26 h 27"/>
                <a:gd name="T10" fmla="*/ 14 w 15"/>
                <a:gd name="T11" fmla="*/ 0 h 27"/>
              </a:gdLst>
              <a:ahLst/>
              <a:cxnLst>
                <a:cxn ang="0">
                  <a:pos x="T0" y="T1"/>
                </a:cxn>
                <a:cxn ang="0">
                  <a:pos x="T2" y="T3"/>
                </a:cxn>
                <a:cxn ang="0">
                  <a:pos x="T4" y="T5"/>
                </a:cxn>
                <a:cxn ang="0">
                  <a:pos x="T6" y="T7"/>
                </a:cxn>
                <a:cxn ang="0">
                  <a:pos x="T8" y="T9"/>
                </a:cxn>
                <a:cxn ang="0">
                  <a:pos x="T10" y="T11"/>
                </a:cxn>
              </a:cxnLst>
              <a:rect l="0" t="0" r="r" b="b"/>
              <a:pathLst>
                <a:path w="15" h="27">
                  <a:moveTo>
                    <a:pt x="14" y="0"/>
                  </a:moveTo>
                  <a:lnTo>
                    <a:pt x="9" y="4"/>
                  </a:lnTo>
                  <a:lnTo>
                    <a:pt x="0" y="10"/>
                  </a:lnTo>
                  <a:lnTo>
                    <a:pt x="3" y="20"/>
                  </a:lnTo>
                  <a:lnTo>
                    <a:pt x="10" y="26"/>
                  </a:lnTo>
                  <a:lnTo>
                    <a:pt x="14" y="0"/>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37" name="Freeform 257">
              <a:extLst>
                <a:ext uri="{FF2B5EF4-FFF2-40B4-BE49-F238E27FC236}">
                  <a16:creationId xmlns:a16="http://schemas.microsoft.com/office/drawing/2014/main" id="{FBFBDEA3-5BCA-4EC1-BF77-8028788714A5}"/>
                </a:ext>
              </a:extLst>
            </p:cNvPr>
            <p:cNvSpPr>
              <a:spLocks/>
            </p:cNvSpPr>
            <p:nvPr/>
          </p:nvSpPr>
          <p:spPr bwMode="auto">
            <a:xfrm>
              <a:off x="3668006" y="3147108"/>
              <a:ext cx="27343" cy="46378"/>
            </a:xfrm>
            <a:custGeom>
              <a:avLst/>
              <a:gdLst>
                <a:gd name="T0" fmla="*/ 2 w 20"/>
                <a:gd name="T1" fmla="*/ 3 h 35"/>
                <a:gd name="T2" fmla="*/ 5 w 20"/>
                <a:gd name="T3" fmla="*/ 3 h 35"/>
                <a:gd name="T4" fmla="*/ 12 w 20"/>
                <a:gd name="T5" fmla="*/ 1 h 35"/>
                <a:gd name="T6" fmla="*/ 16 w 20"/>
                <a:gd name="T7" fmla="*/ 0 h 35"/>
                <a:gd name="T8" fmla="*/ 18 w 20"/>
                <a:gd name="T9" fmla="*/ 5 h 35"/>
                <a:gd name="T10" fmla="*/ 19 w 20"/>
                <a:gd name="T11" fmla="*/ 13 h 35"/>
                <a:gd name="T12" fmla="*/ 18 w 20"/>
                <a:gd name="T13" fmla="*/ 20 h 35"/>
                <a:gd name="T14" fmla="*/ 16 w 20"/>
                <a:gd name="T15" fmla="*/ 31 h 35"/>
                <a:gd name="T16" fmla="*/ 9 w 20"/>
                <a:gd name="T17" fmla="*/ 34 h 35"/>
                <a:gd name="T18" fmla="*/ 3 w 20"/>
                <a:gd name="T19" fmla="*/ 31 h 35"/>
                <a:gd name="T20" fmla="*/ 3 w 20"/>
                <a:gd name="T21" fmla="*/ 23 h 35"/>
                <a:gd name="T22" fmla="*/ 3 w 20"/>
                <a:gd name="T23" fmla="*/ 14 h 35"/>
                <a:gd name="T24" fmla="*/ 0 w 20"/>
                <a:gd name="T25" fmla="*/ 8 h 35"/>
                <a:gd name="T26" fmla="*/ 2 w 20"/>
                <a:gd name="T27"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5">
                  <a:moveTo>
                    <a:pt x="2" y="3"/>
                  </a:moveTo>
                  <a:lnTo>
                    <a:pt x="5" y="3"/>
                  </a:lnTo>
                  <a:lnTo>
                    <a:pt x="12" y="1"/>
                  </a:lnTo>
                  <a:lnTo>
                    <a:pt x="16" y="0"/>
                  </a:lnTo>
                  <a:lnTo>
                    <a:pt x="18" y="5"/>
                  </a:lnTo>
                  <a:lnTo>
                    <a:pt x="19" y="13"/>
                  </a:lnTo>
                  <a:lnTo>
                    <a:pt x="18" y="20"/>
                  </a:lnTo>
                  <a:lnTo>
                    <a:pt x="16" y="31"/>
                  </a:lnTo>
                  <a:lnTo>
                    <a:pt x="9" y="34"/>
                  </a:lnTo>
                  <a:lnTo>
                    <a:pt x="3" y="31"/>
                  </a:lnTo>
                  <a:lnTo>
                    <a:pt x="3" y="23"/>
                  </a:lnTo>
                  <a:lnTo>
                    <a:pt x="3" y="14"/>
                  </a:lnTo>
                  <a:lnTo>
                    <a:pt x="0" y="8"/>
                  </a:lnTo>
                  <a:lnTo>
                    <a:pt x="2" y="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38" name="Freeform 258">
              <a:extLst>
                <a:ext uri="{FF2B5EF4-FFF2-40B4-BE49-F238E27FC236}">
                  <a16:creationId xmlns:a16="http://schemas.microsoft.com/office/drawing/2014/main" id="{ED61D4F5-44CE-4BF6-AA0E-05C61E16A2DC}"/>
                </a:ext>
              </a:extLst>
            </p:cNvPr>
            <p:cNvSpPr>
              <a:spLocks/>
            </p:cNvSpPr>
            <p:nvPr/>
          </p:nvSpPr>
          <p:spPr bwMode="auto">
            <a:xfrm>
              <a:off x="3876051" y="3125703"/>
              <a:ext cx="103428" cy="105837"/>
            </a:xfrm>
            <a:custGeom>
              <a:avLst/>
              <a:gdLst>
                <a:gd name="T0" fmla="*/ 34 w 76"/>
                <a:gd name="T1" fmla="*/ 58 h 80"/>
                <a:gd name="T2" fmla="*/ 16 w 76"/>
                <a:gd name="T3" fmla="*/ 54 h 80"/>
                <a:gd name="T4" fmla="*/ 14 w 76"/>
                <a:gd name="T5" fmla="*/ 45 h 80"/>
                <a:gd name="T6" fmla="*/ 1 w 76"/>
                <a:gd name="T7" fmla="*/ 32 h 80"/>
                <a:gd name="T8" fmla="*/ 0 w 76"/>
                <a:gd name="T9" fmla="*/ 21 h 80"/>
                <a:gd name="T10" fmla="*/ 13 w 76"/>
                <a:gd name="T11" fmla="*/ 10 h 80"/>
                <a:gd name="T12" fmla="*/ 24 w 76"/>
                <a:gd name="T13" fmla="*/ 14 h 80"/>
                <a:gd name="T14" fmla="*/ 38 w 76"/>
                <a:gd name="T15" fmla="*/ 3 h 80"/>
                <a:gd name="T16" fmla="*/ 45 w 76"/>
                <a:gd name="T17" fmla="*/ 3 h 80"/>
                <a:gd name="T18" fmla="*/ 58 w 76"/>
                <a:gd name="T19" fmla="*/ 7 h 80"/>
                <a:gd name="T20" fmla="*/ 67 w 76"/>
                <a:gd name="T21" fmla="*/ 0 h 80"/>
                <a:gd name="T22" fmla="*/ 75 w 76"/>
                <a:gd name="T23" fmla="*/ 0 h 80"/>
                <a:gd name="T24" fmla="*/ 75 w 76"/>
                <a:gd name="T25" fmla="*/ 13 h 80"/>
                <a:gd name="T26" fmla="*/ 66 w 76"/>
                <a:gd name="T27" fmla="*/ 14 h 80"/>
                <a:gd name="T28" fmla="*/ 61 w 76"/>
                <a:gd name="T29" fmla="*/ 19 h 80"/>
                <a:gd name="T30" fmla="*/ 56 w 76"/>
                <a:gd name="T31" fmla="*/ 24 h 80"/>
                <a:gd name="T32" fmla="*/ 60 w 76"/>
                <a:gd name="T33" fmla="*/ 31 h 80"/>
                <a:gd name="T34" fmla="*/ 49 w 76"/>
                <a:gd name="T35" fmla="*/ 33 h 80"/>
                <a:gd name="T36" fmla="*/ 45 w 76"/>
                <a:gd name="T37" fmla="*/ 30 h 80"/>
                <a:gd name="T38" fmla="*/ 40 w 76"/>
                <a:gd name="T39" fmla="*/ 31 h 80"/>
                <a:gd name="T40" fmla="*/ 45 w 76"/>
                <a:gd name="T41" fmla="*/ 37 h 80"/>
                <a:gd name="T42" fmla="*/ 38 w 76"/>
                <a:gd name="T43" fmla="*/ 45 h 80"/>
                <a:gd name="T44" fmla="*/ 48 w 76"/>
                <a:gd name="T45" fmla="*/ 49 h 80"/>
                <a:gd name="T46" fmla="*/ 61 w 76"/>
                <a:gd name="T47" fmla="*/ 58 h 80"/>
                <a:gd name="T48" fmla="*/ 64 w 76"/>
                <a:gd name="T49" fmla="*/ 65 h 80"/>
                <a:gd name="T50" fmla="*/ 59 w 76"/>
                <a:gd name="T51" fmla="*/ 64 h 80"/>
                <a:gd name="T52" fmla="*/ 45 w 76"/>
                <a:gd name="T53" fmla="*/ 69 h 80"/>
                <a:gd name="T54" fmla="*/ 50 w 76"/>
                <a:gd name="T55" fmla="*/ 77 h 80"/>
                <a:gd name="T56" fmla="*/ 26 w 76"/>
                <a:gd name="T57" fmla="*/ 79 h 80"/>
                <a:gd name="T58" fmla="*/ 26 w 76"/>
                <a:gd name="T59" fmla="*/ 69 h 80"/>
                <a:gd name="T60" fmla="*/ 16 w 76"/>
                <a:gd name="T61" fmla="*/ 65 h 80"/>
                <a:gd name="T62" fmla="*/ 26 w 76"/>
                <a:gd name="T63" fmla="*/ 61 h 80"/>
                <a:gd name="T64" fmla="*/ 32 w 76"/>
                <a:gd name="T65" fmla="*/ 60 h 80"/>
                <a:gd name="T66" fmla="*/ 34 w 76"/>
                <a:gd name="T67" fmla="*/ 5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 h="80">
                  <a:moveTo>
                    <a:pt x="34" y="58"/>
                  </a:moveTo>
                  <a:lnTo>
                    <a:pt x="16" y="54"/>
                  </a:lnTo>
                  <a:lnTo>
                    <a:pt x="14" y="45"/>
                  </a:lnTo>
                  <a:lnTo>
                    <a:pt x="1" y="32"/>
                  </a:lnTo>
                  <a:lnTo>
                    <a:pt x="0" y="21"/>
                  </a:lnTo>
                  <a:lnTo>
                    <a:pt x="13" y="10"/>
                  </a:lnTo>
                  <a:lnTo>
                    <a:pt x="24" y="14"/>
                  </a:lnTo>
                  <a:lnTo>
                    <a:pt x="38" y="3"/>
                  </a:lnTo>
                  <a:lnTo>
                    <a:pt x="45" y="3"/>
                  </a:lnTo>
                  <a:lnTo>
                    <a:pt x="58" y="7"/>
                  </a:lnTo>
                  <a:lnTo>
                    <a:pt x="67" y="0"/>
                  </a:lnTo>
                  <a:lnTo>
                    <a:pt x="75" y="0"/>
                  </a:lnTo>
                  <a:lnTo>
                    <a:pt x="75" y="13"/>
                  </a:lnTo>
                  <a:lnTo>
                    <a:pt x="66" y="14"/>
                  </a:lnTo>
                  <a:lnTo>
                    <a:pt x="61" y="19"/>
                  </a:lnTo>
                  <a:lnTo>
                    <a:pt x="56" y="24"/>
                  </a:lnTo>
                  <a:lnTo>
                    <a:pt x="60" y="31"/>
                  </a:lnTo>
                  <a:lnTo>
                    <a:pt x="49" y="33"/>
                  </a:lnTo>
                  <a:lnTo>
                    <a:pt x="45" y="30"/>
                  </a:lnTo>
                  <a:lnTo>
                    <a:pt x="40" y="31"/>
                  </a:lnTo>
                  <a:lnTo>
                    <a:pt x="45" y="37"/>
                  </a:lnTo>
                  <a:lnTo>
                    <a:pt x="38" y="45"/>
                  </a:lnTo>
                  <a:lnTo>
                    <a:pt x="48" y="49"/>
                  </a:lnTo>
                  <a:lnTo>
                    <a:pt x="61" y="58"/>
                  </a:lnTo>
                  <a:lnTo>
                    <a:pt x="64" y="65"/>
                  </a:lnTo>
                  <a:lnTo>
                    <a:pt x="59" y="64"/>
                  </a:lnTo>
                  <a:lnTo>
                    <a:pt x="45" y="69"/>
                  </a:lnTo>
                  <a:lnTo>
                    <a:pt x="50" y="77"/>
                  </a:lnTo>
                  <a:lnTo>
                    <a:pt x="26" y="79"/>
                  </a:lnTo>
                  <a:lnTo>
                    <a:pt x="26" y="69"/>
                  </a:lnTo>
                  <a:lnTo>
                    <a:pt x="16" y="65"/>
                  </a:lnTo>
                  <a:lnTo>
                    <a:pt x="26" y="61"/>
                  </a:lnTo>
                  <a:lnTo>
                    <a:pt x="32" y="60"/>
                  </a:lnTo>
                  <a:lnTo>
                    <a:pt x="34" y="58"/>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39" name="Freeform 259">
              <a:extLst>
                <a:ext uri="{FF2B5EF4-FFF2-40B4-BE49-F238E27FC236}">
                  <a16:creationId xmlns:a16="http://schemas.microsoft.com/office/drawing/2014/main" id="{394B12FB-6005-45D8-B316-7A3EF4DF7FF9}"/>
                </a:ext>
              </a:extLst>
            </p:cNvPr>
            <p:cNvSpPr>
              <a:spLocks/>
            </p:cNvSpPr>
            <p:nvPr/>
          </p:nvSpPr>
          <p:spPr bwMode="auto">
            <a:xfrm>
              <a:off x="3615698" y="2778462"/>
              <a:ext cx="159303" cy="204539"/>
            </a:xfrm>
            <a:custGeom>
              <a:avLst/>
              <a:gdLst>
                <a:gd name="T0" fmla="*/ 119 w 120"/>
                <a:gd name="T1" fmla="*/ 73 h 152"/>
                <a:gd name="T2" fmla="*/ 79 w 120"/>
                <a:gd name="T3" fmla="*/ 90 h 152"/>
                <a:gd name="T4" fmla="*/ 119 w 120"/>
                <a:gd name="T5" fmla="*/ 73 h 152"/>
                <a:gd name="T6" fmla="*/ 110 w 120"/>
                <a:gd name="T7" fmla="*/ 47 h 152"/>
                <a:gd name="T8" fmla="*/ 113 w 120"/>
                <a:gd name="T9" fmla="*/ 18 h 152"/>
                <a:gd name="T10" fmla="*/ 108 w 120"/>
                <a:gd name="T11" fmla="*/ 14 h 152"/>
                <a:gd name="T12" fmla="*/ 73 w 120"/>
                <a:gd name="T13" fmla="*/ 20 h 152"/>
                <a:gd name="T14" fmla="*/ 66 w 120"/>
                <a:gd name="T15" fmla="*/ 12 h 152"/>
                <a:gd name="T16" fmla="*/ 60 w 120"/>
                <a:gd name="T17" fmla="*/ 0 h 152"/>
                <a:gd name="T18" fmla="*/ 43 w 120"/>
                <a:gd name="T19" fmla="*/ 4 h 152"/>
                <a:gd name="T20" fmla="*/ 43 w 120"/>
                <a:gd name="T21" fmla="*/ 19 h 152"/>
                <a:gd name="T22" fmla="*/ 43 w 120"/>
                <a:gd name="T23" fmla="*/ 25 h 152"/>
                <a:gd name="T24" fmla="*/ 38 w 120"/>
                <a:gd name="T25" fmla="*/ 25 h 152"/>
                <a:gd name="T26" fmla="*/ 21 w 120"/>
                <a:gd name="T27" fmla="*/ 31 h 152"/>
                <a:gd name="T28" fmla="*/ 21 w 120"/>
                <a:gd name="T29" fmla="*/ 46 h 152"/>
                <a:gd name="T30" fmla="*/ 13 w 120"/>
                <a:gd name="T31" fmla="*/ 60 h 152"/>
                <a:gd name="T32" fmla="*/ 3 w 120"/>
                <a:gd name="T33" fmla="*/ 67 h 152"/>
                <a:gd name="T34" fmla="*/ 0 w 120"/>
                <a:gd name="T35" fmla="*/ 84 h 152"/>
                <a:gd name="T36" fmla="*/ 9 w 120"/>
                <a:gd name="T37" fmla="*/ 88 h 152"/>
                <a:gd name="T38" fmla="*/ 8 w 120"/>
                <a:gd name="T39" fmla="*/ 98 h 152"/>
                <a:gd name="T40" fmla="*/ 18 w 120"/>
                <a:gd name="T41" fmla="*/ 105 h 152"/>
                <a:gd name="T42" fmla="*/ 31 w 120"/>
                <a:gd name="T43" fmla="*/ 116 h 152"/>
                <a:gd name="T44" fmla="*/ 25 w 120"/>
                <a:gd name="T45" fmla="*/ 124 h 152"/>
                <a:gd name="T46" fmla="*/ 28 w 120"/>
                <a:gd name="T47" fmla="*/ 146 h 152"/>
                <a:gd name="T48" fmla="*/ 36 w 120"/>
                <a:gd name="T49" fmla="*/ 147 h 152"/>
                <a:gd name="T50" fmla="*/ 46 w 120"/>
                <a:gd name="T51" fmla="*/ 144 h 152"/>
                <a:gd name="T52" fmla="*/ 54 w 120"/>
                <a:gd name="T53" fmla="*/ 149 h 152"/>
                <a:gd name="T54" fmla="*/ 60 w 120"/>
                <a:gd name="T55" fmla="*/ 150 h 152"/>
                <a:gd name="T56" fmla="*/ 65 w 120"/>
                <a:gd name="T57" fmla="*/ 151 h 152"/>
                <a:gd name="T58" fmla="*/ 83 w 120"/>
                <a:gd name="T59" fmla="*/ 143 h 152"/>
                <a:gd name="T60" fmla="*/ 97 w 120"/>
                <a:gd name="T61" fmla="*/ 136 h 152"/>
                <a:gd name="T62" fmla="*/ 101 w 120"/>
                <a:gd name="T63" fmla="*/ 131 h 152"/>
                <a:gd name="T64" fmla="*/ 102 w 120"/>
                <a:gd name="T65" fmla="*/ 115 h 152"/>
                <a:gd name="T66" fmla="*/ 79 w 120"/>
                <a:gd name="T67" fmla="*/ 90 h 152"/>
                <a:gd name="T68" fmla="*/ 119 w 120"/>
                <a:gd name="T69" fmla="*/ 7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152">
                  <a:moveTo>
                    <a:pt x="119" y="73"/>
                  </a:moveTo>
                  <a:lnTo>
                    <a:pt x="79" y="90"/>
                  </a:lnTo>
                  <a:lnTo>
                    <a:pt x="119" y="73"/>
                  </a:lnTo>
                  <a:lnTo>
                    <a:pt x="110" y="47"/>
                  </a:lnTo>
                  <a:lnTo>
                    <a:pt x="113" y="18"/>
                  </a:lnTo>
                  <a:lnTo>
                    <a:pt x="108" y="14"/>
                  </a:lnTo>
                  <a:lnTo>
                    <a:pt x="73" y="20"/>
                  </a:lnTo>
                  <a:lnTo>
                    <a:pt x="66" y="12"/>
                  </a:lnTo>
                  <a:lnTo>
                    <a:pt x="60" y="0"/>
                  </a:lnTo>
                  <a:lnTo>
                    <a:pt x="43" y="4"/>
                  </a:lnTo>
                  <a:lnTo>
                    <a:pt x="43" y="19"/>
                  </a:lnTo>
                  <a:lnTo>
                    <a:pt x="43" y="25"/>
                  </a:lnTo>
                  <a:lnTo>
                    <a:pt x="38" y="25"/>
                  </a:lnTo>
                  <a:lnTo>
                    <a:pt x="21" y="31"/>
                  </a:lnTo>
                  <a:lnTo>
                    <a:pt x="21" y="46"/>
                  </a:lnTo>
                  <a:lnTo>
                    <a:pt x="13" y="60"/>
                  </a:lnTo>
                  <a:lnTo>
                    <a:pt x="3" y="67"/>
                  </a:lnTo>
                  <a:lnTo>
                    <a:pt x="0" y="84"/>
                  </a:lnTo>
                  <a:lnTo>
                    <a:pt x="9" y="88"/>
                  </a:lnTo>
                  <a:lnTo>
                    <a:pt x="8" y="98"/>
                  </a:lnTo>
                  <a:lnTo>
                    <a:pt x="18" y="105"/>
                  </a:lnTo>
                  <a:lnTo>
                    <a:pt x="31" y="116"/>
                  </a:lnTo>
                  <a:lnTo>
                    <a:pt x="25" y="124"/>
                  </a:lnTo>
                  <a:lnTo>
                    <a:pt x="28" y="146"/>
                  </a:lnTo>
                  <a:lnTo>
                    <a:pt x="36" y="147"/>
                  </a:lnTo>
                  <a:lnTo>
                    <a:pt x="46" y="144"/>
                  </a:lnTo>
                  <a:lnTo>
                    <a:pt x="54" y="149"/>
                  </a:lnTo>
                  <a:lnTo>
                    <a:pt x="60" y="150"/>
                  </a:lnTo>
                  <a:lnTo>
                    <a:pt x="65" y="151"/>
                  </a:lnTo>
                  <a:lnTo>
                    <a:pt x="83" y="143"/>
                  </a:lnTo>
                  <a:lnTo>
                    <a:pt x="97" y="136"/>
                  </a:lnTo>
                  <a:lnTo>
                    <a:pt x="101" y="131"/>
                  </a:lnTo>
                  <a:lnTo>
                    <a:pt x="102" y="115"/>
                  </a:lnTo>
                  <a:lnTo>
                    <a:pt x="79" y="90"/>
                  </a:lnTo>
                  <a:lnTo>
                    <a:pt x="119" y="7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40" name="Freeform 260">
              <a:extLst>
                <a:ext uri="{FF2B5EF4-FFF2-40B4-BE49-F238E27FC236}">
                  <a16:creationId xmlns:a16="http://schemas.microsoft.com/office/drawing/2014/main" id="{4222DCFB-635E-481E-8CCA-F54D90EE3260}"/>
                </a:ext>
              </a:extLst>
            </p:cNvPr>
            <p:cNvSpPr>
              <a:spLocks/>
            </p:cNvSpPr>
            <p:nvPr/>
          </p:nvSpPr>
          <p:spPr bwMode="auto">
            <a:xfrm>
              <a:off x="3761923" y="2777273"/>
              <a:ext cx="175946" cy="140324"/>
            </a:xfrm>
            <a:custGeom>
              <a:avLst/>
              <a:gdLst>
                <a:gd name="T0" fmla="*/ 9 w 132"/>
                <a:gd name="T1" fmla="*/ 74 h 105"/>
                <a:gd name="T2" fmla="*/ 0 w 132"/>
                <a:gd name="T3" fmla="*/ 48 h 105"/>
                <a:gd name="T4" fmla="*/ 3 w 132"/>
                <a:gd name="T5" fmla="*/ 19 h 105"/>
                <a:gd name="T6" fmla="*/ 43 w 132"/>
                <a:gd name="T7" fmla="*/ 0 h 105"/>
                <a:gd name="T8" fmla="*/ 57 w 132"/>
                <a:gd name="T9" fmla="*/ 7 h 105"/>
                <a:gd name="T10" fmla="*/ 77 w 132"/>
                <a:gd name="T11" fmla="*/ 3 h 105"/>
                <a:gd name="T12" fmla="*/ 101 w 132"/>
                <a:gd name="T13" fmla="*/ 13 h 105"/>
                <a:gd name="T14" fmla="*/ 120 w 132"/>
                <a:gd name="T15" fmla="*/ 30 h 105"/>
                <a:gd name="T16" fmla="*/ 120 w 132"/>
                <a:gd name="T17" fmla="*/ 50 h 105"/>
                <a:gd name="T18" fmla="*/ 129 w 132"/>
                <a:gd name="T19" fmla="*/ 50 h 105"/>
                <a:gd name="T20" fmla="*/ 130 w 132"/>
                <a:gd name="T21" fmla="*/ 66 h 105"/>
                <a:gd name="T22" fmla="*/ 131 w 132"/>
                <a:gd name="T23" fmla="*/ 93 h 105"/>
                <a:gd name="T24" fmla="*/ 120 w 132"/>
                <a:gd name="T25" fmla="*/ 101 h 105"/>
                <a:gd name="T26" fmla="*/ 96 w 132"/>
                <a:gd name="T27" fmla="*/ 103 h 105"/>
                <a:gd name="T28" fmla="*/ 73 w 132"/>
                <a:gd name="T29" fmla="*/ 104 h 105"/>
                <a:gd name="T30" fmla="*/ 57 w 132"/>
                <a:gd name="T31" fmla="*/ 95 h 105"/>
                <a:gd name="T32" fmla="*/ 23 w 132"/>
                <a:gd name="T33" fmla="*/ 84 h 105"/>
                <a:gd name="T34" fmla="*/ 9 w 132"/>
                <a:gd name="T35" fmla="*/ 7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05">
                  <a:moveTo>
                    <a:pt x="9" y="74"/>
                  </a:moveTo>
                  <a:lnTo>
                    <a:pt x="0" y="48"/>
                  </a:lnTo>
                  <a:lnTo>
                    <a:pt x="3" y="19"/>
                  </a:lnTo>
                  <a:lnTo>
                    <a:pt x="43" y="0"/>
                  </a:lnTo>
                  <a:lnTo>
                    <a:pt x="57" y="7"/>
                  </a:lnTo>
                  <a:lnTo>
                    <a:pt x="77" y="3"/>
                  </a:lnTo>
                  <a:lnTo>
                    <a:pt x="101" y="13"/>
                  </a:lnTo>
                  <a:lnTo>
                    <a:pt x="120" y="30"/>
                  </a:lnTo>
                  <a:lnTo>
                    <a:pt x="120" y="50"/>
                  </a:lnTo>
                  <a:lnTo>
                    <a:pt x="129" y="50"/>
                  </a:lnTo>
                  <a:lnTo>
                    <a:pt x="130" y="66"/>
                  </a:lnTo>
                  <a:lnTo>
                    <a:pt x="131" y="93"/>
                  </a:lnTo>
                  <a:lnTo>
                    <a:pt x="120" y="101"/>
                  </a:lnTo>
                  <a:lnTo>
                    <a:pt x="96" y="103"/>
                  </a:lnTo>
                  <a:lnTo>
                    <a:pt x="73" y="104"/>
                  </a:lnTo>
                  <a:lnTo>
                    <a:pt x="57" y="95"/>
                  </a:lnTo>
                  <a:lnTo>
                    <a:pt x="23" y="84"/>
                  </a:lnTo>
                  <a:lnTo>
                    <a:pt x="9" y="74"/>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41" name="Freeform 261">
              <a:extLst>
                <a:ext uri="{FF2B5EF4-FFF2-40B4-BE49-F238E27FC236}">
                  <a16:creationId xmlns:a16="http://schemas.microsoft.com/office/drawing/2014/main" id="{EF331229-91AF-4EB7-AAD2-F3B6190A4379}"/>
                </a:ext>
              </a:extLst>
            </p:cNvPr>
            <p:cNvSpPr>
              <a:spLocks/>
            </p:cNvSpPr>
            <p:nvPr/>
          </p:nvSpPr>
          <p:spPr bwMode="auto">
            <a:xfrm>
              <a:off x="3714370" y="2362248"/>
              <a:ext cx="203289" cy="401944"/>
            </a:xfrm>
            <a:custGeom>
              <a:avLst/>
              <a:gdLst>
                <a:gd name="T0" fmla="*/ 0 w 153"/>
                <a:gd name="T1" fmla="*/ 234 h 301"/>
                <a:gd name="T2" fmla="*/ 5 w 153"/>
                <a:gd name="T3" fmla="*/ 225 h 301"/>
                <a:gd name="T4" fmla="*/ 9 w 153"/>
                <a:gd name="T5" fmla="*/ 206 h 301"/>
                <a:gd name="T6" fmla="*/ 24 w 153"/>
                <a:gd name="T7" fmla="*/ 199 h 301"/>
                <a:gd name="T8" fmla="*/ 20 w 153"/>
                <a:gd name="T9" fmla="*/ 182 h 301"/>
                <a:gd name="T10" fmla="*/ 13 w 153"/>
                <a:gd name="T11" fmla="*/ 166 h 301"/>
                <a:gd name="T12" fmla="*/ 9 w 153"/>
                <a:gd name="T13" fmla="*/ 150 h 301"/>
                <a:gd name="T14" fmla="*/ 6 w 153"/>
                <a:gd name="T15" fmla="*/ 123 h 301"/>
                <a:gd name="T16" fmla="*/ 9 w 153"/>
                <a:gd name="T17" fmla="*/ 113 h 301"/>
                <a:gd name="T18" fmla="*/ 24 w 153"/>
                <a:gd name="T19" fmla="*/ 116 h 301"/>
                <a:gd name="T20" fmla="*/ 31 w 153"/>
                <a:gd name="T21" fmla="*/ 111 h 301"/>
                <a:gd name="T22" fmla="*/ 21 w 153"/>
                <a:gd name="T23" fmla="*/ 104 h 301"/>
                <a:gd name="T24" fmla="*/ 28 w 153"/>
                <a:gd name="T25" fmla="*/ 90 h 301"/>
                <a:gd name="T26" fmla="*/ 31 w 153"/>
                <a:gd name="T27" fmla="*/ 72 h 301"/>
                <a:gd name="T28" fmla="*/ 37 w 153"/>
                <a:gd name="T29" fmla="*/ 68 h 301"/>
                <a:gd name="T30" fmla="*/ 42 w 153"/>
                <a:gd name="T31" fmla="*/ 57 h 301"/>
                <a:gd name="T32" fmla="*/ 51 w 153"/>
                <a:gd name="T33" fmla="*/ 57 h 301"/>
                <a:gd name="T34" fmla="*/ 53 w 153"/>
                <a:gd name="T35" fmla="*/ 43 h 301"/>
                <a:gd name="T36" fmla="*/ 61 w 153"/>
                <a:gd name="T37" fmla="*/ 39 h 301"/>
                <a:gd name="T38" fmla="*/ 63 w 153"/>
                <a:gd name="T39" fmla="*/ 26 h 301"/>
                <a:gd name="T40" fmla="*/ 71 w 153"/>
                <a:gd name="T41" fmla="*/ 29 h 301"/>
                <a:gd name="T42" fmla="*/ 79 w 153"/>
                <a:gd name="T43" fmla="*/ 25 h 301"/>
                <a:gd name="T44" fmla="*/ 87 w 153"/>
                <a:gd name="T45" fmla="*/ 17 h 301"/>
                <a:gd name="T46" fmla="*/ 97 w 153"/>
                <a:gd name="T47" fmla="*/ 17 h 301"/>
                <a:gd name="T48" fmla="*/ 110 w 153"/>
                <a:gd name="T49" fmla="*/ 17 h 301"/>
                <a:gd name="T50" fmla="*/ 118 w 153"/>
                <a:gd name="T51" fmla="*/ 8 h 301"/>
                <a:gd name="T52" fmla="*/ 127 w 153"/>
                <a:gd name="T53" fmla="*/ 0 h 301"/>
                <a:gd name="T54" fmla="*/ 138 w 153"/>
                <a:gd name="T55" fmla="*/ 13 h 301"/>
                <a:gd name="T56" fmla="*/ 149 w 153"/>
                <a:gd name="T57" fmla="*/ 23 h 301"/>
                <a:gd name="T58" fmla="*/ 150 w 153"/>
                <a:gd name="T59" fmla="*/ 32 h 301"/>
                <a:gd name="T60" fmla="*/ 152 w 153"/>
                <a:gd name="T61" fmla="*/ 63 h 301"/>
                <a:gd name="T62" fmla="*/ 142 w 153"/>
                <a:gd name="T63" fmla="*/ 70 h 301"/>
                <a:gd name="T64" fmla="*/ 131 w 153"/>
                <a:gd name="T65" fmla="*/ 79 h 301"/>
                <a:gd name="T66" fmla="*/ 127 w 153"/>
                <a:gd name="T67" fmla="*/ 96 h 301"/>
                <a:gd name="T68" fmla="*/ 127 w 153"/>
                <a:gd name="T69" fmla="*/ 107 h 301"/>
                <a:gd name="T70" fmla="*/ 112 w 153"/>
                <a:gd name="T71" fmla="*/ 117 h 301"/>
                <a:gd name="T72" fmla="*/ 104 w 153"/>
                <a:gd name="T73" fmla="*/ 128 h 301"/>
                <a:gd name="T74" fmla="*/ 84 w 153"/>
                <a:gd name="T75" fmla="*/ 132 h 301"/>
                <a:gd name="T76" fmla="*/ 76 w 153"/>
                <a:gd name="T77" fmla="*/ 148 h 301"/>
                <a:gd name="T78" fmla="*/ 76 w 153"/>
                <a:gd name="T79" fmla="*/ 176 h 301"/>
                <a:gd name="T80" fmla="*/ 87 w 153"/>
                <a:gd name="T81" fmla="*/ 189 h 301"/>
                <a:gd name="T82" fmla="*/ 93 w 153"/>
                <a:gd name="T83" fmla="*/ 200 h 301"/>
                <a:gd name="T84" fmla="*/ 69 w 153"/>
                <a:gd name="T85" fmla="*/ 211 h 301"/>
                <a:gd name="T86" fmla="*/ 80 w 153"/>
                <a:gd name="T87" fmla="*/ 211 h 301"/>
                <a:gd name="T88" fmla="*/ 87 w 153"/>
                <a:gd name="T89" fmla="*/ 217 h 301"/>
                <a:gd name="T90" fmla="*/ 90 w 153"/>
                <a:gd name="T91" fmla="*/ 228 h 301"/>
                <a:gd name="T92" fmla="*/ 82 w 153"/>
                <a:gd name="T93" fmla="*/ 234 h 301"/>
                <a:gd name="T94" fmla="*/ 71 w 153"/>
                <a:gd name="T95" fmla="*/ 245 h 301"/>
                <a:gd name="T96" fmla="*/ 71 w 153"/>
                <a:gd name="T97" fmla="*/ 265 h 301"/>
                <a:gd name="T98" fmla="*/ 60 w 153"/>
                <a:gd name="T99" fmla="*/ 272 h 301"/>
                <a:gd name="T100" fmla="*/ 57 w 153"/>
                <a:gd name="T101" fmla="*/ 283 h 301"/>
                <a:gd name="T102" fmla="*/ 45 w 153"/>
                <a:gd name="T103" fmla="*/ 290 h 301"/>
                <a:gd name="T104" fmla="*/ 39 w 153"/>
                <a:gd name="T105" fmla="*/ 300 h 301"/>
                <a:gd name="T106" fmla="*/ 23 w 153"/>
                <a:gd name="T107" fmla="*/ 294 h 301"/>
                <a:gd name="T108" fmla="*/ 24 w 153"/>
                <a:gd name="T109" fmla="*/ 275 h 301"/>
                <a:gd name="T110" fmla="*/ 15 w 153"/>
                <a:gd name="T111" fmla="*/ 272 h 301"/>
                <a:gd name="T112" fmla="*/ 13 w 153"/>
                <a:gd name="T113" fmla="*/ 261 h 301"/>
                <a:gd name="T114" fmla="*/ 6 w 153"/>
                <a:gd name="T115" fmla="*/ 247 h 301"/>
                <a:gd name="T116" fmla="*/ 0 w 153"/>
                <a:gd name="T117" fmla="*/ 23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3" h="301">
                  <a:moveTo>
                    <a:pt x="0" y="234"/>
                  </a:moveTo>
                  <a:lnTo>
                    <a:pt x="5" y="225"/>
                  </a:lnTo>
                  <a:lnTo>
                    <a:pt x="9" y="206"/>
                  </a:lnTo>
                  <a:lnTo>
                    <a:pt x="24" y="199"/>
                  </a:lnTo>
                  <a:lnTo>
                    <a:pt x="20" y="182"/>
                  </a:lnTo>
                  <a:lnTo>
                    <a:pt x="13" y="166"/>
                  </a:lnTo>
                  <a:lnTo>
                    <a:pt x="9" y="150"/>
                  </a:lnTo>
                  <a:lnTo>
                    <a:pt x="6" y="123"/>
                  </a:lnTo>
                  <a:lnTo>
                    <a:pt x="9" y="113"/>
                  </a:lnTo>
                  <a:lnTo>
                    <a:pt x="24" y="116"/>
                  </a:lnTo>
                  <a:lnTo>
                    <a:pt x="31" y="111"/>
                  </a:lnTo>
                  <a:lnTo>
                    <a:pt x="21" y="104"/>
                  </a:lnTo>
                  <a:lnTo>
                    <a:pt x="28" y="90"/>
                  </a:lnTo>
                  <a:lnTo>
                    <a:pt x="31" y="72"/>
                  </a:lnTo>
                  <a:lnTo>
                    <a:pt x="37" y="68"/>
                  </a:lnTo>
                  <a:lnTo>
                    <a:pt x="42" y="57"/>
                  </a:lnTo>
                  <a:lnTo>
                    <a:pt x="51" y="57"/>
                  </a:lnTo>
                  <a:lnTo>
                    <a:pt x="53" y="43"/>
                  </a:lnTo>
                  <a:lnTo>
                    <a:pt x="61" y="39"/>
                  </a:lnTo>
                  <a:lnTo>
                    <a:pt x="63" y="26"/>
                  </a:lnTo>
                  <a:lnTo>
                    <a:pt x="71" y="29"/>
                  </a:lnTo>
                  <a:lnTo>
                    <a:pt x="79" y="25"/>
                  </a:lnTo>
                  <a:lnTo>
                    <a:pt x="87" y="17"/>
                  </a:lnTo>
                  <a:lnTo>
                    <a:pt x="97" y="17"/>
                  </a:lnTo>
                  <a:lnTo>
                    <a:pt x="110" y="17"/>
                  </a:lnTo>
                  <a:lnTo>
                    <a:pt x="118" y="8"/>
                  </a:lnTo>
                  <a:lnTo>
                    <a:pt x="127" y="0"/>
                  </a:lnTo>
                  <a:lnTo>
                    <a:pt x="138" y="13"/>
                  </a:lnTo>
                  <a:lnTo>
                    <a:pt x="149" y="23"/>
                  </a:lnTo>
                  <a:lnTo>
                    <a:pt x="150" y="32"/>
                  </a:lnTo>
                  <a:lnTo>
                    <a:pt x="152" y="63"/>
                  </a:lnTo>
                  <a:lnTo>
                    <a:pt x="142" y="70"/>
                  </a:lnTo>
                  <a:lnTo>
                    <a:pt x="131" y="79"/>
                  </a:lnTo>
                  <a:lnTo>
                    <a:pt x="127" y="96"/>
                  </a:lnTo>
                  <a:lnTo>
                    <a:pt x="127" y="107"/>
                  </a:lnTo>
                  <a:lnTo>
                    <a:pt x="112" y="117"/>
                  </a:lnTo>
                  <a:lnTo>
                    <a:pt x="104" y="128"/>
                  </a:lnTo>
                  <a:lnTo>
                    <a:pt x="84" y="132"/>
                  </a:lnTo>
                  <a:lnTo>
                    <a:pt x="76" y="148"/>
                  </a:lnTo>
                  <a:lnTo>
                    <a:pt x="76" y="176"/>
                  </a:lnTo>
                  <a:lnTo>
                    <a:pt x="87" y="189"/>
                  </a:lnTo>
                  <a:lnTo>
                    <a:pt x="93" y="200"/>
                  </a:lnTo>
                  <a:lnTo>
                    <a:pt x="69" y="211"/>
                  </a:lnTo>
                  <a:lnTo>
                    <a:pt x="80" y="211"/>
                  </a:lnTo>
                  <a:lnTo>
                    <a:pt x="87" y="217"/>
                  </a:lnTo>
                  <a:lnTo>
                    <a:pt x="90" y="228"/>
                  </a:lnTo>
                  <a:lnTo>
                    <a:pt x="82" y="234"/>
                  </a:lnTo>
                  <a:lnTo>
                    <a:pt x="71" y="245"/>
                  </a:lnTo>
                  <a:lnTo>
                    <a:pt x="71" y="265"/>
                  </a:lnTo>
                  <a:lnTo>
                    <a:pt x="60" y="272"/>
                  </a:lnTo>
                  <a:lnTo>
                    <a:pt x="57" y="283"/>
                  </a:lnTo>
                  <a:lnTo>
                    <a:pt x="45" y="290"/>
                  </a:lnTo>
                  <a:lnTo>
                    <a:pt x="39" y="300"/>
                  </a:lnTo>
                  <a:lnTo>
                    <a:pt x="23" y="294"/>
                  </a:lnTo>
                  <a:lnTo>
                    <a:pt x="24" y="275"/>
                  </a:lnTo>
                  <a:lnTo>
                    <a:pt x="15" y="272"/>
                  </a:lnTo>
                  <a:lnTo>
                    <a:pt x="13" y="261"/>
                  </a:lnTo>
                  <a:lnTo>
                    <a:pt x="6" y="247"/>
                  </a:lnTo>
                  <a:lnTo>
                    <a:pt x="0" y="234"/>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42" name="Freeform 262">
              <a:extLst>
                <a:ext uri="{FF2B5EF4-FFF2-40B4-BE49-F238E27FC236}">
                  <a16:creationId xmlns:a16="http://schemas.microsoft.com/office/drawing/2014/main" id="{F6658DDE-46E4-4E82-86DA-F2E8A6283186}"/>
                </a:ext>
              </a:extLst>
            </p:cNvPr>
            <p:cNvSpPr>
              <a:spLocks/>
            </p:cNvSpPr>
            <p:nvPr/>
          </p:nvSpPr>
          <p:spPr bwMode="auto">
            <a:xfrm>
              <a:off x="3874862" y="2966353"/>
              <a:ext cx="156925" cy="114161"/>
            </a:xfrm>
            <a:custGeom>
              <a:avLst/>
              <a:gdLst>
                <a:gd name="T0" fmla="*/ 42 w 118"/>
                <a:gd name="T1" fmla="*/ 68 h 85"/>
                <a:gd name="T2" fmla="*/ 33 w 118"/>
                <a:gd name="T3" fmla="*/ 61 h 85"/>
                <a:gd name="T4" fmla="*/ 20 w 118"/>
                <a:gd name="T5" fmla="*/ 53 h 85"/>
                <a:gd name="T6" fmla="*/ 4 w 118"/>
                <a:gd name="T7" fmla="*/ 45 h 85"/>
                <a:gd name="T8" fmla="*/ 0 w 118"/>
                <a:gd name="T9" fmla="*/ 31 h 85"/>
                <a:gd name="T10" fmla="*/ 14 w 118"/>
                <a:gd name="T11" fmla="*/ 27 h 85"/>
                <a:gd name="T12" fmla="*/ 25 w 118"/>
                <a:gd name="T13" fmla="*/ 10 h 85"/>
                <a:gd name="T14" fmla="*/ 31 w 118"/>
                <a:gd name="T15" fmla="*/ 1 h 85"/>
                <a:gd name="T16" fmla="*/ 51 w 118"/>
                <a:gd name="T17" fmla="*/ 0 h 85"/>
                <a:gd name="T18" fmla="*/ 59 w 118"/>
                <a:gd name="T19" fmla="*/ 6 h 85"/>
                <a:gd name="T20" fmla="*/ 80 w 118"/>
                <a:gd name="T21" fmla="*/ 8 h 85"/>
                <a:gd name="T22" fmla="*/ 88 w 118"/>
                <a:gd name="T23" fmla="*/ 4 h 85"/>
                <a:gd name="T24" fmla="*/ 108 w 118"/>
                <a:gd name="T25" fmla="*/ 24 h 85"/>
                <a:gd name="T26" fmla="*/ 109 w 118"/>
                <a:gd name="T27" fmla="*/ 41 h 85"/>
                <a:gd name="T28" fmla="*/ 117 w 118"/>
                <a:gd name="T29" fmla="*/ 59 h 85"/>
                <a:gd name="T30" fmla="*/ 115 w 118"/>
                <a:gd name="T31" fmla="*/ 69 h 85"/>
                <a:gd name="T32" fmla="*/ 104 w 118"/>
                <a:gd name="T33" fmla="*/ 79 h 85"/>
                <a:gd name="T34" fmla="*/ 91 w 118"/>
                <a:gd name="T35" fmla="*/ 81 h 85"/>
                <a:gd name="T36" fmla="*/ 70 w 118"/>
                <a:gd name="T37" fmla="*/ 84 h 85"/>
                <a:gd name="T38" fmla="*/ 66 w 118"/>
                <a:gd name="T39" fmla="*/ 71 h 85"/>
                <a:gd name="T40" fmla="*/ 50 w 118"/>
                <a:gd name="T41" fmla="*/ 65 h 85"/>
                <a:gd name="T42" fmla="*/ 46 w 118"/>
                <a:gd name="T43" fmla="*/ 71 h 85"/>
                <a:gd name="T44" fmla="*/ 42 w 118"/>
                <a:gd name="T45" fmla="*/ 6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8" h="85">
                  <a:moveTo>
                    <a:pt x="42" y="68"/>
                  </a:moveTo>
                  <a:lnTo>
                    <a:pt x="33" y="61"/>
                  </a:lnTo>
                  <a:lnTo>
                    <a:pt x="20" y="53"/>
                  </a:lnTo>
                  <a:lnTo>
                    <a:pt x="4" y="45"/>
                  </a:lnTo>
                  <a:lnTo>
                    <a:pt x="0" y="31"/>
                  </a:lnTo>
                  <a:lnTo>
                    <a:pt x="14" y="27"/>
                  </a:lnTo>
                  <a:lnTo>
                    <a:pt x="25" y="10"/>
                  </a:lnTo>
                  <a:lnTo>
                    <a:pt x="31" y="1"/>
                  </a:lnTo>
                  <a:lnTo>
                    <a:pt x="51" y="0"/>
                  </a:lnTo>
                  <a:lnTo>
                    <a:pt x="59" y="6"/>
                  </a:lnTo>
                  <a:lnTo>
                    <a:pt x="80" y="8"/>
                  </a:lnTo>
                  <a:lnTo>
                    <a:pt x="88" y="4"/>
                  </a:lnTo>
                  <a:lnTo>
                    <a:pt x="108" y="24"/>
                  </a:lnTo>
                  <a:lnTo>
                    <a:pt x="109" y="41"/>
                  </a:lnTo>
                  <a:lnTo>
                    <a:pt x="117" y="59"/>
                  </a:lnTo>
                  <a:lnTo>
                    <a:pt x="115" y="69"/>
                  </a:lnTo>
                  <a:lnTo>
                    <a:pt x="104" y="79"/>
                  </a:lnTo>
                  <a:lnTo>
                    <a:pt x="91" y="81"/>
                  </a:lnTo>
                  <a:lnTo>
                    <a:pt x="70" y="84"/>
                  </a:lnTo>
                  <a:lnTo>
                    <a:pt x="66" y="71"/>
                  </a:lnTo>
                  <a:lnTo>
                    <a:pt x="50" y="65"/>
                  </a:lnTo>
                  <a:lnTo>
                    <a:pt x="46" y="71"/>
                  </a:lnTo>
                  <a:lnTo>
                    <a:pt x="42" y="68"/>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43" name="Freeform 263">
              <a:extLst>
                <a:ext uri="{FF2B5EF4-FFF2-40B4-BE49-F238E27FC236}">
                  <a16:creationId xmlns:a16="http://schemas.microsoft.com/office/drawing/2014/main" id="{B41B8C3A-A466-47E8-8031-1D3B3935FCF2}"/>
                </a:ext>
              </a:extLst>
            </p:cNvPr>
            <p:cNvSpPr>
              <a:spLocks/>
            </p:cNvSpPr>
            <p:nvPr/>
          </p:nvSpPr>
          <p:spPr bwMode="auto">
            <a:xfrm>
              <a:off x="3997311" y="3110244"/>
              <a:ext cx="351893" cy="155783"/>
            </a:xfrm>
            <a:custGeom>
              <a:avLst/>
              <a:gdLst>
                <a:gd name="T0" fmla="*/ 134 w 265"/>
                <a:gd name="T1" fmla="*/ 111 h 118"/>
                <a:gd name="T2" fmla="*/ 146 w 265"/>
                <a:gd name="T3" fmla="*/ 108 h 118"/>
                <a:gd name="T4" fmla="*/ 168 w 265"/>
                <a:gd name="T5" fmla="*/ 106 h 118"/>
                <a:gd name="T6" fmla="*/ 184 w 265"/>
                <a:gd name="T7" fmla="*/ 106 h 118"/>
                <a:gd name="T8" fmla="*/ 204 w 265"/>
                <a:gd name="T9" fmla="*/ 102 h 118"/>
                <a:gd name="T10" fmla="*/ 209 w 265"/>
                <a:gd name="T11" fmla="*/ 117 h 118"/>
                <a:gd name="T12" fmla="*/ 218 w 265"/>
                <a:gd name="T13" fmla="*/ 108 h 118"/>
                <a:gd name="T14" fmla="*/ 227 w 265"/>
                <a:gd name="T15" fmla="*/ 99 h 118"/>
                <a:gd name="T16" fmla="*/ 241 w 265"/>
                <a:gd name="T17" fmla="*/ 96 h 118"/>
                <a:gd name="T18" fmla="*/ 247 w 265"/>
                <a:gd name="T19" fmla="*/ 106 h 118"/>
                <a:gd name="T20" fmla="*/ 264 w 265"/>
                <a:gd name="T21" fmla="*/ 107 h 118"/>
                <a:gd name="T22" fmla="*/ 261 w 265"/>
                <a:gd name="T23" fmla="*/ 88 h 118"/>
                <a:gd name="T24" fmla="*/ 253 w 265"/>
                <a:gd name="T25" fmla="*/ 69 h 118"/>
                <a:gd name="T26" fmla="*/ 247 w 265"/>
                <a:gd name="T27" fmla="*/ 50 h 118"/>
                <a:gd name="T28" fmla="*/ 252 w 265"/>
                <a:gd name="T29" fmla="*/ 44 h 118"/>
                <a:gd name="T30" fmla="*/ 241 w 265"/>
                <a:gd name="T31" fmla="*/ 32 h 118"/>
                <a:gd name="T32" fmla="*/ 228 w 265"/>
                <a:gd name="T33" fmla="*/ 12 h 118"/>
                <a:gd name="T34" fmla="*/ 210 w 265"/>
                <a:gd name="T35" fmla="*/ 14 h 118"/>
                <a:gd name="T36" fmla="*/ 202 w 265"/>
                <a:gd name="T37" fmla="*/ 23 h 118"/>
                <a:gd name="T38" fmla="*/ 173 w 265"/>
                <a:gd name="T39" fmla="*/ 25 h 118"/>
                <a:gd name="T40" fmla="*/ 161 w 265"/>
                <a:gd name="T41" fmla="*/ 26 h 118"/>
                <a:gd name="T42" fmla="*/ 146 w 265"/>
                <a:gd name="T43" fmla="*/ 19 h 118"/>
                <a:gd name="T44" fmla="*/ 135 w 265"/>
                <a:gd name="T45" fmla="*/ 19 h 118"/>
                <a:gd name="T46" fmla="*/ 125 w 265"/>
                <a:gd name="T47" fmla="*/ 7 h 118"/>
                <a:gd name="T48" fmla="*/ 112 w 265"/>
                <a:gd name="T49" fmla="*/ 0 h 118"/>
                <a:gd name="T50" fmla="*/ 98 w 265"/>
                <a:gd name="T51" fmla="*/ 7 h 118"/>
                <a:gd name="T52" fmla="*/ 78 w 265"/>
                <a:gd name="T53" fmla="*/ 9 h 118"/>
                <a:gd name="T54" fmla="*/ 64 w 265"/>
                <a:gd name="T55" fmla="*/ 14 h 118"/>
                <a:gd name="T56" fmla="*/ 45 w 265"/>
                <a:gd name="T57" fmla="*/ 15 h 118"/>
                <a:gd name="T58" fmla="*/ 34 w 265"/>
                <a:gd name="T59" fmla="*/ 15 h 118"/>
                <a:gd name="T60" fmla="*/ 19 w 265"/>
                <a:gd name="T61" fmla="*/ 21 h 118"/>
                <a:gd name="T62" fmla="*/ 29 w 265"/>
                <a:gd name="T63" fmla="*/ 26 h 118"/>
                <a:gd name="T64" fmla="*/ 18 w 265"/>
                <a:gd name="T65" fmla="*/ 32 h 118"/>
                <a:gd name="T66" fmla="*/ 14 w 265"/>
                <a:gd name="T67" fmla="*/ 39 h 118"/>
                <a:gd name="T68" fmla="*/ 5 w 265"/>
                <a:gd name="T69" fmla="*/ 48 h 118"/>
                <a:gd name="T70" fmla="*/ 3 w 265"/>
                <a:gd name="T71" fmla="*/ 56 h 118"/>
                <a:gd name="T72" fmla="*/ 0 w 265"/>
                <a:gd name="T73" fmla="*/ 63 h 118"/>
                <a:gd name="T74" fmla="*/ 7 w 265"/>
                <a:gd name="T75" fmla="*/ 65 h 118"/>
                <a:gd name="T76" fmla="*/ 6 w 265"/>
                <a:gd name="T77" fmla="*/ 74 h 118"/>
                <a:gd name="T78" fmla="*/ 11 w 265"/>
                <a:gd name="T79" fmla="*/ 78 h 118"/>
                <a:gd name="T80" fmla="*/ 11 w 265"/>
                <a:gd name="T81" fmla="*/ 88 h 118"/>
                <a:gd name="T82" fmla="*/ 16 w 265"/>
                <a:gd name="T83" fmla="*/ 95 h 118"/>
                <a:gd name="T84" fmla="*/ 22 w 265"/>
                <a:gd name="T85" fmla="*/ 94 h 118"/>
                <a:gd name="T86" fmla="*/ 24 w 265"/>
                <a:gd name="T87" fmla="*/ 101 h 118"/>
                <a:gd name="T88" fmla="*/ 36 w 265"/>
                <a:gd name="T89" fmla="*/ 105 h 118"/>
                <a:gd name="T90" fmla="*/ 44 w 265"/>
                <a:gd name="T91" fmla="*/ 114 h 118"/>
                <a:gd name="T92" fmla="*/ 54 w 265"/>
                <a:gd name="T93" fmla="*/ 111 h 118"/>
                <a:gd name="T94" fmla="*/ 60 w 265"/>
                <a:gd name="T95" fmla="*/ 107 h 118"/>
                <a:gd name="T96" fmla="*/ 68 w 265"/>
                <a:gd name="T97" fmla="*/ 100 h 118"/>
                <a:gd name="T98" fmla="*/ 84 w 265"/>
                <a:gd name="T99" fmla="*/ 111 h 118"/>
                <a:gd name="T100" fmla="*/ 102 w 265"/>
                <a:gd name="T101" fmla="*/ 113 h 118"/>
                <a:gd name="T102" fmla="*/ 121 w 265"/>
                <a:gd name="T103" fmla="*/ 110 h 118"/>
                <a:gd name="T104" fmla="*/ 129 w 265"/>
                <a:gd name="T105" fmla="*/ 110 h 118"/>
                <a:gd name="T106" fmla="*/ 134 w 265"/>
                <a:gd name="T107" fmla="*/ 11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5" h="118">
                  <a:moveTo>
                    <a:pt x="134" y="111"/>
                  </a:moveTo>
                  <a:lnTo>
                    <a:pt x="146" y="108"/>
                  </a:lnTo>
                  <a:lnTo>
                    <a:pt x="168" y="106"/>
                  </a:lnTo>
                  <a:lnTo>
                    <a:pt x="184" y="106"/>
                  </a:lnTo>
                  <a:lnTo>
                    <a:pt x="204" y="102"/>
                  </a:lnTo>
                  <a:lnTo>
                    <a:pt x="209" y="117"/>
                  </a:lnTo>
                  <a:lnTo>
                    <a:pt x="218" y="108"/>
                  </a:lnTo>
                  <a:lnTo>
                    <a:pt x="227" y="99"/>
                  </a:lnTo>
                  <a:lnTo>
                    <a:pt x="241" y="96"/>
                  </a:lnTo>
                  <a:lnTo>
                    <a:pt x="247" y="106"/>
                  </a:lnTo>
                  <a:lnTo>
                    <a:pt x="264" y="107"/>
                  </a:lnTo>
                  <a:lnTo>
                    <a:pt x="261" y="88"/>
                  </a:lnTo>
                  <a:lnTo>
                    <a:pt x="253" y="69"/>
                  </a:lnTo>
                  <a:lnTo>
                    <a:pt x="247" y="50"/>
                  </a:lnTo>
                  <a:lnTo>
                    <a:pt x="252" y="44"/>
                  </a:lnTo>
                  <a:lnTo>
                    <a:pt x="241" y="32"/>
                  </a:lnTo>
                  <a:lnTo>
                    <a:pt x="228" y="12"/>
                  </a:lnTo>
                  <a:lnTo>
                    <a:pt x="210" y="14"/>
                  </a:lnTo>
                  <a:lnTo>
                    <a:pt x="202" y="23"/>
                  </a:lnTo>
                  <a:lnTo>
                    <a:pt x="173" y="25"/>
                  </a:lnTo>
                  <a:lnTo>
                    <a:pt x="161" y="26"/>
                  </a:lnTo>
                  <a:lnTo>
                    <a:pt x="146" y="19"/>
                  </a:lnTo>
                  <a:lnTo>
                    <a:pt x="135" y="19"/>
                  </a:lnTo>
                  <a:lnTo>
                    <a:pt x="125" y="7"/>
                  </a:lnTo>
                  <a:lnTo>
                    <a:pt x="112" y="0"/>
                  </a:lnTo>
                  <a:lnTo>
                    <a:pt x="98" y="7"/>
                  </a:lnTo>
                  <a:lnTo>
                    <a:pt x="78" y="9"/>
                  </a:lnTo>
                  <a:lnTo>
                    <a:pt x="64" y="14"/>
                  </a:lnTo>
                  <a:lnTo>
                    <a:pt x="45" y="15"/>
                  </a:lnTo>
                  <a:lnTo>
                    <a:pt x="34" y="15"/>
                  </a:lnTo>
                  <a:lnTo>
                    <a:pt x="19" y="21"/>
                  </a:lnTo>
                  <a:lnTo>
                    <a:pt x="29" y="26"/>
                  </a:lnTo>
                  <a:lnTo>
                    <a:pt x="18" y="32"/>
                  </a:lnTo>
                  <a:lnTo>
                    <a:pt x="14" y="39"/>
                  </a:lnTo>
                  <a:lnTo>
                    <a:pt x="5" y="48"/>
                  </a:lnTo>
                  <a:lnTo>
                    <a:pt x="3" y="56"/>
                  </a:lnTo>
                  <a:lnTo>
                    <a:pt x="0" y="63"/>
                  </a:lnTo>
                  <a:lnTo>
                    <a:pt x="7" y="65"/>
                  </a:lnTo>
                  <a:lnTo>
                    <a:pt x="6" y="74"/>
                  </a:lnTo>
                  <a:lnTo>
                    <a:pt x="11" y="78"/>
                  </a:lnTo>
                  <a:lnTo>
                    <a:pt x="11" y="88"/>
                  </a:lnTo>
                  <a:lnTo>
                    <a:pt x="16" y="95"/>
                  </a:lnTo>
                  <a:lnTo>
                    <a:pt x="22" y="94"/>
                  </a:lnTo>
                  <a:lnTo>
                    <a:pt x="24" y="101"/>
                  </a:lnTo>
                  <a:lnTo>
                    <a:pt x="36" y="105"/>
                  </a:lnTo>
                  <a:lnTo>
                    <a:pt x="44" y="114"/>
                  </a:lnTo>
                  <a:lnTo>
                    <a:pt x="54" y="111"/>
                  </a:lnTo>
                  <a:lnTo>
                    <a:pt x="60" y="107"/>
                  </a:lnTo>
                  <a:lnTo>
                    <a:pt x="68" y="100"/>
                  </a:lnTo>
                  <a:lnTo>
                    <a:pt x="84" y="111"/>
                  </a:lnTo>
                  <a:lnTo>
                    <a:pt x="102" y="113"/>
                  </a:lnTo>
                  <a:lnTo>
                    <a:pt x="121" y="110"/>
                  </a:lnTo>
                  <a:lnTo>
                    <a:pt x="129" y="110"/>
                  </a:lnTo>
                  <a:lnTo>
                    <a:pt x="134" y="111"/>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44" name="Freeform 264">
              <a:extLst>
                <a:ext uri="{FF2B5EF4-FFF2-40B4-BE49-F238E27FC236}">
                  <a16:creationId xmlns:a16="http://schemas.microsoft.com/office/drawing/2014/main" id="{FE949EB2-793C-4EDB-A8B0-2D49A6BEBFA0}"/>
                </a:ext>
              </a:extLst>
            </p:cNvPr>
            <p:cNvSpPr>
              <a:spLocks/>
            </p:cNvSpPr>
            <p:nvPr/>
          </p:nvSpPr>
          <p:spPr bwMode="auto">
            <a:xfrm>
              <a:off x="3748846" y="3000839"/>
              <a:ext cx="183079" cy="145080"/>
            </a:xfrm>
            <a:custGeom>
              <a:avLst/>
              <a:gdLst>
                <a:gd name="T0" fmla="*/ 12 w 137"/>
                <a:gd name="T1" fmla="*/ 18 h 109"/>
                <a:gd name="T2" fmla="*/ 3 w 137"/>
                <a:gd name="T3" fmla="*/ 12 h 109"/>
                <a:gd name="T4" fmla="*/ 0 w 137"/>
                <a:gd name="T5" fmla="*/ 0 h 109"/>
                <a:gd name="T6" fmla="*/ 24 w 137"/>
                <a:gd name="T7" fmla="*/ 6 h 109"/>
                <a:gd name="T8" fmla="*/ 37 w 137"/>
                <a:gd name="T9" fmla="*/ 0 h 109"/>
                <a:gd name="T10" fmla="*/ 43 w 137"/>
                <a:gd name="T11" fmla="*/ 2 h 109"/>
                <a:gd name="T12" fmla="*/ 58 w 137"/>
                <a:gd name="T13" fmla="*/ 10 h 109"/>
                <a:gd name="T14" fmla="*/ 75 w 137"/>
                <a:gd name="T15" fmla="*/ 14 h 109"/>
                <a:gd name="T16" fmla="*/ 84 w 137"/>
                <a:gd name="T17" fmla="*/ 6 h 109"/>
                <a:gd name="T18" fmla="*/ 95 w 137"/>
                <a:gd name="T19" fmla="*/ 7 h 109"/>
                <a:gd name="T20" fmla="*/ 99 w 137"/>
                <a:gd name="T21" fmla="*/ 20 h 109"/>
                <a:gd name="T22" fmla="*/ 114 w 137"/>
                <a:gd name="T23" fmla="*/ 29 h 109"/>
                <a:gd name="T24" fmla="*/ 128 w 137"/>
                <a:gd name="T25" fmla="*/ 36 h 109"/>
                <a:gd name="T26" fmla="*/ 136 w 137"/>
                <a:gd name="T27" fmla="*/ 43 h 109"/>
                <a:gd name="T28" fmla="*/ 123 w 137"/>
                <a:gd name="T29" fmla="*/ 53 h 109"/>
                <a:gd name="T30" fmla="*/ 124 w 137"/>
                <a:gd name="T31" fmla="*/ 62 h 109"/>
                <a:gd name="T32" fmla="*/ 132 w 137"/>
                <a:gd name="T33" fmla="*/ 76 h 109"/>
                <a:gd name="T34" fmla="*/ 134 w 137"/>
                <a:gd name="T35" fmla="*/ 97 h 109"/>
                <a:gd name="T36" fmla="*/ 120 w 137"/>
                <a:gd name="T37" fmla="*/ 108 h 109"/>
                <a:gd name="T38" fmla="*/ 109 w 137"/>
                <a:gd name="T39" fmla="*/ 105 h 109"/>
                <a:gd name="T40" fmla="*/ 106 w 137"/>
                <a:gd name="T41" fmla="*/ 90 h 109"/>
                <a:gd name="T42" fmla="*/ 98 w 137"/>
                <a:gd name="T43" fmla="*/ 77 h 109"/>
                <a:gd name="T44" fmla="*/ 90 w 137"/>
                <a:gd name="T45" fmla="*/ 80 h 109"/>
                <a:gd name="T46" fmla="*/ 92 w 137"/>
                <a:gd name="T47" fmla="*/ 91 h 109"/>
                <a:gd name="T48" fmla="*/ 79 w 137"/>
                <a:gd name="T49" fmla="*/ 88 h 109"/>
                <a:gd name="T50" fmla="*/ 68 w 137"/>
                <a:gd name="T51" fmla="*/ 80 h 109"/>
                <a:gd name="T52" fmla="*/ 58 w 137"/>
                <a:gd name="T53" fmla="*/ 68 h 109"/>
                <a:gd name="T54" fmla="*/ 49 w 137"/>
                <a:gd name="T55" fmla="*/ 62 h 109"/>
                <a:gd name="T56" fmla="*/ 34 w 137"/>
                <a:gd name="T57" fmla="*/ 56 h 109"/>
                <a:gd name="T58" fmla="*/ 34 w 137"/>
                <a:gd name="T59" fmla="*/ 46 h 109"/>
                <a:gd name="T60" fmla="*/ 21 w 137"/>
                <a:gd name="T61" fmla="*/ 38 h 109"/>
                <a:gd name="T62" fmla="*/ 17 w 137"/>
                <a:gd name="T63" fmla="*/ 21 h 109"/>
                <a:gd name="T64" fmla="*/ 12 w 137"/>
                <a:gd name="T65" fmla="*/ 1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 h="109">
                  <a:moveTo>
                    <a:pt x="12" y="18"/>
                  </a:moveTo>
                  <a:lnTo>
                    <a:pt x="3" y="12"/>
                  </a:lnTo>
                  <a:lnTo>
                    <a:pt x="0" y="0"/>
                  </a:lnTo>
                  <a:lnTo>
                    <a:pt x="24" y="6"/>
                  </a:lnTo>
                  <a:lnTo>
                    <a:pt x="37" y="0"/>
                  </a:lnTo>
                  <a:lnTo>
                    <a:pt x="43" y="2"/>
                  </a:lnTo>
                  <a:lnTo>
                    <a:pt x="58" y="10"/>
                  </a:lnTo>
                  <a:lnTo>
                    <a:pt x="75" y="14"/>
                  </a:lnTo>
                  <a:lnTo>
                    <a:pt x="84" y="6"/>
                  </a:lnTo>
                  <a:lnTo>
                    <a:pt x="95" y="7"/>
                  </a:lnTo>
                  <a:lnTo>
                    <a:pt x="99" y="20"/>
                  </a:lnTo>
                  <a:lnTo>
                    <a:pt x="114" y="29"/>
                  </a:lnTo>
                  <a:lnTo>
                    <a:pt x="128" y="36"/>
                  </a:lnTo>
                  <a:lnTo>
                    <a:pt x="136" y="43"/>
                  </a:lnTo>
                  <a:lnTo>
                    <a:pt x="123" y="53"/>
                  </a:lnTo>
                  <a:lnTo>
                    <a:pt x="124" y="62"/>
                  </a:lnTo>
                  <a:lnTo>
                    <a:pt x="132" y="76"/>
                  </a:lnTo>
                  <a:lnTo>
                    <a:pt x="134" y="97"/>
                  </a:lnTo>
                  <a:lnTo>
                    <a:pt x="120" y="108"/>
                  </a:lnTo>
                  <a:lnTo>
                    <a:pt x="109" y="105"/>
                  </a:lnTo>
                  <a:lnTo>
                    <a:pt x="106" y="90"/>
                  </a:lnTo>
                  <a:lnTo>
                    <a:pt x="98" y="77"/>
                  </a:lnTo>
                  <a:lnTo>
                    <a:pt x="90" y="80"/>
                  </a:lnTo>
                  <a:lnTo>
                    <a:pt x="92" y="91"/>
                  </a:lnTo>
                  <a:lnTo>
                    <a:pt x="79" y="88"/>
                  </a:lnTo>
                  <a:lnTo>
                    <a:pt x="68" y="80"/>
                  </a:lnTo>
                  <a:lnTo>
                    <a:pt x="58" y="68"/>
                  </a:lnTo>
                  <a:lnTo>
                    <a:pt x="49" y="62"/>
                  </a:lnTo>
                  <a:lnTo>
                    <a:pt x="34" y="56"/>
                  </a:lnTo>
                  <a:lnTo>
                    <a:pt x="34" y="46"/>
                  </a:lnTo>
                  <a:lnTo>
                    <a:pt x="21" y="38"/>
                  </a:lnTo>
                  <a:lnTo>
                    <a:pt x="17" y="21"/>
                  </a:lnTo>
                  <a:lnTo>
                    <a:pt x="12" y="18"/>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45" name="Freeform 265">
              <a:extLst>
                <a:ext uri="{FF2B5EF4-FFF2-40B4-BE49-F238E27FC236}">
                  <a16:creationId xmlns:a16="http://schemas.microsoft.com/office/drawing/2014/main" id="{8BC22675-AC55-4A0C-85C5-5CA4D508E6DC}"/>
                </a:ext>
              </a:extLst>
            </p:cNvPr>
            <p:cNvSpPr>
              <a:spLocks/>
            </p:cNvSpPr>
            <p:nvPr/>
          </p:nvSpPr>
          <p:spPr bwMode="auto">
            <a:xfrm>
              <a:off x="3915282" y="2827218"/>
              <a:ext cx="307906" cy="222377"/>
            </a:xfrm>
            <a:custGeom>
              <a:avLst/>
              <a:gdLst>
                <a:gd name="T0" fmla="*/ 65 w 259"/>
                <a:gd name="T1" fmla="*/ 123 h 187"/>
                <a:gd name="T2" fmla="*/ 86 w 259"/>
                <a:gd name="T3" fmla="*/ 121 h 187"/>
                <a:gd name="T4" fmla="*/ 99 w 259"/>
                <a:gd name="T5" fmla="*/ 130 h 187"/>
                <a:gd name="T6" fmla="*/ 119 w 259"/>
                <a:gd name="T7" fmla="*/ 160 h 187"/>
                <a:gd name="T8" fmla="*/ 116 w 259"/>
                <a:gd name="T9" fmla="*/ 172 h 187"/>
                <a:gd name="T10" fmla="*/ 110 w 259"/>
                <a:gd name="T11" fmla="*/ 187 h 187"/>
                <a:gd name="T12" fmla="*/ 123 w 259"/>
                <a:gd name="T13" fmla="*/ 173 h 187"/>
                <a:gd name="T14" fmla="*/ 132 w 259"/>
                <a:gd name="T15" fmla="*/ 138 h 187"/>
                <a:gd name="T16" fmla="*/ 149 w 259"/>
                <a:gd name="T17" fmla="*/ 134 h 187"/>
                <a:gd name="T18" fmla="*/ 154 w 259"/>
                <a:gd name="T19" fmla="*/ 157 h 187"/>
                <a:gd name="T20" fmla="*/ 175 w 259"/>
                <a:gd name="T21" fmla="*/ 154 h 187"/>
                <a:gd name="T22" fmla="*/ 169 w 259"/>
                <a:gd name="T23" fmla="*/ 174 h 187"/>
                <a:gd name="T24" fmla="*/ 184 w 259"/>
                <a:gd name="T25" fmla="*/ 183 h 187"/>
                <a:gd name="T26" fmla="*/ 211 w 259"/>
                <a:gd name="T27" fmla="*/ 178 h 187"/>
                <a:gd name="T28" fmla="*/ 187 w 259"/>
                <a:gd name="T29" fmla="*/ 156 h 187"/>
                <a:gd name="T30" fmla="*/ 197 w 259"/>
                <a:gd name="T31" fmla="*/ 152 h 187"/>
                <a:gd name="T32" fmla="*/ 205 w 259"/>
                <a:gd name="T33" fmla="*/ 140 h 187"/>
                <a:gd name="T34" fmla="*/ 218 w 259"/>
                <a:gd name="T35" fmla="*/ 142 h 187"/>
                <a:gd name="T36" fmla="*/ 250 w 259"/>
                <a:gd name="T37" fmla="*/ 128 h 187"/>
                <a:gd name="T38" fmla="*/ 259 w 259"/>
                <a:gd name="T39" fmla="*/ 78 h 187"/>
                <a:gd name="T40" fmla="*/ 195 w 259"/>
                <a:gd name="T41" fmla="*/ 25 h 187"/>
                <a:gd name="T42" fmla="*/ 186 w 259"/>
                <a:gd name="T43" fmla="*/ 0 h 187"/>
                <a:gd name="T44" fmla="*/ 143 w 259"/>
                <a:gd name="T45" fmla="*/ 3 h 187"/>
                <a:gd name="T46" fmla="*/ 132 w 259"/>
                <a:gd name="T47" fmla="*/ 21 h 187"/>
                <a:gd name="T48" fmla="*/ 17 w 259"/>
                <a:gd name="T49" fmla="*/ 34 h 187"/>
                <a:gd name="T50" fmla="*/ 18 w 259"/>
                <a:gd name="T51" fmla="*/ 63 h 187"/>
                <a:gd name="T52" fmla="*/ 6 w 259"/>
                <a:gd name="T53" fmla="*/ 73 h 187"/>
                <a:gd name="T54" fmla="*/ 0 w 259"/>
                <a:gd name="T55" fmla="*/ 120 h 187"/>
                <a:gd name="T56" fmla="*/ 23 w 259"/>
                <a:gd name="T57" fmla="*/ 119 h 187"/>
                <a:gd name="T58" fmla="*/ 32 w 259"/>
                <a:gd name="T59" fmla="*/ 125 h 187"/>
                <a:gd name="T60" fmla="*/ 55 w 259"/>
                <a:gd name="T61" fmla="*/ 126 h 187"/>
                <a:gd name="T62" fmla="*/ 65 w 259"/>
                <a:gd name="T63" fmla="*/ 12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9" h="187">
                  <a:moveTo>
                    <a:pt x="65" y="123"/>
                  </a:moveTo>
                  <a:lnTo>
                    <a:pt x="86" y="121"/>
                  </a:lnTo>
                  <a:lnTo>
                    <a:pt x="99" y="130"/>
                  </a:lnTo>
                  <a:lnTo>
                    <a:pt x="119" y="160"/>
                  </a:lnTo>
                  <a:lnTo>
                    <a:pt x="116" y="172"/>
                  </a:lnTo>
                  <a:lnTo>
                    <a:pt x="110" y="187"/>
                  </a:lnTo>
                  <a:lnTo>
                    <a:pt x="123" y="173"/>
                  </a:lnTo>
                  <a:lnTo>
                    <a:pt x="132" y="138"/>
                  </a:lnTo>
                  <a:lnTo>
                    <a:pt x="149" y="134"/>
                  </a:lnTo>
                  <a:lnTo>
                    <a:pt x="154" y="157"/>
                  </a:lnTo>
                  <a:lnTo>
                    <a:pt x="175" y="154"/>
                  </a:lnTo>
                  <a:lnTo>
                    <a:pt x="169" y="174"/>
                  </a:lnTo>
                  <a:lnTo>
                    <a:pt x="184" y="183"/>
                  </a:lnTo>
                  <a:lnTo>
                    <a:pt x="211" y="178"/>
                  </a:lnTo>
                  <a:lnTo>
                    <a:pt x="187" y="156"/>
                  </a:lnTo>
                  <a:lnTo>
                    <a:pt x="197" y="152"/>
                  </a:lnTo>
                  <a:lnTo>
                    <a:pt x="205" y="140"/>
                  </a:lnTo>
                  <a:lnTo>
                    <a:pt x="218" y="142"/>
                  </a:lnTo>
                  <a:lnTo>
                    <a:pt x="250" y="128"/>
                  </a:lnTo>
                  <a:lnTo>
                    <a:pt x="259" y="78"/>
                  </a:lnTo>
                  <a:lnTo>
                    <a:pt x="195" y="25"/>
                  </a:lnTo>
                  <a:lnTo>
                    <a:pt x="186" y="0"/>
                  </a:lnTo>
                  <a:lnTo>
                    <a:pt x="143" y="3"/>
                  </a:lnTo>
                  <a:lnTo>
                    <a:pt x="132" y="21"/>
                  </a:lnTo>
                  <a:lnTo>
                    <a:pt x="17" y="34"/>
                  </a:lnTo>
                  <a:lnTo>
                    <a:pt x="18" y="63"/>
                  </a:lnTo>
                  <a:lnTo>
                    <a:pt x="6" y="73"/>
                  </a:lnTo>
                  <a:lnTo>
                    <a:pt x="0" y="120"/>
                  </a:lnTo>
                  <a:lnTo>
                    <a:pt x="23" y="119"/>
                  </a:lnTo>
                  <a:lnTo>
                    <a:pt x="32" y="125"/>
                  </a:lnTo>
                  <a:lnTo>
                    <a:pt x="55" y="126"/>
                  </a:lnTo>
                  <a:lnTo>
                    <a:pt x="65" y="12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46" name="Freeform 266">
              <a:extLst>
                <a:ext uri="{FF2B5EF4-FFF2-40B4-BE49-F238E27FC236}">
                  <a16:creationId xmlns:a16="http://schemas.microsoft.com/office/drawing/2014/main" id="{9B470844-0FCF-404B-9278-F4325507DEA7}"/>
                </a:ext>
              </a:extLst>
            </p:cNvPr>
            <p:cNvSpPr>
              <a:spLocks/>
            </p:cNvSpPr>
            <p:nvPr/>
          </p:nvSpPr>
          <p:spPr bwMode="auto">
            <a:xfrm>
              <a:off x="3922415" y="2704732"/>
              <a:ext cx="179513" cy="164107"/>
            </a:xfrm>
            <a:custGeom>
              <a:avLst/>
              <a:gdLst>
                <a:gd name="T0" fmla="*/ 11 w 136"/>
                <a:gd name="T1" fmla="*/ 121 h 122"/>
                <a:gd name="T2" fmla="*/ 112 w 136"/>
                <a:gd name="T3" fmla="*/ 110 h 122"/>
                <a:gd name="T4" fmla="*/ 122 w 136"/>
                <a:gd name="T5" fmla="*/ 94 h 122"/>
                <a:gd name="T6" fmla="*/ 129 w 136"/>
                <a:gd name="T7" fmla="*/ 74 h 122"/>
                <a:gd name="T8" fmla="*/ 135 w 136"/>
                <a:gd name="T9" fmla="*/ 67 h 122"/>
                <a:gd name="T10" fmla="*/ 132 w 136"/>
                <a:gd name="T11" fmla="*/ 15 h 122"/>
                <a:gd name="T12" fmla="*/ 93 w 136"/>
                <a:gd name="T13" fmla="*/ 0 h 122"/>
                <a:gd name="T14" fmla="*/ 82 w 136"/>
                <a:gd name="T15" fmla="*/ 8 h 122"/>
                <a:gd name="T16" fmla="*/ 68 w 136"/>
                <a:gd name="T17" fmla="*/ 3 h 122"/>
                <a:gd name="T18" fmla="*/ 62 w 136"/>
                <a:gd name="T19" fmla="*/ 22 h 122"/>
                <a:gd name="T20" fmla="*/ 58 w 136"/>
                <a:gd name="T21" fmla="*/ 19 h 122"/>
                <a:gd name="T22" fmla="*/ 49 w 136"/>
                <a:gd name="T23" fmla="*/ 38 h 122"/>
                <a:gd name="T24" fmla="*/ 56 w 136"/>
                <a:gd name="T25" fmla="*/ 49 h 122"/>
                <a:gd name="T26" fmla="*/ 36 w 136"/>
                <a:gd name="T27" fmla="*/ 56 h 122"/>
                <a:gd name="T28" fmla="*/ 33 w 136"/>
                <a:gd name="T29" fmla="*/ 68 h 122"/>
                <a:gd name="T30" fmla="*/ 15 w 136"/>
                <a:gd name="T31" fmla="*/ 66 h 122"/>
                <a:gd name="T32" fmla="*/ 0 w 136"/>
                <a:gd name="T33" fmla="*/ 72 h 122"/>
                <a:gd name="T34" fmla="*/ 1 w 136"/>
                <a:gd name="T35" fmla="*/ 85 h 122"/>
                <a:gd name="T36" fmla="*/ 1 w 136"/>
                <a:gd name="T37" fmla="*/ 105 h 122"/>
                <a:gd name="T38" fmla="*/ 10 w 136"/>
                <a:gd name="T39" fmla="*/ 105 h 122"/>
                <a:gd name="T40" fmla="*/ 11 w 136"/>
                <a:gd name="T41" fmla="*/ 12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6" h="122">
                  <a:moveTo>
                    <a:pt x="11" y="121"/>
                  </a:moveTo>
                  <a:lnTo>
                    <a:pt x="112" y="110"/>
                  </a:lnTo>
                  <a:lnTo>
                    <a:pt x="122" y="94"/>
                  </a:lnTo>
                  <a:lnTo>
                    <a:pt x="129" y="74"/>
                  </a:lnTo>
                  <a:lnTo>
                    <a:pt x="135" y="67"/>
                  </a:lnTo>
                  <a:lnTo>
                    <a:pt x="132" y="15"/>
                  </a:lnTo>
                  <a:lnTo>
                    <a:pt x="93" y="0"/>
                  </a:lnTo>
                  <a:lnTo>
                    <a:pt x="82" y="8"/>
                  </a:lnTo>
                  <a:lnTo>
                    <a:pt x="68" y="3"/>
                  </a:lnTo>
                  <a:lnTo>
                    <a:pt x="62" y="22"/>
                  </a:lnTo>
                  <a:lnTo>
                    <a:pt x="58" y="19"/>
                  </a:lnTo>
                  <a:lnTo>
                    <a:pt x="49" y="38"/>
                  </a:lnTo>
                  <a:lnTo>
                    <a:pt x="56" y="49"/>
                  </a:lnTo>
                  <a:lnTo>
                    <a:pt x="36" y="56"/>
                  </a:lnTo>
                  <a:lnTo>
                    <a:pt x="33" y="68"/>
                  </a:lnTo>
                  <a:lnTo>
                    <a:pt x="15" y="66"/>
                  </a:lnTo>
                  <a:lnTo>
                    <a:pt x="0" y="72"/>
                  </a:lnTo>
                  <a:lnTo>
                    <a:pt x="1" y="85"/>
                  </a:lnTo>
                  <a:lnTo>
                    <a:pt x="1" y="105"/>
                  </a:lnTo>
                  <a:lnTo>
                    <a:pt x="10" y="105"/>
                  </a:lnTo>
                  <a:lnTo>
                    <a:pt x="11" y="121"/>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47" name="Freeform 267">
              <a:extLst>
                <a:ext uri="{FF2B5EF4-FFF2-40B4-BE49-F238E27FC236}">
                  <a16:creationId xmlns:a16="http://schemas.microsoft.com/office/drawing/2014/main" id="{A0B68A0B-8FD7-4A9B-AAFE-FEC4DB435D2B}"/>
                </a:ext>
              </a:extLst>
            </p:cNvPr>
            <p:cNvSpPr>
              <a:spLocks/>
            </p:cNvSpPr>
            <p:nvPr/>
          </p:nvSpPr>
          <p:spPr bwMode="auto">
            <a:xfrm>
              <a:off x="3948569" y="3237486"/>
              <a:ext cx="46364" cy="17838"/>
            </a:xfrm>
            <a:custGeom>
              <a:avLst/>
              <a:gdLst>
                <a:gd name="T0" fmla="*/ 17 w 36"/>
                <a:gd name="T1" fmla="*/ 13 h 14"/>
                <a:gd name="T2" fmla="*/ 15 w 36"/>
                <a:gd name="T3" fmla="*/ 13 h 14"/>
                <a:gd name="T4" fmla="*/ 13 w 36"/>
                <a:gd name="T5" fmla="*/ 13 h 14"/>
                <a:gd name="T6" fmla="*/ 12 w 36"/>
                <a:gd name="T7" fmla="*/ 13 h 14"/>
                <a:gd name="T8" fmla="*/ 10 w 36"/>
                <a:gd name="T9" fmla="*/ 11 h 14"/>
                <a:gd name="T10" fmla="*/ 8 w 36"/>
                <a:gd name="T11" fmla="*/ 11 h 14"/>
                <a:gd name="T12" fmla="*/ 6 w 36"/>
                <a:gd name="T13" fmla="*/ 10 h 14"/>
                <a:gd name="T14" fmla="*/ 4 w 36"/>
                <a:gd name="T15" fmla="*/ 9 h 14"/>
                <a:gd name="T16" fmla="*/ 3 w 36"/>
                <a:gd name="T17" fmla="*/ 9 h 14"/>
                <a:gd name="T18" fmla="*/ 2 w 36"/>
                <a:gd name="T19" fmla="*/ 9 h 14"/>
                <a:gd name="T20" fmla="*/ 2 w 36"/>
                <a:gd name="T21" fmla="*/ 7 h 14"/>
                <a:gd name="T22" fmla="*/ 1 w 36"/>
                <a:gd name="T23" fmla="*/ 7 h 14"/>
                <a:gd name="T24" fmla="*/ 0 w 36"/>
                <a:gd name="T25" fmla="*/ 7 h 14"/>
                <a:gd name="T26" fmla="*/ 1 w 36"/>
                <a:gd name="T27" fmla="*/ 7 h 14"/>
                <a:gd name="T28" fmla="*/ 2 w 36"/>
                <a:gd name="T29" fmla="*/ 7 h 14"/>
                <a:gd name="T30" fmla="*/ 2 w 36"/>
                <a:gd name="T31" fmla="*/ 6 h 14"/>
                <a:gd name="T32" fmla="*/ 3 w 36"/>
                <a:gd name="T33" fmla="*/ 6 h 14"/>
                <a:gd name="T34" fmla="*/ 3 w 36"/>
                <a:gd name="T35" fmla="*/ 5 h 14"/>
                <a:gd name="T36" fmla="*/ 4 w 36"/>
                <a:gd name="T37" fmla="*/ 5 h 14"/>
                <a:gd name="T38" fmla="*/ 6 w 36"/>
                <a:gd name="T39" fmla="*/ 5 h 14"/>
                <a:gd name="T40" fmla="*/ 8 w 36"/>
                <a:gd name="T41" fmla="*/ 5 h 14"/>
                <a:gd name="T42" fmla="*/ 11 w 36"/>
                <a:gd name="T43" fmla="*/ 5 h 14"/>
                <a:gd name="T44" fmla="*/ 13 w 36"/>
                <a:gd name="T45" fmla="*/ 5 h 14"/>
                <a:gd name="T46" fmla="*/ 15 w 36"/>
                <a:gd name="T47" fmla="*/ 5 h 14"/>
                <a:gd name="T48" fmla="*/ 17 w 36"/>
                <a:gd name="T49" fmla="*/ 5 h 14"/>
                <a:gd name="T50" fmla="*/ 18 w 36"/>
                <a:gd name="T51" fmla="*/ 5 h 14"/>
                <a:gd name="T52" fmla="*/ 19 w 36"/>
                <a:gd name="T53" fmla="*/ 3 h 14"/>
                <a:gd name="T54" fmla="*/ 21 w 36"/>
                <a:gd name="T55" fmla="*/ 3 h 14"/>
                <a:gd name="T56" fmla="*/ 23 w 36"/>
                <a:gd name="T57" fmla="*/ 2 h 14"/>
                <a:gd name="T58" fmla="*/ 24 w 36"/>
                <a:gd name="T59" fmla="*/ 2 h 14"/>
                <a:gd name="T60" fmla="*/ 26 w 36"/>
                <a:gd name="T61" fmla="*/ 2 h 14"/>
                <a:gd name="T62" fmla="*/ 27 w 36"/>
                <a:gd name="T63" fmla="*/ 1 h 14"/>
                <a:gd name="T64" fmla="*/ 28 w 36"/>
                <a:gd name="T65" fmla="*/ 1 h 14"/>
                <a:gd name="T66" fmla="*/ 29 w 36"/>
                <a:gd name="T67" fmla="*/ 1 h 14"/>
                <a:gd name="T68" fmla="*/ 30 w 36"/>
                <a:gd name="T69" fmla="*/ 0 h 14"/>
                <a:gd name="T70" fmla="*/ 30 w 36"/>
                <a:gd name="T71" fmla="*/ 1 h 14"/>
                <a:gd name="T72" fmla="*/ 31 w 36"/>
                <a:gd name="T73" fmla="*/ 1 h 14"/>
                <a:gd name="T74" fmla="*/ 32 w 36"/>
                <a:gd name="T75" fmla="*/ 2 h 14"/>
                <a:gd name="T76" fmla="*/ 33 w 36"/>
                <a:gd name="T77" fmla="*/ 2 h 14"/>
                <a:gd name="T78" fmla="*/ 33 w 36"/>
                <a:gd name="T79" fmla="*/ 3 h 14"/>
                <a:gd name="T80" fmla="*/ 33 w 36"/>
                <a:gd name="T81" fmla="*/ 5 h 14"/>
                <a:gd name="T82" fmla="*/ 34 w 36"/>
                <a:gd name="T83" fmla="*/ 6 h 14"/>
                <a:gd name="T84" fmla="*/ 34 w 36"/>
                <a:gd name="T85" fmla="*/ 7 h 14"/>
                <a:gd name="T86" fmla="*/ 34 w 36"/>
                <a:gd name="T87" fmla="*/ 9 h 14"/>
                <a:gd name="T88" fmla="*/ 35 w 36"/>
                <a:gd name="T89" fmla="*/ 9 h 14"/>
                <a:gd name="T90" fmla="*/ 34 w 36"/>
                <a:gd name="T91" fmla="*/ 9 h 14"/>
                <a:gd name="T92" fmla="*/ 33 w 36"/>
                <a:gd name="T93" fmla="*/ 10 h 14"/>
                <a:gd name="T94" fmla="*/ 33 w 36"/>
                <a:gd name="T95" fmla="*/ 11 h 14"/>
                <a:gd name="T96" fmla="*/ 32 w 36"/>
                <a:gd name="T97" fmla="*/ 11 h 14"/>
                <a:gd name="T98" fmla="*/ 30 w 36"/>
                <a:gd name="T99" fmla="*/ 11 h 14"/>
                <a:gd name="T100" fmla="*/ 28 w 36"/>
                <a:gd name="T101" fmla="*/ 13 h 14"/>
                <a:gd name="T102" fmla="*/ 27 w 36"/>
                <a:gd name="T103" fmla="*/ 13 h 14"/>
                <a:gd name="T104" fmla="*/ 25 w 36"/>
                <a:gd name="T105" fmla="*/ 13 h 14"/>
                <a:gd name="T106" fmla="*/ 23 w 36"/>
                <a:gd name="T107" fmla="*/ 13 h 14"/>
                <a:gd name="T108" fmla="*/ 21 w 36"/>
                <a:gd name="T109" fmla="*/ 13 h 14"/>
                <a:gd name="T110" fmla="*/ 19 w 36"/>
                <a:gd name="T111" fmla="*/ 13 h 14"/>
                <a:gd name="T112" fmla="*/ 17 w 36"/>
                <a:gd name="T113"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 h="14">
                  <a:moveTo>
                    <a:pt x="17" y="13"/>
                  </a:moveTo>
                  <a:lnTo>
                    <a:pt x="15" y="13"/>
                  </a:lnTo>
                  <a:lnTo>
                    <a:pt x="13" y="13"/>
                  </a:lnTo>
                  <a:lnTo>
                    <a:pt x="12" y="13"/>
                  </a:lnTo>
                  <a:lnTo>
                    <a:pt x="10" y="11"/>
                  </a:lnTo>
                  <a:lnTo>
                    <a:pt x="8" y="11"/>
                  </a:lnTo>
                  <a:lnTo>
                    <a:pt x="6" y="10"/>
                  </a:lnTo>
                  <a:lnTo>
                    <a:pt x="4" y="9"/>
                  </a:lnTo>
                  <a:lnTo>
                    <a:pt x="3" y="9"/>
                  </a:lnTo>
                  <a:lnTo>
                    <a:pt x="2" y="9"/>
                  </a:lnTo>
                  <a:lnTo>
                    <a:pt x="2" y="7"/>
                  </a:lnTo>
                  <a:lnTo>
                    <a:pt x="1" y="7"/>
                  </a:lnTo>
                  <a:lnTo>
                    <a:pt x="0" y="7"/>
                  </a:lnTo>
                  <a:lnTo>
                    <a:pt x="1" y="7"/>
                  </a:lnTo>
                  <a:lnTo>
                    <a:pt x="2" y="7"/>
                  </a:lnTo>
                  <a:lnTo>
                    <a:pt x="2" y="6"/>
                  </a:lnTo>
                  <a:lnTo>
                    <a:pt x="3" y="6"/>
                  </a:lnTo>
                  <a:lnTo>
                    <a:pt x="3" y="5"/>
                  </a:lnTo>
                  <a:lnTo>
                    <a:pt x="4" y="5"/>
                  </a:lnTo>
                  <a:lnTo>
                    <a:pt x="6" y="5"/>
                  </a:lnTo>
                  <a:lnTo>
                    <a:pt x="8" y="5"/>
                  </a:lnTo>
                  <a:lnTo>
                    <a:pt x="11" y="5"/>
                  </a:lnTo>
                  <a:lnTo>
                    <a:pt x="13" y="5"/>
                  </a:lnTo>
                  <a:lnTo>
                    <a:pt x="15" y="5"/>
                  </a:lnTo>
                  <a:lnTo>
                    <a:pt x="17" y="5"/>
                  </a:lnTo>
                  <a:lnTo>
                    <a:pt x="18" y="5"/>
                  </a:lnTo>
                  <a:lnTo>
                    <a:pt x="19" y="3"/>
                  </a:lnTo>
                  <a:lnTo>
                    <a:pt x="21" y="3"/>
                  </a:lnTo>
                  <a:lnTo>
                    <a:pt x="23" y="2"/>
                  </a:lnTo>
                  <a:lnTo>
                    <a:pt x="24" y="2"/>
                  </a:lnTo>
                  <a:lnTo>
                    <a:pt x="26" y="2"/>
                  </a:lnTo>
                  <a:lnTo>
                    <a:pt x="27" y="1"/>
                  </a:lnTo>
                  <a:lnTo>
                    <a:pt x="28" y="1"/>
                  </a:lnTo>
                  <a:lnTo>
                    <a:pt x="29" y="1"/>
                  </a:lnTo>
                  <a:lnTo>
                    <a:pt x="30" y="0"/>
                  </a:lnTo>
                  <a:lnTo>
                    <a:pt x="30" y="1"/>
                  </a:lnTo>
                  <a:lnTo>
                    <a:pt x="31" y="1"/>
                  </a:lnTo>
                  <a:lnTo>
                    <a:pt x="32" y="2"/>
                  </a:lnTo>
                  <a:lnTo>
                    <a:pt x="33" y="2"/>
                  </a:lnTo>
                  <a:lnTo>
                    <a:pt x="33" y="3"/>
                  </a:lnTo>
                  <a:lnTo>
                    <a:pt x="33" y="5"/>
                  </a:lnTo>
                  <a:lnTo>
                    <a:pt x="34" y="6"/>
                  </a:lnTo>
                  <a:lnTo>
                    <a:pt x="34" y="7"/>
                  </a:lnTo>
                  <a:lnTo>
                    <a:pt x="34" y="9"/>
                  </a:lnTo>
                  <a:lnTo>
                    <a:pt x="35" y="9"/>
                  </a:lnTo>
                  <a:lnTo>
                    <a:pt x="34" y="9"/>
                  </a:lnTo>
                  <a:lnTo>
                    <a:pt x="33" y="10"/>
                  </a:lnTo>
                  <a:lnTo>
                    <a:pt x="33" y="11"/>
                  </a:lnTo>
                  <a:lnTo>
                    <a:pt x="32" y="11"/>
                  </a:lnTo>
                  <a:lnTo>
                    <a:pt x="30" y="11"/>
                  </a:lnTo>
                  <a:lnTo>
                    <a:pt x="28" y="13"/>
                  </a:lnTo>
                  <a:lnTo>
                    <a:pt x="27" y="13"/>
                  </a:lnTo>
                  <a:lnTo>
                    <a:pt x="25" y="13"/>
                  </a:lnTo>
                  <a:lnTo>
                    <a:pt x="23" y="13"/>
                  </a:lnTo>
                  <a:lnTo>
                    <a:pt x="21" y="13"/>
                  </a:lnTo>
                  <a:lnTo>
                    <a:pt x="19" y="13"/>
                  </a:lnTo>
                  <a:lnTo>
                    <a:pt x="17" y="1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48" name="Freeform 268">
              <a:extLst>
                <a:ext uri="{FF2B5EF4-FFF2-40B4-BE49-F238E27FC236}">
                  <a16:creationId xmlns:a16="http://schemas.microsoft.com/office/drawing/2014/main" id="{F568E0C5-37F4-4986-BF11-346287EA7E88}"/>
                </a:ext>
              </a:extLst>
            </p:cNvPr>
            <p:cNvSpPr>
              <a:spLocks/>
            </p:cNvSpPr>
            <p:nvPr/>
          </p:nvSpPr>
          <p:spPr bwMode="auto">
            <a:xfrm>
              <a:off x="3865351" y="2703543"/>
              <a:ext cx="136715" cy="115351"/>
            </a:xfrm>
            <a:custGeom>
              <a:avLst/>
              <a:gdLst>
                <a:gd name="T0" fmla="*/ 22 w 115"/>
                <a:gd name="T1" fmla="*/ 23 h 97"/>
                <a:gd name="T2" fmla="*/ 15 w 115"/>
                <a:gd name="T3" fmla="*/ 42 h 97"/>
                <a:gd name="T4" fmla="*/ 0 w 115"/>
                <a:gd name="T5" fmla="*/ 67 h 97"/>
                <a:gd name="T6" fmla="*/ 27 w 115"/>
                <a:gd name="T7" fmla="*/ 78 h 97"/>
                <a:gd name="T8" fmla="*/ 48 w 115"/>
                <a:gd name="T9" fmla="*/ 97 h 97"/>
                <a:gd name="T10" fmla="*/ 47 w 115"/>
                <a:gd name="T11" fmla="*/ 81 h 97"/>
                <a:gd name="T12" fmla="*/ 68 w 115"/>
                <a:gd name="T13" fmla="*/ 75 h 97"/>
                <a:gd name="T14" fmla="*/ 88 w 115"/>
                <a:gd name="T15" fmla="*/ 75 h 97"/>
                <a:gd name="T16" fmla="*/ 89 w 115"/>
                <a:gd name="T17" fmla="*/ 60 h 97"/>
                <a:gd name="T18" fmla="*/ 113 w 115"/>
                <a:gd name="T19" fmla="*/ 57 h 97"/>
                <a:gd name="T20" fmla="*/ 104 w 115"/>
                <a:gd name="T21" fmla="*/ 44 h 97"/>
                <a:gd name="T22" fmla="*/ 113 w 115"/>
                <a:gd name="T23" fmla="*/ 21 h 97"/>
                <a:gd name="T24" fmla="*/ 115 w 115"/>
                <a:gd name="T25" fmla="*/ 12 h 97"/>
                <a:gd name="T26" fmla="*/ 83 w 115"/>
                <a:gd name="T27" fmla="*/ 0 h 97"/>
                <a:gd name="T28" fmla="*/ 50 w 115"/>
                <a:gd name="T29" fmla="*/ 20 h 97"/>
                <a:gd name="T30" fmla="*/ 31 w 115"/>
                <a:gd name="T31" fmla="*/ 2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7">
                  <a:moveTo>
                    <a:pt x="22" y="23"/>
                  </a:moveTo>
                  <a:lnTo>
                    <a:pt x="15" y="42"/>
                  </a:lnTo>
                  <a:lnTo>
                    <a:pt x="0" y="67"/>
                  </a:lnTo>
                  <a:lnTo>
                    <a:pt x="27" y="78"/>
                  </a:lnTo>
                  <a:lnTo>
                    <a:pt x="48" y="97"/>
                  </a:lnTo>
                  <a:lnTo>
                    <a:pt x="47" y="81"/>
                  </a:lnTo>
                  <a:lnTo>
                    <a:pt x="68" y="75"/>
                  </a:lnTo>
                  <a:lnTo>
                    <a:pt x="88" y="75"/>
                  </a:lnTo>
                  <a:lnTo>
                    <a:pt x="89" y="60"/>
                  </a:lnTo>
                  <a:lnTo>
                    <a:pt x="113" y="57"/>
                  </a:lnTo>
                  <a:lnTo>
                    <a:pt x="104" y="44"/>
                  </a:lnTo>
                  <a:lnTo>
                    <a:pt x="113" y="21"/>
                  </a:lnTo>
                  <a:lnTo>
                    <a:pt x="115" y="12"/>
                  </a:lnTo>
                  <a:lnTo>
                    <a:pt x="83" y="0"/>
                  </a:lnTo>
                  <a:lnTo>
                    <a:pt x="50" y="20"/>
                  </a:lnTo>
                  <a:lnTo>
                    <a:pt x="31" y="23"/>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49" name="Freeform 269">
              <a:extLst>
                <a:ext uri="{FF2B5EF4-FFF2-40B4-BE49-F238E27FC236}">
                  <a16:creationId xmlns:a16="http://schemas.microsoft.com/office/drawing/2014/main" id="{012E418E-A068-4408-B6CD-1615D0F7CCC4}"/>
                </a:ext>
              </a:extLst>
            </p:cNvPr>
            <p:cNvSpPr>
              <a:spLocks/>
            </p:cNvSpPr>
            <p:nvPr/>
          </p:nvSpPr>
          <p:spPr bwMode="auto">
            <a:xfrm>
              <a:off x="3993744" y="2053061"/>
              <a:ext cx="2780666" cy="1044102"/>
            </a:xfrm>
            <a:custGeom>
              <a:avLst/>
              <a:gdLst>
                <a:gd name="T0" fmla="*/ 354 w 2085"/>
                <a:gd name="T1" fmla="*/ 571 h 783"/>
                <a:gd name="T2" fmla="*/ 487 w 2085"/>
                <a:gd name="T3" fmla="*/ 613 h 783"/>
                <a:gd name="T4" fmla="*/ 575 w 2085"/>
                <a:gd name="T5" fmla="*/ 567 h 783"/>
                <a:gd name="T6" fmla="*/ 718 w 2085"/>
                <a:gd name="T7" fmla="*/ 589 h 783"/>
                <a:gd name="T8" fmla="*/ 848 w 2085"/>
                <a:gd name="T9" fmla="*/ 670 h 783"/>
                <a:gd name="T10" fmla="*/ 953 w 2085"/>
                <a:gd name="T11" fmla="*/ 648 h 783"/>
                <a:gd name="T12" fmla="*/ 1049 w 2085"/>
                <a:gd name="T13" fmla="*/ 634 h 783"/>
                <a:gd name="T14" fmla="*/ 1189 w 2085"/>
                <a:gd name="T15" fmla="*/ 638 h 783"/>
                <a:gd name="T16" fmla="*/ 1259 w 2085"/>
                <a:gd name="T17" fmla="*/ 578 h 783"/>
                <a:gd name="T18" fmla="*/ 1409 w 2085"/>
                <a:gd name="T19" fmla="*/ 667 h 783"/>
                <a:gd name="T20" fmla="*/ 1463 w 2085"/>
                <a:gd name="T21" fmla="*/ 744 h 783"/>
                <a:gd name="T22" fmla="*/ 1531 w 2085"/>
                <a:gd name="T23" fmla="*/ 701 h 783"/>
                <a:gd name="T24" fmla="*/ 1482 w 2085"/>
                <a:gd name="T25" fmla="*/ 573 h 783"/>
                <a:gd name="T26" fmla="*/ 1537 w 2085"/>
                <a:gd name="T27" fmla="*/ 452 h 783"/>
                <a:gd name="T28" fmla="*/ 1683 w 2085"/>
                <a:gd name="T29" fmla="*/ 408 h 783"/>
                <a:gd name="T30" fmla="*/ 1773 w 2085"/>
                <a:gd name="T31" fmla="*/ 421 h 783"/>
                <a:gd name="T32" fmla="*/ 1751 w 2085"/>
                <a:gd name="T33" fmla="*/ 604 h 783"/>
                <a:gd name="T34" fmla="*/ 1814 w 2085"/>
                <a:gd name="T35" fmla="*/ 509 h 783"/>
                <a:gd name="T36" fmla="*/ 1785 w 2085"/>
                <a:gd name="T37" fmla="*/ 478 h 783"/>
                <a:gd name="T38" fmla="*/ 1785 w 2085"/>
                <a:gd name="T39" fmla="*/ 462 h 783"/>
                <a:gd name="T40" fmla="*/ 1797 w 2085"/>
                <a:gd name="T41" fmla="*/ 439 h 783"/>
                <a:gd name="T42" fmla="*/ 1895 w 2085"/>
                <a:gd name="T43" fmla="*/ 405 h 783"/>
                <a:gd name="T44" fmla="*/ 1929 w 2085"/>
                <a:gd name="T45" fmla="*/ 332 h 783"/>
                <a:gd name="T46" fmla="*/ 2005 w 2085"/>
                <a:gd name="T47" fmla="*/ 313 h 783"/>
                <a:gd name="T48" fmla="*/ 2070 w 2085"/>
                <a:gd name="T49" fmla="*/ 305 h 783"/>
                <a:gd name="T50" fmla="*/ 1997 w 2085"/>
                <a:gd name="T51" fmla="*/ 260 h 783"/>
                <a:gd name="T52" fmla="*/ 1865 w 2085"/>
                <a:gd name="T53" fmla="*/ 201 h 783"/>
                <a:gd name="T54" fmla="*/ 1722 w 2085"/>
                <a:gd name="T55" fmla="*/ 199 h 783"/>
                <a:gd name="T56" fmla="*/ 1571 w 2085"/>
                <a:gd name="T57" fmla="*/ 180 h 783"/>
                <a:gd name="T58" fmla="*/ 1409 w 2085"/>
                <a:gd name="T59" fmla="*/ 136 h 783"/>
                <a:gd name="T60" fmla="*/ 1312 w 2085"/>
                <a:gd name="T61" fmla="*/ 165 h 783"/>
                <a:gd name="T62" fmla="*/ 1233 w 2085"/>
                <a:gd name="T63" fmla="*/ 136 h 783"/>
                <a:gd name="T64" fmla="*/ 1020 w 2085"/>
                <a:gd name="T65" fmla="*/ 107 h 783"/>
                <a:gd name="T66" fmla="*/ 1024 w 2085"/>
                <a:gd name="T67" fmla="*/ 51 h 783"/>
                <a:gd name="T68" fmla="*/ 892 w 2085"/>
                <a:gd name="T69" fmla="*/ 0 h 783"/>
                <a:gd name="T70" fmla="*/ 806 w 2085"/>
                <a:gd name="T71" fmla="*/ 53 h 783"/>
                <a:gd name="T72" fmla="*/ 689 w 2085"/>
                <a:gd name="T73" fmla="*/ 75 h 783"/>
                <a:gd name="T74" fmla="*/ 642 w 2085"/>
                <a:gd name="T75" fmla="*/ 142 h 783"/>
                <a:gd name="T76" fmla="*/ 607 w 2085"/>
                <a:gd name="T77" fmla="*/ 144 h 783"/>
                <a:gd name="T78" fmla="*/ 554 w 2085"/>
                <a:gd name="T79" fmla="*/ 137 h 783"/>
                <a:gd name="T80" fmla="*/ 591 w 2085"/>
                <a:gd name="T81" fmla="*/ 210 h 783"/>
                <a:gd name="T82" fmla="*/ 627 w 2085"/>
                <a:gd name="T83" fmla="*/ 256 h 783"/>
                <a:gd name="T84" fmla="*/ 548 w 2085"/>
                <a:gd name="T85" fmla="*/ 291 h 783"/>
                <a:gd name="T86" fmla="*/ 559 w 2085"/>
                <a:gd name="T87" fmla="*/ 256 h 783"/>
                <a:gd name="T88" fmla="*/ 561 w 2085"/>
                <a:gd name="T89" fmla="*/ 243 h 783"/>
                <a:gd name="T90" fmla="*/ 554 w 2085"/>
                <a:gd name="T91" fmla="*/ 225 h 783"/>
                <a:gd name="T92" fmla="*/ 517 w 2085"/>
                <a:gd name="T93" fmla="*/ 109 h 783"/>
                <a:gd name="T94" fmla="*/ 499 w 2085"/>
                <a:gd name="T95" fmla="*/ 228 h 783"/>
                <a:gd name="T96" fmla="*/ 401 w 2085"/>
                <a:gd name="T97" fmla="*/ 218 h 783"/>
                <a:gd name="T98" fmla="*/ 314 w 2085"/>
                <a:gd name="T99" fmla="*/ 233 h 783"/>
                <a:gd name="T100" fmla="*/ 208 w 2085"/>
                <a:gd name="T101" fmla="*/ 237 h 783"/>
                <a:gd name="T102" fmla="*/ 166 w 2085"/>
                <a:gd name="T103" fmla="*/ 298 h 783"/>
                <a:gd name="T104" fmla="*/ 109 w 2085"/>
                <a:gd name="T105" fmla="*/ 322 h 783"/>
                <a:gd name="T106" fmla="*/ 80 w 2085"/>
                <a:gd name="T107" fmla="*/ 289 h 783"/>
                <a:gd name="T108" fmla="*/ 100 w 2085"/>
                <a:gd name="T109" fmla="*/ 233 h 783"/>
                <a:gd name="T110" fmla="*/ 20 w 2085"/>
                <a:gd name="T111" fmla="*/ 311 h 783"/>
                <a:gd name="T112" fmla="*/ 8 w 2085"/>
                <a:gd name="T113" fmla="*/ 427 h 783"/>
                <a:gd name="T114" fmla="*/ 69 w 2085"/>
                <a:gd name="T115" fmla="*/ 584 h 783"/>
                <a:gd name="T116" fmla="*/ 138 w 2085"/>
                <a:gd name="T117" fmla="*/ 740 h 783"/>
                <a:gd name="T118" fmla="*/ 285 w 2085"/>
                <a:gd name="T119" fmla="*/ 77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85" h="783">
                  <a:moveTo>
                    <a:pt x="304" y="721"/>
                  </a:moveTo>
                  <a:lnTo>
                    <a:pt x="316" y="709"/>
                  </a:lnTo>
                  <a:lnTo>
                    <a:pt x="322" y="683"/>
                  </a:lnTo>
                  <a:lnTo>
                    <a:pt x="336" y="668"/>
                  </a:lnTo>
                  <a:lnTo>
                    <a:pt x="334" y="649"/>
                  </a:lnTo>
                  <a:lnTo>
                    <a:pt x="317" y="639"/>
                  </a:lnTo>
                  <a:lnTo>
                    <a:pt x="310" y="622"/>
                  </a:lnTo>
                  <a:lnTo>
                    <a:pt x="354" y="571"/>
                  </a:lnTo>
                  <a:lnTo>
                    <a:pt x="370" y="589"/>
                  </a:lnTo>
                  <a:lnTo>
                    <a:pt x="376" y="576"/>
                  </a:lnTo>
                  <a:lnTo>
                    <a:pt x="395" y="571"/>
                  </a:lnTo>
                  <a:lnTo>
                    <a:pt x="411" y="575"/>
                  </a:lnTo>
                  <a:lnTo>
                    <a:pt x="440" y="576"/>
                  </a:lnTo>
                  <a:lnTo>
                    <a:pt x="475" y="599"/>
                  </a:lnTo>
                  <a:lnTo>
                    <a:pt x="474" y="608"/>
                  </a:lnTo>
                  <a:lnTo>
                    <a:pt x="487" y="613"/>
                  </a:lnTo>
                  <a:lnTo>
                    <a:pt x="506" y="612"/>
                  </a:lnTo>
                  <a:lnTo>
                    <a:pt x="532" y="626"/>
                  </a:lnTo>
                  <a:lnTo>
                    <a:pt x="546" y="631"/>
                  </a:lnTo>
                  <a:lnTo>
                    <a:pt x="553" y="623"/>
                  </a:lnTo>
                  <a:lnTo>
                    <a:pt x="546" y="605"/>
                  </a:lnTo>
                  <a:lnTo>
                    <a:pt x="562" y="596"/>
                  </a:lnTo>
                  <a:lnTo>
                    <a:pt x="579" y="589"/>
                  </a:lnTo>
                  <a:lnTo>
                    <a:pt x="575" y="567"/>
                  </a:lnTo>
                  <a:lnTo>
                    <a:pt x="585" y="566"/>
                  </a:lnTo>
                  <a:lnTo>
                    <a:pt x="604" y="571"/>
                  </a:lnTo>
                  <a:lnTo>
                    <a:pt x="640" y="574"/>
                  </a:lnTo>
                  <a:lnTo>
                    <a:pt x="661" y="569"/>
                  </a:lnTo>
                  <a:lnTo>
                    <a:pt x="689" y="564"/>
                  </a:lnTo>
                  <a:lnTo>
                    <a:pt x="701" y="575"/>
                  </a:lnTo>
                  <a:lnTo>
                    <a:pt x="703" y="587"/>
                  </a:lnTo>
                  <a:lnTo>
                    <a:pt x="718" y="589"/>
                  </a:lnTo>
                  <a:lnTo>
                    <a:pt x="741" y="580"/>
                  </a:lnTo>
                  <a:lnTo>
                    <a:pt x="759" y="580"/>
                  </a:lnTo>
                  <a:lnTo>
                    <a:pt x="781" y="621"/>
                  </a:lnTo>
                  <a:lnTo>
                    <a:pt x="796" y="622"/>
                  </a:lnTo>
                  <a:lnTo>
                    <a:pt x="803" y="633"/>
                  </a:lnTo>
                  <a:lnTo>
                    <a:pt x="826" y="642"/>
                  </a:lnTo>
                  <a:lnTo>
                    <a:pt x="840" y="677"/>
                  </a:lnTo>
                  <a:lnTo>
                    <a:pt x="848" y="670"/>
                  </a:lnTo>
                  <a:lnTo>
                    <a:pt x="867" y="665"/>
                  </a:lnTo>
                  <a:lnTo>
                    <a:pt x="910" y="661"/>
                  </a:lnTo>
                  <a:lnTo>
                    <a:pt x="914" y="667"/>
                  </a:lnTo>
                  <a:lnTo>
                    <a:pt x="930" y="670"/>
                  </a:lnTo>
                  <a:lnTo>
                    <a:pt x="936" y="676"/>
                  </a:lnTo>
                  <a:lnTo>
                    <a:pt x="965" y="673"/>
                  </a:lnTo>
                  <a:lnTo>
                    <a:pt x="958" y="656"/>
                  </a:lnTo>
                  <a:lnTo>
                    <a:pt x="953" y="648"/>
                  </a:lnTo>
                  <a:lnTo>
                    <a:pt x="965" y="647"/>
                  </a:lnTo>
                  <a:lnTo>
                    <a:pt x="965" y="623"/>
                  </a:lnTo>
                  <a:lnTo>
                    <a:pt x="965" y="596"/>
                  </a:lnTo>
                  <a:lnTo>
                    <a:pt x="992" y="607"/>
                  </a:lnTo>
                  <a:lnTo>
                    <a:pt x="1009" y="607"/>
                  </a:lnTo>
                  <a:lnTo>
                    <a:pt x="1022" y="621"/>
                  </a:lnTo>
                  <a:lnTo>
                    <a:pt x="1028" y="634"/>
                  </a:lnTo>
                  <a:lnTo>
                    <a:pt x="1049" y="634"/>
                  </a:lnTo>
                  <a:lnTo>
                    <a:pt x="1081" y="635"/>
                  </a:lnTo>
                  <a:lnTo>
                    <a:pt x="1098" y="645"/>
                  </a:lnTo>
                  <a:lnTo>
                    <a:pt x="1112" y="649"/>
                  </a:lnTo>
                  <a:lnTo>
                    <a:pt x="1115" y="661"/>
                  </a:lnTo>
                  <a:lnTo>
                    <a:pt x="1153" y="655"/>
                  </a:lnTo>
                  <a:lnTo>
                    <a:pt x="1159" y="645"/>
                  </a:lnTo>
                  <a:lnTo>
                    <a:pt x="1172" y="653"/>
                  </a:lnTo>
                  <a:lnTo>
                    <a:pt x="1189" y="638"/>
                  </a:lnTo>
                  <a:lnTo>
                    <a:pt x="1203" y="637"/>
                  </a:lnTo>
                  <a:lnTo>
                    <a:pt x="1215" y="644"/>
                  </a:lnTo>
                  <a:lnTo>
                    <a:pt x="1226" y="655"/>
                  </a:lnTo>
                  <a:lnTo>
                    <a:pt x="1246" y="655"/>
                  </a:lnTo>
                  <a:lnTo>
                    <a:pt x="1249" y="628"/>
                  </a:lnTo>
                  <a:lnTo>
                    <a:pt x="1260" y="618"/>
                  </a:lnTo>
                  <a:lnTo>
                    <a:pt x="1251" y="593"/>
                  </a:lnTo>
                  <a:lnTo>
                    <a:pt x="1259" y="578"/>
                  </a:lnTo>
                  <a:lnTo>
                    <a:pt x="1320" y="579"/>
                  </a:lnTo>
                  <a:lnTo>
                    <a:pt x="1334" y="595"/>
                  </a:lnTo>
                  <a:lnTo>
                    <a:pt x="1348" y="607"/>
                  </a:lnTo>
                  <a:lnTo>
                    <a:pt x="1359" y="621"/>
                  </a:lnTo>
                  <a:lnTo>
                    <a:pt x="1362" y="638"/>
                  </a:lnTo>
                  <a:lnTo>
                    <a:pt x="1373" y="651"/>
                  </a:lnTo>
                  <a:lnTo>
                    <a:pt x="1398" y="656"/>
                  </a:lnTo>
                  <a:lnTo>
                    <a:pt x="1409" y="667"/>
                  </a:lnTo>
                  <a:lnTo>
                    <a:pt x="1421" y="675"/>
                  </a:lnTo>
                  <a:lnTo>
                    <a:pt x="1427" y="684"/>
                  </a:lnTo>
                  <a:lnTo>
                    <a:pt x="1442" y="685"/>
                  </a:lnTo>
                  <a:lnTo>
                    <a:pt x="1467" y="681"/>
                  </a:lnTo>
                  <a:lnTo>
                    <a:pt x="1472" y="688"/>
                  </a:lnTo>
                  <a:lnTo>
                    <a:pt x="1475" y="701"/>
                  </a:lnTo>
                  <a:lnTo>
                    <a:pt x="1464" y="708"/>
                  </a:lnTo>
                  <a:lnTo>
                    <a:pt x="1463" y="744"/>
                  </a:lnTo>
                  <a:lnTo>
                    <a:pt x="1449" y="742"/>
                  </a:lnTo>
                  <a:lnTo>
                    <a:pt x="1442" y="757"/>
                  </a:lnTo>
                  <a:lnTo>
                    <a:pt x="1442" y="773"/>
                  </a:lnTo>
                  <a:lnTo>
                    <a:pt x="1457" y="776"/>
                  </a:lnTo>
                  <a:lnTo>
                    <a:pt x="1475" y="782"/>
                  </a:lnTo>
                  <a:lnTo>
                    <a:pt x="1498" y="764"/>
                  </a:lnTo>
                  <a:lnTo>
                    <a:pt x="1516" y="735"/>
                  </a:lnTo>
                  <a:lnTo>
                    <a:pt x="1531" y="701"/>
                  </a:lnTo>
                  <a:lnTo>
                    <a:pt x="1544" y="667"/>
                  </a:lnTo>
                  <a:lnTo>
                    <a:pt x="1537" y="634"/>
                  </a:lnTo>
                  <a:lnTo>
                    <a:pt x="1542" y="624"/>
                  </a:lnTo>
                  <a:lnTo>
                    <a:pt x="1538" y="588"/>
                  </a:lnTo>
                  <a:lnTo>
                    <a:pt x="1523" y="566"/>
                  </a:lnTo>
                  <a:lnTo>
                    <a:pt x="1499" y="558"/>
                  </a:lnTo>
                  <a:lnTo>
                    <a:pt x="1492" y="572"/>
                  </a:lnTo>
                  <a:lnTo>
                    <a:pt x="1482" y="573"/>
                  </a:lnTo>
                  <a:lnTo>
                    <a:pt x="1480" y="560"/>
                  </a:lnTo>
                  <a:lnTo>
                    <a:pt x="1457" y="548"/>
                  </a:lnTo>
                  <a:lnTo>
                    <a:pt x="1453" y="537"/>
                  </a:lnTo>
                  <a:lnTo>
                    <a:pt x="1467" y="523"/>
                  </a:lnTo>
                  <a:lnTo>
                    <a:pt x="1483" y="497"/>
                  </a:lnTo>
                  <a:lnTo>
                    <a:pt x="1492" y="478"/>
                  </a:lnTo>
                  <a:lnTo>
                    <a:pt x="1503" y="461"/>
                  </a:lnTo>
                  <a:lnTo>
                    <a:pt x="1537" y="452"/>
                  </a:lnTo>
                  <a:lnTo>
                    <a:pt x="1564" y="450"/>
                  </a:lnTo>
                  <a:lnTo>
                    <a:pt x="1602" y="454"/>
                  </a:lnTo>
                  <a:lnTo>
                    <a:pt x="1610" y="439"/>
                  </a:lnTo>
                  <a:lnTo>
                    <a:pt x="1637" y="446"/>
                  </a:lnTo>
                  <a:lnTo>
                    <a:pt x="1637" y="455"/>
                  </a:lnTo>
                  <a:lnTo>
                    <a:pt x="1675" y="450"/>
                  </a:lnTo>
                  <a:lnTo>
                    <a:pt x="1677" y="432"/>
                  </a:lnTo>
                  <a:lnTo>
                    <a:pt x="1683" y="408"/>
                  </a:lnTo>
                  <a:lnTo>
                    <a:pt x="1691" y="394"/>
                  </a:lnTo>
                  <a:lnTo>
                    <a:pt x="1728" y="394"/>
                  </a:lnTo>
                  <a:lnTo>
                    <a:pt x="1741" y="410"/>
                  </a:lnTo>
                  <a:lnTo>
                    <a:pt x="1749" y="413"/>
                  </a:lnTo>
                  <a:lnTo>
                    <a:pt x="1762" y="391"/>
                  </a:lnTo>
                  <a:lnTo>
                    <a:pt x="1771" y="387"/>
                  </a:lnTo>
                  <a:lnTo>
                    <a:pt x="1781" y="405"/>
                  </a:lnTo>
                  <a:lnTo>
                    <a:pt x="1773" y="421"/>
                  </a:lnTo>
                  <a:lnTo>
                    <a:pt x="1753" y="437"/>
                  </a:lnTo>
                  <a:lnTo>
                    <a:pt x="1736" y="463"/>
                  </a:lnTo>
                  <a:lnTo>
                    <a:pt x="1720" y="483"/>
                  </a:lnTo>
                  <a:lnTo>
                    <a:pt x="1718" y="512"/>
                  </a:lnTo>
                  <a:lnTo>
                    <a:pt x="1722" y="543"/>
                  </a:lnTo>
                  <a:lnTo>
                    <a:pt x="1734" y="564"/>
                  </a:lnTo>
                  <a:lnTo>
                    <a:pt x="1741" y="589"/>
                  </a:lnTo>
                  <a:lnTo>
                    <a:pt x="1751" y="604"/>
                  </a:lnTo>
                  <a:lnTo>
                    <a:pt x="1763" y="612"/>
                  </a:lnTo>
                  <a:lnTo>
                    <a:pt x="1777" y="589"/>
                  </a:lnTo>
                  <a:lnTo>
                    <a:pt x="1791" y="561"/>
                  </a:lnTo>
                  <a:lnTo>
                    <a:pt x="1791" y="545"/>
                  </a:lnTo>
                  <a:lnTo>
                    <a:pt x="1805" y="545"/>
                  </a:lnTo>
                  <a:lnTo>
                    <a:pt x="1803" y="526"/>
                  </a:lnTo>
                  <a:lnTo>
                    <a:pt x="1805" y="511"/>
                  </a:lnTo>
                  <a:lnTo>
                    <a:pt x="1814" y="509"/>
                  </a:lnTo>
                  <a:lnTo>
                    <a:pt x="1808" y="498"/>
                  </a:lnTo>
                  <a:lnTo>
                    <a:pt x="1792" y="480"/>
                  </a:lnTo>
                  <a:lnTo>
                    <a:pt x="1790" y="480"/>
                  </a:lnTo>
                  <a:lnTo>
                    <a:pt x="1789" y="480"/>
                  </a:lnTo>
                  <a:lnTo>
                    <a:pt x="1788" y="480"/>
                  </a:lnTo>
                  <a:lnTo>
                    <a:pt x="1787" y="479"/>
                  </a:lnTo>
                  <a:lnTo>
                    <a:pt x="1786" y="478"/>
                  </a:lnTo>
                  <a:lnTo>
                    <a:pt x="1785" y="478"/>
                  </a:lnTo>
                  <a:lnTo>
                    <a:pt x="1785" y="477"/>
                  </a:lnTo>
                  <a:lnTo>
                    <a:pt x="1783" y="476"/>
                  </a:lnTo>
                  <a:lnTo>
                    <a:pt x="1783" y="475"/>
                  </a:lnTo>
                  <a:lnTo>
                    <a:pt x="1783" y="472"/>
                  </a:lnTo>
                  <a:lnTo>
                    <a:pt x="1783" y="469"/>
                  </a:lnTo>
                  <a:lnTo>
                    <a:pt x="1784" y="467"/>
                  </a:lnTo>
                  <a:lnTo>
                    <a:pt x="1784" y="465"/>
                  </a:lnTo>
                  <a:lnTo>
                    <a:pt x="1785" y="462"/>
                  </a:lnTo>
                  <a:lnTo>
                    <a:pt x="1785" y="460"/>
                  </a:lnTo>
                  <a:lnTo>
                    <a:pt x="1786" y="458"/>
                  </a:lnTo>
                  <a:lnTo>
                    <a:pt x="1787" y="455"/>
                  </a:lnTo>
                  <a:lnTo>
                    <a:pt x="1787" y="454"/>
                  </a:lnTo>
                  <a:lnTo>
                    <a:pt x="1787" y="452"/>
                  </a:lnTo>
                  <a:lnTo>
                    <a:pt x="1787" y="451"/>
                  </a:lnTo>
                  <a:lnTo>
                    <a:pt x="1788" y="450"/>
                  </a:lnTo>
                  <a:lnTo>
                    <a:pt x="1797" y="439"/>
                  </a:lnTo>
                  <a:lnTo>
                    <a:pt x="1820" y="428"/>
                  </a:lnTo>
                  <a:lnTo>
                    <a:pt x="1832" y="419"/>
                  </a:lnTo>
                  <a:lnTo>
                    <a:pt x="1851" y="416"/>
                  </a:lnTo>
                  <a:lnTo>
                    <a:pt x="1862" y="419"/>
                  </a:lnTo>
                  <a:lnTo>
                    <a:pt x="1872" y="432"/>
                  </a:lnTo>
                  <a:lnTo>
                    <a:pt x="1880" y="438"/>
                  </a:lnTo>
                  <a:lnTo>
                    <a:pt x="1887" y="412"/>
                  </a:lnTo>
                  <a:lnTo>
                    <a:pt x="1895" y="405"/>
                  </a:lnTo>
                  <a:lnTo>
                    <a:pt x="1898" y="391"/>
                  </a:lnTo>
                  <a:lnTo>
                    <a:pt x="1918" y="392"/>
                  </a:lnTo>
                  <a:lnTo>
                    <a:pt x="1937" y="378"/>
                  </a:lnTo>
                  <a:lnTo>
                    <a:pt x="1948" y="376"/>
                  </a:lnTo>
                  <a:lnTo>
                    <a:pt x="1969" y="384"/>
                  </a:lnTo>
                  <a:lnTo>
                    <a:pt x="1974" y="373"/>
                  </a:lnTo>
                  <a:lnTo>
                    <a:pt x="1955" y="349"/>
                  </a:lnTo>
                  <a:lnTo>
                    <a:pt x="1929" y="332"/>
                  </a:lnTo>
                  <a:lnTo>
                    <a:pt x="1939" y="323"/>
                  </a:lnTo>
                  <a:lnTo>
                    <a:pt x="1957" y="311"/>
                  </a:lnTo>
                  <a:lnTo>
                    <a:pt x="1950" y="302"/>
                  </a:lnTo>
                  <a:lnTo>
                    <a:pt x="1950" y="286"/>
                  </a:lnTo>
                  <a:lnTo>
                    <a:pt x="1967" y="281"/>
                  </a:lnTo>
                  <a:lnTo>
                    <a:pt x="1973" y="298"/>
                  </a:lnTo>
                  <a:lnTo>
                    <a:pt x="1978" y="311"/>
                  </a:lnTo>
                  <a:lnTo>
                    <a:pt x="2005" y="313"/>
                  </a:lnTo>
                  <a:lnTo>
                    <a:pt x="2016" y="325"/>
                  </a:lnTo>
                  <a:lnTo>
                    <a:pt x="2035" y="326"/>
                  </a:lnTo>
                  <a:lnTo>
                    <a:pt x="2046" y="341"/>
                  </a:lnTo>
                  <a:lnTo>
                    <a:pt x="2055" y="344"/>
                  </a:lnTo>
                  <a:lnTo>
                    <a:pt x="2068" y="332"/>
                  </a:lnTo>
                  <a:lnTo>
                    <a:pt x="2055" y="317"/>
                  </a:lnTo>
                  <a:lnTo>
                    <a:pt x="2059" y="305"/>
                  </a:lnTo>
                  <a:lnTo>
                    <a:pt x="2070" y="305"/>
                  </a:lnTo>
                  <a:lnTo>
                    <a:pt x="2081" y="300"/>
                  </a:lnTo>
                  <a:lnTo>
                    <a:pt x="2084" y="282"/>
                  </a:lnTo>
                  <a:lnTo>
                    <a:pt x="2057" y="282"/>
                  </a:lnTo>
                  <a:lnTo>
                    <a:pt x="2041" y="271"/>
                  </a:lnTo>
                  <a:lnTo>
                    <a:pt x="2018" y="275"/>
                  </a:lnTo>
                  <a:lnTo>
                    <a:pt x="2012" y="284"/>
                  </a:lnTo>
                  <a:lnTo>
                    <a:pt x="2003" y="268"/>
                  </a:lnTo>
                  <a:lnTo>
                    <a:pt x="1997" y="260"/>
                  </a:lnTo>
                  <a:lnTo>
                    <a:pt x="1976" y="254"/>
                  </a:lnTo>
                  <a:lnTo>
                    <a:pt x="1973" y="242"/>
                  </a:lnTo>
                  <a:lnTo>
                    <a:pt x="1944" y="242"/>
                  </a:lnTo>
                  <a:lnTo>
                    <a:pt x="1931" y="227"/>
                  </a:lnTo>
                  <a:lnTo>
                    <a:pt x="1912" y="216"/>
                  </a:lnTo>
                  <a:lnTo>
                    <a:pt x="1894" y="215"/>
                  </a:lnTo>
                  <a:lnTo>
                    <a:pt x="1874" y="207"/>
                  </a:lnTo>
                  <a:lnTo>
                    <a:pt x="1865" y="201"/>
                  </a:lnTo>
                  <a:lnTo>
                    <a:pt x="1846" y="194"/>
                  </a:lnTo>
                  <a:lnTo>
                    <a:pt x="1819" y="194"/>
                  </a:lnTo>
                  <a:lnTo>
                    <a:pt x="1787" y="191"/>
                  </a:lnTo>
                  <a:lnTo>
                    <a:pt x="1783" y="210"/>
                  </a:lnTo>
                  <a:lnTo>
                    <a:pt x="1768" y="213"/>
                  </a:lnTo>
                  <a:lnTo>
                    <a:pt x="1759" y="204"/>
                  </a:lnTo>
                  <a:lnTo>
                    <a:pt x="1743" y="207"/>
                  </a:lnTo>
                  <a:lnTo>
                    <a:pt x="1722" y="199"/>
                  </a:lnTo>
                  <a:lnTo>
                    <a:pt x="1687" y="204"/>
                  </a:lnTo>
                  <a:lnTo>
                    <a:pt x="1679" y="216"/>
                  </a:lnTo>
                  <a:lnTo>
                    <a:pt x="1667" y="212"/>
                  </a:lnTo>
                  <a:lnTo>
                    <a:pt x="1650" y="198"/>
                  </a:lnTo>
                  <a:lnTo>
                    <a:pt x="1634" y="181"/>
                  </a:lnTo>
                  <a:lnTo>
                    <a:pt x="1594" y="172"/>
                  </a:lnTo>
                  <a:lnTo>
                    <a:pt x="1581" y="176"/>
                  </a:lnTo>
                  <a:lnTo>
                    <a:pt x="1571" y="180"/>
                  </a:lnTo>
                  <a:lnTo>
                    <a:pt x="1549" y="176"/>
                  </a:lnTo>
                  <a:lnTo>
                    <a:pt x="1522" y="162"/>
                  </a:lnTo>
                  <a:lnTo>
                    <a:pt x="1504" y="154"/>
                  </a:lnTo>
                  <a:lnTo>
                    <a:pt x="1501" y="146"/>
                  </a:lnTo>
                  <a:lnTo>
                    <a:pt x="1458" y="146"/>
                  </a:lnTo>
                  <a:lnTo>
                    <a:pt x="1446" y="151"/>
                  </a:lnTo>
                  <a:lnTo>
                    <a:pt x="1433" y="136"/>
                  </a:lnTo>
                  <a:lnTo>
                    <a:pt x="1409" y="136"/>
                  </a:lnTo>
                  <a:lnTo>
                    <a:pt x="1399" y="123"/>
                  </a:lnTo>
                  <a:lnTo>
                    <a:pt x="1386" y="131"/>
                  </a:lnTo>
                  <a:lnTo>
                    <a:pt x="1373" y="140"/>
                  </a:lnTo>
                  <a:lnTo>
                    <a:pt x="1381" y="159"/>
                  </a:lnTo>
                  <a:lnTo>
                    <a:pt x="1363" y="163"/>
                  </a:lnTo>
                  <a:lnTo>
                    <a:pt x="1341" y="159"/>
                  </a:lnTo>
                  <a:lnTo>
                    <a:pt x="1323" y="158"/>
                  </a:lnTo>
                  <a:lnTo>
                    <a:pt x="1312" y="165"/>
                  </a:lnTo>
                  <a:lnTo>
                    <a:pt x="1296" y="157"/>
                  </a:lnTo>
                  <a:lnTo>
                    <a:pt x="1287" y="147"/>
                  </a:lnTo>
                  <a:lnTo>
                    <a:pt x="1285" y="163"/>
                  </a:lnTo>
                  <a:lnTo>
                    <a:pt x="1262" y="165"/>
                  </a:lnTo>
                  <a:lnTo>
                    <a:pt x="1233" y="156"/>
                  </a:lnTo>
                  <a:lnTo>
                    <a:pt x="1215" y="149"/>
                  </a:lnTo>
                  <a:lnTo>
                    <a:pt x="1220" y="140"/>
                  </a:lnTo>
                  <a:lnTo>
                    <a:pt x="1233" y="136"/>
                  </a:lnTo>
                  <a:lnTo>
                    <a:pt x="1223" y="116"/>
                  </a:lnTo>
                  <a:lnTo>
                    <a:pt x="1199" y="107"/>
                  </a:lnTo>
                  <a:lnTo>
                    <a:pt x="1168" y="109"/>
                  </a:lnTo>
                  <a:lnTo>
                    <a:pt x="1159" y="133"/>
                  </a:lnTo>
                  <a:lnTo>
                    <a:pt x="1134" y="125"/>
                  </a:lnTo>
                  <a:lnTo>
                    <a:pt x="1113" y="115"/>
                  </a:lnTo>
                  <a:lnTo>
                    <a:pt x="1081" y="107"/>
                  </a:lnTo>
                  <a:lnTo>
                    <a:pt x="1020" y="107"/>
                  </a:lnTo>
                  <a:lnTo>
                    <a:pt x="999" y="107"/>
                  </a:lnTo>
                  <a:lnTo>
                    <a:pt x="978" y="116"/>
                  </a:lnTo>
                  <a:lnTo>
                    <a:pt x="948" y="126"/>
                  </a:lnTo>
                  <a:lnTo>
                    <a:pt x="964" y="109"/>
                  </a:lnTo>
                  <a:lnTo>
                    <a:pt x="993" y="93"/>
                  </a:lnTo>
                  <a:lnTo>
                    <a:pt x="1005" y="87"/>
                  </a:lnTo>
                  <a:lnTo>
                    <a:pt x="1020" y="72"/>
                  </a:lnTo>
                  <a:lnTo>
                    <a:pt x="1024" y="51"/>
                  </a:lnTo>
                  <a:lnTo>
                    <a:pt x="1003" y="42"/>
                  </a:lnTo>
                  <a:lnTo>
                    <a:pt x="994" y="29"/>
                  </a:lnTo>
                  <a:lnTo>
                    <a:pt x="947" y="25"/>
                  </a:lnTo>
                  <a:lnTo>
                    <a:pt x="938" y="35"/>
                  </a:lnTo>
                  <a:lnTo>
                    <a:pt x="922" y="27"/>
                  </a:lnTo>
                  <a:lnTo>
                    <a:pt x="916" y="15"/>
                  </a:lnTo>
                  <a:lnTo>
                    <a:pt x="903" y="6"/>
                  </a:lnTo>
                  <a:lnTo>
                    <a:pt x="892" y="0"/>
                  </a:lnTo>
                  <a:lnTo>
                    <a:pt x="869" y="9"/>
                  </a:lnTo>
                  <a:lnTo>
                    <a:pt x="863" y="29"/>
                  </a:lnTo>
                  <a:lnTo>
                    <a:pt x="859" y="36"/>
                  </a:lnTo>
                  <a:lnTo>
                    <a:pt x="870" y="40"/>
                  </a:lnTo>
                  <a:lnTo>
                    <a:pt x="853" y="48"/>
                  </a:lnTo>
                  <a:lnTo>
                    <a:pt x="829" y="43"/>
                  </a:lnTo>
                  <a:lnTo>
                    <a:pt x="814" y="46"/>
                  </a:lnTo>
                  <a:lnTo>
                    <a:pt x="806" y="53"/>
                  </a:lnTo>
                  <a:lnTo>
                    <a:pt x="796" y="41"/>
                  </a:lnTo>
                  <a:lnTo>
                    <a:pt x="781" y="47"/>
                  </a:lnTo>
                  <a:lnTo>
                    <a:pt x="770" y="43"/>
                  </a:lnTo>
                  <a:lnTo>
                    <a:pt x="769" y="55"/>
                  </a:lnTo>
                  <a:lnTo>
                    <a:pt x="743" y="57"/>
                  </a:lnTo>
                  <a:lnTo>
                    <a:pt x="721" y="59"/>
                  </a:lnTo>
                  <a:lnTo>
                    <a:pt x="706" y="69"/>
                  </a:lnTo>
                  <a:lnTo>
                    <a:pt x="689" y="75"/>
                  </a:lnTo>
                  <a:lnTo>
                    <a:pt x="689" y="87"/>
                  </a:lnTo>
                  <a:lnTo>
                    <a:pt x="702" y="91"/>
                  </a:lnTo>
                  <a:lnTo>
                    <a:pt x="706" y="107"/>
                  </a:lnTo>
                  <a:lnTo>
                    <a:pt x="683" y="104"/>
                  </a:lnTo>
                  <a:lnTo>
                    <a:pt x="654" y="106"/>
                  </a:lnTo>
                  <a:lnTo>
                    <a:pt x="638" y="112"/>
                  </a:lnTo>
                  <a:lnTo>
                    <a:pt x="634" y="129"/>
                  </a:lnTo>
                  <a:lnTo>
                    <a:pt x="642" y="142"/>
                  </a:lnTo>
                  <a:lnTo>
                    <a:pt x="654" y="143"/>
                  </a:lnTo>
                  <a:lnTo>
                    <a:pt x="664" y="156"/>
                  </a:lnTo>
                  <a:lnTo>
                    <a:pt x="674" y="172"/>
                  </a:lnTo>
                  <a:lnTo>
                    <a:pt x="672" y="184"/>
                  </a:lnTo>
                  <a:lnTo>
                    <a:pt x="651" y="163"/>
                  </a:lnTo>
                  <a:lnTo>
                    <a:pt x="630" y="157"/>
                  </a:lnTo>
                  <a:lnTo>
                    <a:pt x="620" y="143"/>
                  </a:lnTo>
                  <a:lnTo>
                    <a:pt x="607" y="144"/>
                  </a:lnTo>
                  <a:lnTo>
                    <a:pt x="601" y="161"/>
                  </a:lnTo>
                  <a:lnTo>
                    <a:pt x="607" y="170"/>
                  </a:lnTo>
                  <a:lnTo>
                    <a:pt x="609" y="178"/>
                  </a:lnTo>
                  <a:lnTo>
                    <a:pt x="591" y="172"/>
                  </a:lnTo>
                  <a:lnTo>
                    <a:pt x="573" y="157"/>
                  </a:lnTo>
                  <a:lnTo>
                    <a:pt x="571" y="138"/>
                  </a:lnTo>
                  <a:lnTo>
                    <a:pt x="564" y="127"/>
                  </a:lnTo>
                  <a:lnTo>
                    <a:pt x="554" y="137"/>
                  </a:lnTo>
                  <a:lnTo>
                    <a:pt x="557" y="152"/>
                  </a:lnTo>
                  <a:lnTo>
                    <a:pt x="554" y="162"/>
                  </a:lnTo>
                  <a:lnTo>
                    <a:pt x="557" y="172"/>
                  </a:lnTo>
                  <a:lnTo>
                    <a:pt x="564" y="175"/>
                  </a:lnTo>
                  <a:lnTo>
                    <a:pt x="567" y="202"/>
                  </a:lnTo>
                  <a:lnTo>
                    <a:pt x="570" y="216"/>
                  </a:lnTo>
                  <a:lnTo>
                    <a:pt x="588" y="218"/>
                  </a:lnTo>
                  <a:lnTo>
                    <a:pt x="591" y="210"/>
                  </a:lnTo>
                  <a:lnTo>
                    <a:pt x="605" y="216"/>
                  </a:lnTo>
                  <a:lnTo>
                    <a:pt x="614" y="220"/>
                  </a:lnTo>
                  <a:lnTo>
                    <a:pt x="620" y="228"/>
                  </a:lnTo>
                  <a:lnTo>
                    <a:pt x="623" y="242"/>
                  </a:lnTo>
                  <a:lnTo>
                    <a:pt x="631" y="249"/>
                  </a:lnTo>
                  <a:lnTo>
                    <a:pt x="640" y="253"/>
                  </a:lnTo>
                  <a:lnTo>
                    <a:pt x="640" y="264"/>
                  </a:lnTo>
                  <a:lnTo>
                    <a:pt x="627" y="256"/>
                  </a:lnTo>
                  <a:lnTo>
                    <a:pt x="617" y="244"/>
                  </a:lnTo>
                  <a:lnTo>
                    <a:pt x="602" y="233"/>
                  </a:lnTo>
                  <a:lnTo>
                    <a:pt x="586" y="233"/>
                  </a:lnTo>
                  <a:lnTo>
                    <a:pt x="585" y="238"/>
                  </a:lnTo>
                  <a:lnTo>
                    <a:pt x="582" y="249"/>
                  </a:lnTo>
                  <a:lnTo>
                    <a:pt x="575" y="265"/>
                  </a:lnTo>
                  <a:lnTo>
                    <a:pt x="564" y="284"/>
                  </a:lnTo>
                  <a:lnTo>
                    <a:pt x="548" y="291"/>
                  </a:lnTo>
                  <a:lnTo>
                    <a:pt x="525" y="283"/>
                  </a:lnTo>
                  <a:lnTo>
                    <a:pt x="528" y="275"/>
                  </a:lnTo>
                  <a:lnTo>
                    <a:pt x="543" y="270"/>
                  </a:lnTo>
                  <a:lnTo>
                    <a:pt x="557" y="262"/>
                  </a:lnTo>
                  <a:lnTo>
                    <a:pt x="557" y="261"/>
                  </a:lnTo>
                  <a:lnTo>
                    <a:pt x="558" y="260"/>
                  </a:lnTo>
                  <a:lnTo>
                    <a:pt x="559" y="258"/>
                  </a:lnTo>
                  <a:lnTo>
                    <a:pt x="559" y="256"/>
                  </a:lnTo>
                  <a:lnTo>
                    <a:pt x="560" y="254"/>
                  </a:lnTo>
                  <a:lnTo>
                    <a:pt x="561" y="253"/>
                  </a:lnTo>
                  <a:lnTo>
                    <a:pt x="561" y="250"/>
                  </a:lnTo>
                  <a:lnTo>
                    <a:pt x="561" y="249"/>
                  </a:lnTo>
                  <a:lnTo>
                    <a:pt x="561" y="247"/>
                  </a:lnTo>
                  <a:lnTo>
                    <a:pt x="562" y="246"/>
                  </a:lnTo>
                  <a:lnTo>
                    <a:pt x="561" y="244"/>
                  </a:lnTo>
                  <a:lnTo>
                    <a:pt x="561" y="243"/>
                  </a:lnTo>
                  <a:lnTo>
                    <a:pt x="561" y="241"/>
                  </a:lnTo>
                  <a:lnTo>
                    <a:pt x="560" y="238"/>
                  </a:lnTo>
                  <a:lnTo>
                    <a:pt x="559" y="235"/>
                  </a:lnTo>
                  <a:lnTo>
                    <a:pt x="558" y="233"/>
                  </a:lnTo>
                  <a:lnTo>
                    <a:pt x="557" y="231"/>
                  </a:lnTo>
                  <a:lnTo>
                    <a:pt x="556" y="228"/>
                  </a:lnTo>
                  <a:lnTo>
                    <a:pt x="555" y="227"/>
                  </a:lnTo>
                  <a:lnTo>
                    <a:pt x="554" y="225"/>
                  </a:lnTo>
                  <a:lnTo>
                    <a:pt x="554" y="224"/>
                  </a:lnTo>
                  <a:lnTo>
                    <a:pt x="550" y="209"/>
                  </a:lnTo>
                  <a:lnTo>
                    <a:pt x="550" y="198"/>
                  </a:lnTo>
                  <a:lnTo>
                    <a:pt x="545" y="184"/>
                  </a:lnTo>
                  <a:lnTo>
                    <a:pt x="541" y="167"/>
                  </a:lnTo>
                  <a:lnTo>
                    <a:pt x="535" y="142"/>
                  </a:lnTo>
                  <a:lnTo>
                    <a:pt x="530" y="123"/>
                  </a:lnTo>
                  <a:lnTo>
                    <a:pt x="517" y="109"/>
                  </a:lnTo>
                  <a:lnTo>
                    <a:pt x="498" y="110"/>
                  </a:lnTo>
                  <a:lnTo>
                    <a:pt x="488" y="135"/>
                  </a:lnTo>
                  <a:lnTo>
                    <a:pt x="485" y="159"/>
                  </a:lnTo>
                  <a:lnTo>
                    <a:pt x="469" y="170"/>
                  </a:lnTo>
                  <a:lnTo>
                    <a:pt x="470" y="186"/>
                  </a:lnTo>
                  <a:lnTo>
                    <a:pt x="480" y="201"/>
                  </a:lnTo>
                  <a:lnTo>
                    <a:pt x="491" y="216"/>
                  </a:lnTo>
                  <a:lnTo>
                    <a:pt x="499" y="228"/>
                  </a:lnTo>
                  <a:lnTo>
                    <a:pt x="503" y="239"/>
                  </a:lnTo>
                  <a:lnTo>
                    <a:pt x="490" y="244"/>
                  </a:lnTo>
                  <a:lnTo>
                    <a:pt x="476" y="226"/>
                  </a:lnTo>
                  <a:lnTo>
                    <a:pt x="452" y="212"/>
                  </a:lnTo>
                  <a:lnTo>
                    <a:pt x="424" y="204"/>
                  </a:lnTo>
                  <a:lnTo>
                    <a:pt x="399" y="204"/>
                  </a:lnTo>
                  <a:lnTo>
                    <a:pt x="393" y="213"/>
                  </a:lnTo>
                  <a:lnTo>
                    <a:pt x="401" y="218"/>
                  </a:lnTo>
                  <a:lnTo>
                    <a:pt x="399" y="237"/>
                  </a:lnTo>
                  <a:lnTo>
                    <a:pt x="387" y="241"/>
                  </a:lnTo>
                  <a:lnTo>
                    <a:pt x="384" y="224"/>
                  </a:lnTo>
                  <a:lnTo>
                    <a:pt x="373" y="224"/>
                  </a:lnTo>
                  <a:lnTo>
                    <a:pt x="364" y="236"/>
                  </a:lnTo>
                  <a:lnTo>
                    <a:pt x="333" y="236"/>
                  </a:lnTo>
                  <a:lnTo>
                    <a:pt x="322" y="249"/>
                  </a:lnTo>
                  <a:lnTo>
                    <a:pt x="314" y="233"/>
                  </a:lnTo>
                  <a:lnTo>
                    <a:pt x="303" y="236"/>
                  </a:lnTo>
                  <a:lnTo>
                    <a:pt x="287" y="243"/>
                  </a:lnTo>
                  <a:lnTo>
                    <a:pt x="270" y="249"/>
                  </a:lnTo>
                  <a:lnTo>
                    <a:pt x="251" y="267"/>
                  </a:lnTo>
                  <a:lnTo>
                    <a:pt x="230" y="277"/>
                  </a:lnTo>
                  <a:lnTo>
                    <a:pt x="223" y="264"/>
                  </a:lnTo>
                  <a:lnTo>
                    <a:pt x="223" y="252"/>
                  </a:lnTo>
                  <a:lnTo>
                    <a:pt x="208" y="237"/>
                  </a:lnTo>
                  <a:lnTo>
                    <a:pt x="187" y="239"/>
                  </a:lnTo>
                  <a:lnTo>
                    <a:pt x="192" y="252"/>
                  </a:lnTo>
                  <a:lnTo>
                    <a:pt x="197" y="267"/>
                  </a:lnTo>
                  <a:lnTo>
                    <a:pt x="203" y="281"/>
                  </a:lnTo>
                  <a:lnTo>
                    <a:pt x="204" y="298"/>
                  </a:lnTo>
                  <a:lnTo>
                    <a:pt x="190" y="291"/>
                  </a:lnTo>
                  <a:lnTo>
                    <a:pt x="175" y="288"/>
                  </a:lnTo>
                  <a:lnTo>
                    <a:pt x="166" y="298"/>
                  </a:lnTo>
                  <a:lnTo>
                    <a:pt x="147" y="304"/>
                  </a:lnTo>
                  <a:lnTo>
                    <a:pt x="146" y="316"/>
                  </a:lnTo>
                  <a:lnTo>
                    <a:pt x="157" y="322"/>
                  </a:lnTo>
                  <a:lnTo>
                    <a:pt x="153" y="338"/>
                  </a:lnTo>
                  <a:lnTo>
                    <a:pt x="138" y="338"/>
                  </a:lnTo>
                  <a:lnTo>
                    <a:pt x="138" y="322"/>
                  </a:lnTo>
                  <a:lnTo>
                    <a:pt x="124" y="316"/>
                  </a:lnTo>
                  <a:lnTo>
                    <a:pt x="109" y="322"/>
                  </a:lnTo>
                  <a:lnTo>
                    <a:pt x="111" y="334"/>
                  </a:lnTo>
                  <a:lnTo>
                    <a:pt x="121" y="338"/>
                  </a:lnTo>
                  <a:lnTo>
                    <a:pt x="125" y="344"/>
                  </a:lnTo>
                  <a:lnTo>
                    <a:pt x="117" y="352"/>
                  </a:lnTo>
                  <a:lnTo>
                    <a:pt x="102" y="341"/>
                  </a:lnTo>
                  <a:lnTo>
                    <a:pt x="91" y="326"/>
                  </a:lnTo>
                  <a:lnTo>
                    <a:pt x="83" y="311"/>
                  </a:lnTo>
                  <a:lnTo>
                    <a:pt x="80" y="289"/>
                  </a:lnTo>
                  <a:lnTo>
                    <a:pt x="74" y="281"/>
                  </a:lnTo>
                  <a:lnTo>
                    <a:pt x="90" y="286"/>
                  </a:lnTo>
                  <a:lnTo>
                    <a:pt x="115" y="293"/>
                  </a:lnTo>
                  <a:lnTo>
                    <a:pt x="138" y="287"/>
                  </a:lnTo>
                  <a:lnTo>
                    <a:pt x="149" y="277"/>
                  </a:lnTo>
                  <a:lnTo>
                    <a:pt x="155" y="265"/>
                  </a:lnTo>
                  <a:lnTo>
                    <a:pt x="130" y="247"/>
                  </a:lnTo>
                  <a:lnTo>
                    <a:pt x="100" y="233"/>
                  </a:lnTo>
                  <a:lnTo>
                    <a:pt x="69" y="216"/>
                  </a:lnTo>
                  <a:lnTo>
                    <a:pt x="53" y="209"/>
                  </a:lnTo>
                  <a:lnTo>
                    <a:pt x="36" y="220"/>
                  </a:lnTo>
                  <a:lnTo>
                    <a:pt x="20" y="237"/>
                  </a:lnTo>
                  <a:lnTo>
                    <a:pt x="14" y="252"/>
                  </a:lnTo>
                  <a:lnTo>
                    <a:pt x="14" y="267"/>
                  </a:lnTo>
                  <a:lnTo>
                    <a:pt x="19" y="288"/>
                  </a:lnTo>
                  <a:lnTo>
                    <a:pt x="20" y="311"/>
                  </a:lnTo>
                  <a:lnTo>
                    <a:pt x="26" y="332"/>
                  </a:lnTo>
                  <a:lnTo>
                    <a:pt x="34" y="354"/>
                  </a:lnTo>
                  <a:lnTo>
                    <a:pt x="42" y="363"/>
                  </a:lnTo>
                  <a:lnTo>
                    <a:pt x="52" y="371"/>
                  </a:lnTo>
                  <a:lnTo>
                    <a:pt x="41" y="381"/>
                  </a:lnTo>
                  <a:lnTo>
                    <a:pt x="25" y="397"/>
                  </a:lnTo>
                  <a:lnTo>
                    <a:pt x="12" y="414"/>
                  </a:lnTo>
                  <a:lnTo>
                    <a:pt x="8" y="427"/>
                  </a:lnTo>
                  <a:lnTo>
                    <a:pt x="9" y="444"/>
                  </a:lnTo>
                  <a:lnTo>
                    <a:pt x="0" y="447"/>
                  </a:lnTo>
                  <a:lnTo>
                    <a:pt x="16" y="470"/>
                  </a:lnTo>
                  <a:lnTo>
                    <a:pt x="39" y="490"/>
                  </a:lnTo>
                  <a:lnTo>
                    <a:pt x="78" y="506"/>
                  </a:lnTo>
                  <a:lnTo>
                    <a:pt x="81" y="557"/>
                  </a:lnTo>
                  <a:lnTo>
                    <a:pt x="75" y="564"/>
                  </a:lnTo>
                  <a:lnTo>
                    <a:pt x="69" y="584"/>
                  </a:lnTo>
                  <a:lnTo>
                    <a:pt x="106" y="582"/>
                  </a:lnTo>
                  <a:lnTo>
                    <a:pt x="114" y="604"/>
                  </a:lnTo>
                  <a:lnTo>
                    <a:pt x="171" y="651"/>
                  </a:lnTo>
                  <a:lnTo>
                    <a:pt x="163" y="695"/>
                  </a:lnTo>
                  <a:lnTo>
                    <a:pt x="169" y="702"/>
                  </a:lnTo>
                  <a:lnTo>
                    <a:pt x="155" y="717"/>
                  </a:lnTo>
                  <a:lnTo>
                    <a:pt x="142" y="729"/>
                  </a:lnTo>
                  <a:lnTo>
                    <a:pt x="138" y="740"/>
                  </a:lnTo>
                  <a:lnTo>
                    <a:pt x="157" y="749"/>
                  </a:lnTo>
                  <a:lnTo>
                    <a:pt x="168" y="761"/>
                  </a:lnTo>
                  <a:lnTo>
                    <a:pt x="199" y="743"/>
                  </a:lnTo>
                  <a:lnTo>
                    <a:pt x="217" y="752"/>
                  </a:lnTo>
                  <a:lnTo>
                    <a:pt x="229" y="752"/>
                  </a:lnTo>
                  <a:lnTo>
                    <a:pt x="242" y="764"/>
                  </a:lnTo>
                  <a:lnTo>
                    <a:pt x="256" y="780"/>
                  </a:lnTo>
                  <a:lnTo>
                    <a:pt x="285" y="773"/>
                  </a:lnTo>
                  <a:lnTo>
                    <a:pt x="277" y="753"/>
                  </a:lnTo>
                  <a:lnTo>
                    <a:pt x="285" y="740"/>
                  </a:lnTo>
                  <a:lnTo>
                    <a:pt x="304" y="721"/>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50" name="Freeform 270">
              <a:extLst>
                <a:ext uri="{FF2B5EF4-FFF2-40B4-BE49-F238E27FC236}">
                  <a16:creationId xmlns:a16="http://schemas.microsoft.com/office/drawing/2014/main" id="{28E17B93-244C-4762-AAE9-AC76D77380AC}"/>
                </a:ext>
              </a:extLst>
            </p:cNvPr>
            <p:cNvSpPr>
              <a:spLocks/>
            </p:cNvSpPr>
            <p:nvPr/>
          </p:nvSpPr>
          <p:spPr bwMode="auto">
            <a:xfrm>
              <a:off x="3721503" y="2878353"/>
              <a:ext cx="136715" cy="78486"/>
            </a:xfrm>
            <a:custGeom>
              <a:avLst/>
              <a:gdLst>
                <a:gd name="T0" fmla="*/ 0 w 104"/>
                <a:gd name="T1" fmla="*/ 16 h 59"/>
                <a:gd name="T2" fmla="*/ 40 w 104"/>
                <a:gd name="T3" fmla="*/ 0 h 59"/>
                <a:gd name="T4" fmla="*/ 53 w 104"/>
                <a:gd name="T5" fmla="*/ 9 h 59"/>
                <a:gd name="T6" fmla="*/ 88 w 104"/>
                <a:gd name="T7" fmla="*/ 21 h 59"/>
                <a:gd name="T8" fmla="*/ 103 w 104"/>
                <a:gd name="T9" fmla="*/ 30 h 59"/>
                <a:gd name="T10" fmla="*/ 76 w 104"/>
                <a:gd name="T11" fmla="*/ 48 h 59"/>
                <a:gd name="T12" fmla="*/ 67 w 104"/>
                <a:gd name="T13" fmla="*/ 58 h 59"/>
                <a:gd name="T14" fmla="*/ 58 w 104"/>
                <a:gd name="T15" fmla="*/ 54 h 59"/>
                <a:gd name="T16" fmla="*/ 59 w 104"/>
                <a:gd name="T17" fmla="*/ 44 h 59"/>
                <a:gd name="T18" fmla="*/ 46 w 104"/>
                <a:gd name="T19" fmla="*/ 43 h 59"/>
                <a:gd name="T20" fmla="*/ 44 w 104"/>
                <a:gd name="T21" fmla="*/ 51 h 59"/>
                <a:gd name="T22" fmla="*/ 34 w 104"/>
                <a:gd name="T23" fmla="*/ 52 h 59"/>
                <a:gd name="T24" fmla="*/ 23 w 104"/>
                <a:gd name="T25" fmla="*/ 42 h 59"/>
                <a:gd name="T26" fmla="*/ 0 w 104"/>
                <a:gd name="T27" fmla="*/ 1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59">
                  <a:moveTo>
                    <a:pt x="0" y="16"/>
                  </a:moveTo>
                  <a:lnTo>
                    <a:pt x="40" y="0"/>
                  </a:lnTo>
                  <a:lnTo>
                    <a:pt x="53" y="9"/>
                  </a:lnTo>
                  <a:lnTo>
                    <a:pt x="88" y="21"/>
                  </a:lnTo>
                  <a:lnTo>
                    <a:pt x="103" y="30"/>
                  </a:lnTo>
                  <a:lnTo>
                    <a:pt x="76" y="48"/>
                  </a:lnTo>
                  <a:lnTo>
                    <a:pt x="67" y="58"/>
                  </a:lnTo>
                  <a:lnTo>
                    <a:pt x="58" y="54"/>
                  </a:lnTo>
                  <a:lnTo>
                    <a:pt x="59" y="44"/>
                  </a:lnTo>
                  <a:lnTo>
                    <a:pt x="46" y="43"/>
                  </a:lnTo>
                  <a:lnTo>
                    <a:pt x="44" y="51"/>
                  </a:lnTo>
                  <a:lnTo>
                    <a:pt x="34" y="52"/>
                  </a:lnTo>
                  <a:lnTo>
                    <a:pt x="23" y="42"/>
                  </a:lnTo>
                  <a:lnTo>
                    <a:pt x="0" y="16"/>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51" name="Freeform 271">
              <a:extLst>
                <a:ext uri="{FF2B5EF4-FFF2-40B4-BE49-F238E27FC236}">
                  <a16:creationId xmlns:a16="http://schemas.microsoft.com/office/drawing/2014/main" id="{5019FC1D-B6B2-4E4B-B5E6-E413BCDA8A8E}"/>
                </a:ext>
              </a:extLst>
            </p:cNvPr>
            <p:cNvSpPr>
              <a:spLocks/>
            </p:cNvSpPr>
            <p:nvPr/>
          </p:nvSpPr>
          <p:spPr bwMode="auto">
            <a:xfrm>
              <a:off x="3809476" y="2914029"/>
              <a:ext cx="114127" cy="55892"/>
            </a:xfrm>
            <a:custGeom>
              <a:avLst/>
              <a:gdLst>
                <a:gd name="T0" fmla="*/ 36 w 85"/>
                <a:gd name="T1" fmla="*/ 2 h 41"/>
                <a:gd name="T2" fmla="*/ 84 w 85"/>
                <a:gd name="T3" fmla="*/ 0 h 41"/>
                <a:gd name="T4" fmla="*/ 79 w 85"/>
                <a:gd name="T5" fmla="*/ 40 h 41"/>
                <a:gd name="T6" fmla="*/ 67 w 85"/>
                <a:gd name="T7" fmla="*/ 30 h 41"/>
                <a:gd name="T8" fmla="*/ 60 w 85"/>
                <a:gd name="T9" fmla="*/ 28 h 41"/>
                <a:gd name="T10" fmla="*/ 36 w 85"/>
                <a:gd name="T11" fmla="*/ 33 h 41"/>
                <a:gd name="T12" fmla="*/ 20 w 85"/>
                <a:gd name="T13" fmla="*/ 33 h 41"/>
                <a:gd name="T14" fmla="*/ 0 w 85"/>
                <a:gd name="T15" fmla="*/ 29 h 41"/>
                <a:gd name="T16" fmla="*/ 9 w 85"/>
                <a:gd name="T17" fmla="*/ 20 h 41"/>
                <a:gd name="T18" fmla="*/ 36 w 85"/>
                <a:gd name="T19" fmla="*/ 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41">
                  <a:moveTo>
                    <a:pt x="36" y="2"/>
                  </a:moveTo>
                  <a:lnTo>
                    <a:pt x="84" y="0"/>
                  </a:lnTo>
                  <a:lnTo>
                    <a:pt x="79" y="40"/>
                  </a:lnTo>
                  <a:lnTo>
                    <a:pt x="67" y="30"/>
                  </a:lnTo>
                  <a:lnTo>
                    <a:pt x="60" y="28"/>
                  </a:lnTo>
                  <a:lnTo>
                    <a:pt x="36" y="33"/>
                  </a:lnTo>
                  <a:lnTo>
                    <a:pt x="20" y="33"/>
                  </a:lnTo>
                  <a:lnTo>
                    <a:pt x="0" y="29"/>
                  </a:lnTo>
                  <a:lnTo>
                    <a:pt x="9" y="20"/>
                  </a:lnTo>
                  <a:lnTo>
                    <a:pt x="36" y="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52" name="Freeform 272">
              <a:extLst>
                <a:ext uri="{FF2B5EF4-FFF2-40B4-BE49-F238E27FC236}">
                  <a16:creationId xmlns:a16="http://schemas.microsoft.com/office/drawing/2014/main" id="{4CB7730C-70AC-4E8C-9860-CB4123E562EF}"/>
                </a:ext>
              </a:extLst>
            </p:cNvPr>
            <p:cNvSpPr>
              <a:spLocks/>
            </p:cNvSpPr>
            <p:nvPr/>
          </p:nvSpPr>
          <p:spPr bwMode="auto">
            <a:xfrm>
              <a:off x="4160180" y="3354026"/>
              <a:ext cx="404201" cy="386484"/>
            </a:xfrm>
            <a:custGeom>
              <a:avLst/>
              <a:gdLst>
                <a:gd name="T0" fmla="*/ 159 w 304"/>
                <a:gd name="T1" fmla="*/ 72 h 290"/>
                <a:gd name="T2" fmla="*/ 169 w 304"/>
                <a:gd name="T3" fmla="*/ 64 h 290"/>
                <a:gd name="T4" fmla="*/ 189 w 304"/>
                <a:gd name="T5" fmla="*/ 65 h 290"/>
                <a:gd name="T6" fmla="*/ 205 w 304"/>
                <a:gd name="T7" fmla="*/ 83 h 290"/>
                <a:gd name="T8" fmla="*/ 226 w 304"/>
                <a:gd name="T9" fmla="*/ 103 h 290"/>
                <a:gd name="T10" fmla="*/ 227 w 304"/>
                <a:gd name="T11" fmla="*/ 121 h 290"/>
                <a:gd name="T12" fmla="*/ 235 w 304"/>
                <a:gd name="T13" fmla="*/ 128 h 290"/>
                <a:gd name="T14" fmla="*/ 247 w 304"/>
                <a:gd name="T15" fmla="*/ 161 h 290"/>
                <a:gd name="T16" fmla="*/ 290 w 304"/>
                <a:gd name="T17" fmla="*/ 164 h 290"/>
                <a:gd name="T18" fmla="*/ 303 w 304"/>
                <a:gd name="T19" fmla="*/ 182 h 290"/>
                <a:gd name="T20" fmla="*/ 294 w 304"/>
                <a:gd name="T21" fmla="*/ 222 h 290"/>
                <a:gd name="T22" fmla="*/ 252 w 304"/>
                <a:gd name="T23" fmla="*/ 230 h 290"/>
                <a:gd name="T24" fmla="*/ 209 w 304"/>
                <a:gd name="T25" fmla="*/ 237 h 290"/>
                <a:gd name="T26" fmla="*/ 197 w 304"/>
                <a:gd name="T27" fmla="*/ 253 h 290"/>
                <a:gd name="T28" fmla="*/ 192 w 304"/>
                <a:gd name="T29" fmla="*/ 274 h 290"/>
                <a:gd name="T30" fmla="*/ 172 w 304"/>
                <a:gd name="T31" fmla="*/ 289 h 290"/>
                <a:gd name="T32" fmla="*/ 172 w 304"/>
                <a:gd name="T33" fmla="*/ 276 h 290"/>
                <a:gd name="T34" fmla="*/ 172 w 304"/>
                <a:gd name="T35" fmla="*/ 266 h 290"/>
                <a:gd name="T36" fmla="*/ 166 w 304"/>
                <a:gd name="T37" fmla="*/ 264 h 290"/>
                <a:gd name="T38" fmla="*/ 149 w 304"/>
                <a:gd name="T39" fmla="*/ 263 h 290"/>
                <a:gd name="T40" fmla="*/ 132 w 304"/>
                <a:gd name="T41" fmla="*/ 264 h 290"/>
                <a:gd name="T42" fmla="*/ 121 w 304"/>
                <a:gd name="T43" fmla="*/ 270 h 290"/>
                <a:gd name="T44" fmla="*/ 105 w 304"/>
                <a:gd name="T45" fmla="*/ 252 h 290"/>
                <a:gd name="T46" fmla="*/ 100 w 304"/>
                <a:gd name="T47" fmla="*/ 234 h 290"/>
                <a:gd name="T48" fmla="*/ 91 w 304"/>
                <a:gd name="T49" fmla="*/ 219 h 290"/>
                <a:gd name="T50" fmla="*/ 72 w 304"/>
                <a:gd name="T51" fmla="*/ 197 h 290"/>
                <a:gd name="T52" fmla="*/ 65 w 304"/>
                <a:gd name="T53" fmla="*/ 181 h 290"/>
                <a:gd name="T54" fmla="*/ 54 w 304"/>
                <a:gd name="T55" fmla="*/ 149 h 290"/>
                <a:gd name="T56" fmla="*/ 38 w 304"/>
                <a:gd name="T57" fmla="*/ 123 h 290"/>
                <a:gd name="T58" fmla="*/ 18 w 304"/>
                <a:gd name="T59" fmla="*/ 104 h 290"/>
                <a:gd name="T60" fmla="*/ 15 w 304"/>
                <a:gd name="T61" fmla="*/ 81 h 290"/>
                <a:gd name="T62" fmla="*/ 3 w 304"/>
                <a:gd name="T63" fmla="*/ 74 h 290"/>
                <a:gd name="T64" fmla="*/ 0 w 304"/>
                <a:gd name="T65" fmla="*/ 58 h 290"/>
                <a:gd name="T66" fmla="*/ 18 w 304"/>
                <a:gd name="T67" fmla="*/ 58 h 290"/>
                <a:gd name="T68" fmla="*/ 31 w 304"/>
                <a:gd name="T69" fmla="*/ 46 h 290"/>
                <a:gd name="T70" fmla="*/ 43 w 304"/>
                <a:gd name="T71" fmla="*/ 36 h 290"/>
                <a:gd name="T72" fmla="*/ 43 w 304"/>
                <a:gd name="T73" fmla="*/ 15 h 290"/>
                <a:gd name="T74" fmla="*/ 59 w 304"/>
                <a:gd name="T75" fmla="*/ 2 h 290"/>
                <a:gd name="T76" fmla="*/ 65 w 304"/>
                <a:gd name="T77" fmla="*/ 0 h 290"/>
                <a:gd name="T78" fmla="*/ 74 w 304"/>
                <a:gd name="T79" fmla="*/ 8 h 290"/>
                <a:gd name="T80" fmla="*/ 84 w 304"/>
                <a:gd name="T81" fmla="*/ 15 h 290"/>
                <a:gd name="T82" fmla="*/ 100 w 304"/>
                <a:gd name="T83" fmla="*/ 14 h 290"/>
                <a:gd name="T84" fmla="*/ 110 w 304"/>
                <a:gd name="T85" fmla="*/ 31 h 290"/>
                <a:gd name="T86" fmla="*/ 121 w 304"/>
                <a:gd name="T87" fmla="*/ 34 h 290"/>
                <a:gd name="T88" fmla="*/ 134 w 304"/>
                <a:gd name="T89" fmla="*/ 57 h 290"/>
                <a:gd name="T90" fmla="*/ 159 w 304"/>
                <a:gd name="T91" fmla="*/ 72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 h="290">
                  <a:moveTo>
                    <a:pt x="159" y="72"/>
                  </a:moveTo>
                  <a:lnTo>
                    <a:pt x="169" y="64"/>
                  </a:lnTo>
                  <a:lnTo>
                    <a:pt x="189" y="65"/>
                  </a:lnTo>
                  <a:lnTo>
                    <a:pt x="205" y="83"/>
                  </a:lnTo>
                  <a:lnTo>
                    <a:pt x="226" y="103"/>
                  </a:lnTo>
                  <a:lnTo>
                    <a:pt x="227" y="121"/>
                  </a:lnTo>
                  <a:lnTo>
                    <a:pt x="235" y="128"/>
                  </a:lnTo>
                  <a:lnTo>
                    <a:pt x="247" y="161"/>
                  </a:lnTo>
                  <a:lnTo>
                    <a:pt x="290" y="164"/>
                  </a:lnTo>
                  <a:lnTo>
                    <a:pt x="303" y="182"/>
                  </a:lnTo>
                  <a:lnTo>
                    <a:pt x="294" y="222"/>
                  </a:lnTo>
                  <a:lnTo>
                    <a:pt x="252" y="230"/>
                  </a:lnTo>
                  <a:lnTo>
                    <a:pt x="209" y="237"/>
                  </a:lnTo>
                  <a:lnTo>
                    <a:pt x="197" y="253"/>
                  </a:lnTo>
                  <a:lnTo>
                    <a:pt x="192" y="274"/>
                  </a:lnTo>
                  <a:lnTo>
                    <a:pt x="172" y="289"/>
                  </a:lnTo>
                  <a:lnTo>
                    <a:pt x="172" y="276"/>
                  </a:lnTo>
                  <a:lnTo>
                    <a:pt x="172" y="266"/>
                  </a:lnTo>
                  <a:lnTo>
                    <a:pt x="166" y="264"/>
                  </a:lnTo>
                  <a:lnTo>
                    <a:pt x="149" y="263"/>
                  </a:lnTo>
                  <a:lnTo>
                    <a:pt x="132" y="264"/>
                  </a:lnTo>
                  <a:lnTo>
                    <a:pt x="121" y="270"/>
                  </a:lnTo>
                  <a:lnTo>
                    <a:pt x="105" y="252"/>
                  </a:lnTo>
                  <a:lnTo>
                    <a:pt x="100" y="234"/>
                  </a:lnTo>
                  <a:lnTo>
                    <a:pt x="91" y="219"/>
                  </a:lnTo>
                  <a:lnTo>
                    <a:pt x="72" y="197"/>
                  </a:lnTo>
                  <a:lnTo>
                    <a:pt x="65" y="181"/>
                  </a:lnTo>
                  <a:lnTo>
                    <a:pt x="54" y="149"/>
                  </a:lnTo>
                  <a:lnTo>
                    <a:pt x="38" y="123"/>
                  </a:lnTo>
                  <a:lnTo>
                    <a:pt x="18" y="104"/>
                  </a:lnTo>
                  <a:lnTo>
                    <a:pt x="15" y="81"/>
                  </a:lnTo>
                  <a:lnTo>
                    <a:pt x="3" y="74"/>
                  </a:lnTo>
                  <a:lnTo>
                    <a:pt x="0" y="58"/>
                  </a:lnTo>
                  <a:lnTo>
                    <a:pt x="18" y="58"/>
                  </a:lnTo>
                  <a:lnTo>
                    <a:pt x="31" y="46"/>
                  </a:lnTo>
                  <a:lnTo>
                    <a:pt x="43" y="36"/>
                  </a:lnTo>
                  <a:lnTo>
                    <a:pt x="43" y="15"/>
                  </a:lnTo>
                  <a:lnTo>
                    <a:pt x="59" y="2"/>
                  </a:lnTo>
                  <a:lnTo>
                    <a:pt x="65" y="0"/>
                  </a:lnTo>
                  <a:lnTo>
                    <a:pt x="74" y="8"/>
                  </a:lnTo>
                  <a:lnTo>
                    <a:pt x="84" y="15"/>
                  </a:lnTo>
                  <a:lnTo>
                    <a:pt x="100" y="14"/>
                  </a:lnTo>
                  <a:lnTo>
                    <a:pt x="110" y="31"/>
                  </a:lnTo>
                  <a:lnTo>
                    <a:pt x="121" y="34"/>
                  </a:lnTo>
                  <a:lnTo>
                    <a:pt x="134" y="57"/>
                  </a:lnTo>
                  <a:lnTo>
                    <a:pt x="159" y="72"/>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53" name="Freeform 273">
              <a:extLst>
                <a:ext uri="{FF2B5EF4-FFF2-40B4-BE49-F238E27FC236}">
                  <a16:creationId xmlns:a16="http://schemas.microsoft.com/office/drawing/2014/main" id="{96BA210B-E2B1-4576-B34D-6548FC081B67}"/>
                </a:ext>
              </a:extLst>
            </p:cNvPr>
            <p:cNvSpPr>
              <a:spLocks/>
            </p:cNvSpPr>
            <p:nvPr/>
          </p:nvSpPr>
          <p:spPr bwMode="auto">
            <a:xfrm>
              <a:off x="4562004" y="3022244"/>
              <a:ext cx="246087" cy="221188"/>
            </a:xfrm>
            <a:custGeom>
              <a:avLst/>
              <a:gdLst>
                <a:gd name="T0" fmla="*/ 148 w 184"/>
                <a:gd name="T1" fmla="*/ 166 h 167"/>
                <a:gd name="T2" fmla="*/ 137 w 184"/>
                <a:gd name="T3" fmla="*/ 161 h 167"/>
                <a:gd name="T4" fmla="*/ 118 w 184"/>
                <a:gd name="T5" fmla="*/ 160 h 167"/>
                <a:gd name="T6" fmla="*/ 120 w 184"/>
                <a:gd name="T7" fmla="*/ 149 h 167"/>
                <a:gd name="T8" fmla="*/ 112 w 184"/>
                <a:gd name="T9" fmla="*/ 146 h 167"/>
                <a:gd name="T10" fmla="*/ 104 w 184"/>
                <a:gd name="T11" fmla="*/ 151 h 167"/>
                <a:gd name="T12" fmla="*/ 70 w 184"/>
                <a:gd name="T13" fmla="*/ 123 h 167"/>
                <a:gd name="T14" fmla="*/ 74 w 184"/>
                <a:gd name="T15" fmla="*/ 112 h 167"/>
                <a:gd name="T16" fmla="*/ 66 w 184"/>
                <a:gd name="T17" fmla="*/ 109 h 167"/>
                <a:gd name="T18" fmla="*/ 58 w 184"/>
                <a:gd name="T19" fmla="*/ 109 h 167"/>
                <a:gd name="T20" fmla="*/ 47 w 184"/>
                <a:gd name="T21" fmla="*/ 106 h 167"/>
                <a:gd name="T22" fmla="*/ 51 w 184"/>
                <a:gd name="T23" fmla="*/ 99 h 167"/>
                <a:gd name="T24" fmla="*/ 44 w 184"/>
                <a:gd name="T25" fmla="*/ 93 h 167"/>
                <a:gd name="T26" fmla="*/ 40 w 184"/>
                <a:gd name="T27" fmla="*/ 84 h 167"/>
                <a:gd name="T28" fmla="*/ 30 w 184"/>
                <a:gd name="T29" fmla="*/ 89 h 167"/>
                <a:gd name="T30" fmla="*/ 20 w 184"/>
                <a:gd name="T31" fmla="*/ 92 h 167"/>
                <a:gd name="T32" fmla="*/ 18 w 184"/>
                <a:gd name="T33" fmla="*/ 102 h 167"/>
                <a:gd name="T34" fmla="*/ 0 w 184"/>
                <a:gd name="T35" fmla="*/ 97 h 167"/>
                <a:gd name="T36" fmla="*/ 11 w 184"/>
                <a:gd name="T37" fmla="*/ 25 h 167"/>
                <a:gd name="T38" fmla="*/ 42 w 184"/>
                <a:gd name="T39" fmla="*/ 0 h 167"/>
                <a:gd name="T40" fmla="*/ 45 w 184"/>
                <a:gd name="T41" fmla="*/ 37 h 167"/>
                <a:gd name="T42" fmla="*/ 60 w 184"/>
                <a:gd name="T43" fmla="*/ 37 h 167"/>
                <a:gd name="T44" fmla="*/ 67 w 184"/>
                <a:gd name="T45" fmla="*/ 44 h 167"/>
                <a:gd name="T46" fmla="*/ 84 w 184"/>
                <a:gd name="T47" fmla="*/ 44 h 167"/>
                <a:gd name="T48" fmla="*/ 86 w 184"/>
                <a:gd name="T49" fmla="*/ 20 h 167"/>
                <a:gd name="T50" fmla="*/ 95 w 184"/>
                <a:gd name="T51" fmla="*/ 37 h 167"/>
                <a:gd name="T52" fmla="*/ 100 w 184"/>
                <a:gd name="T53" fmla="*/ 50 h 167"/>
                <a:gd name="T54" fmla="*/ 118 w 184"/>
                <a:gd name="T55" fmla="*/ 45 h 167"/>
                <a:gd name="T56" fmla="*/ 135 w 184"/>
                <a:gd name="T57" fmla="*/ 47 h 167"/>
                <a:gd name="T58" fmla="*/ 150 w 184"/>
                <a:gd name="T59" fmla="*/ 54 h 167"/>
                <a:gd name="T60" fmla="*/ 151 w 184"/>
                <a:gd name="T61" fmla="*/ 77 h 167"/>
                <a:gd name="T62" fmla="*/ 156 w 184"/>
                <a:gd name="T63" fmla="*/ 89 h 167"/>
                <a:gd name="T64" fmla="*/ 173 w 184"/>
                <a:gd name="T65" fmla="*/ 98 h 167"/>
                <a:gd name="T66" fmla="*/ 183 w 184"/>
                <a:gd name="T67" fmla="*/ 106 h 167"/>
                <a:gd name="T68" fmla="*/ 175 w 184"/>
                <a:gd name="T69" fmla="*/ 122 h 167"/>
                <a:gd name="T70" fmla="*/ 164 w 184"/>
                <a:gd name="T71" fmla="*/ 137 h 167"/>
                <a:gd name="T72" fmla="*/ 148 w 184"/>
                <a:gd name="T73" fmla="*/ 166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167">
                  <a:moveTo>
                    <a:pt x="148" y="166"/>
                  </a:moveTo>
                  <a:lnTo>
                    <a:pt x="137" y="161"/>
                  </a:lnTo>
                  <a:lnTo>
                    <a:pt x="118" y="160"/>
                  </a:lnTo>
                  <a:lnTo>
                    <a:pt x="120" y="149"/>
                  </a:lnTo>
                  <a:lnTo>
                    <a:pt x="112" y="146"/>
                  </a:lnTo>
                  <a:lnTo>
                    <a:pt x="104" y="151"/>
                  </a:lnTo>
                  <a:lnTo>
                    <a:pt x="70" y="123"/>
                  </a:lnTo>
                  <a:lnTo>
                    <a:pt x="74" y="112"/>
                  </a:lnTo>
                  <a:lnTo>
                    <a:pt x="66" y="109"/>
                  </a:lnTo>
                  <a:lnTo>
                    <a:pt x="58" y="109"/>
                  </a:lnTo>
                  <a:lnTo>
                    <a:pt x="47" y="106"/>
                  </a:lnTo>
                  <a:lnTo>
                    <a:pt x="51" y="99"/>
                  </a:lnTo>
                  <a:lnTo>
                    <a:pt x="44" y="93"/>
                  </a:lnTo>
                  <a:lnTo>
                    <a:pt x="40" y="84"/>
                  </a:lnTo>
                  <a:lnTo>
                    <a:pt x="30" y="89"/>
                  </a:lnTo>
                  <a:lnTo>
                    <a:pt x="20" y="92"/>
                  </a:lnTo>
                  <a:lnTo>
                    <a:pt x="18" y="102"/>
                  </a:lnTo>
                  <a:lnTo>
                    <a:pt x="0" y="97"/>
                  </a:lnTo>
                  <a:lnTo>
                    <a:pt x="11" y="25"/>
                  </a:lnTo>
                  <a:lnTo>
                    <a:pt x="42" y="0"/>
                  </a:lnTo>
                  <a:lnTo>
                    <a:pt x="45" y="37"/>
                  </a:lnTo>
                  <a:lnTo>
                    <a:pt x="60" y="37"/>
                  </a:lnTo>
                  <a:lnTo>
                    <a:pt x="67" y="44"/>
                  </a:lnTo>
                  <a:lnTo>
                    <a:pt x="84" y="44"/>
                  </a:lnTo>
                  <a:lnTo>
                    <a:pt x="86" y="20"/>
                  </a:lnTo>
                  <a:lnTo>
                    <a:pt x="95" y="37"/>
                  </a:lnTo>
                  <a:lnTo>
                    <a:pt x="100" y="50"/>
                  </a:lnTo>
                  <a:lnTo>
                    <a:pt x="118" y="45"/>
                  </a:lnTo>
                  <a:lnTo>
                    <a:pt x="135" y="47"/>
                  </a:lnTo>
                  <a:lnTo>
                    <a:pt x="150" y="54"/>
                  </a:lnTo>
                  <a:lnTo>
                    <a:pt x="151" y="77"/>
                  </a:lnTo>
                  <a:lnTo>
                    <a:pt x="156" y="89"/>
                  </a:lnTo>
                  <a:lnTo>
                    <a:pt x="173" y="98"/>
                  </a:lnTo>
                  <a:lnTo>
                    <a:pt x="183" y="106"/>
                  </a:lnTo>
                  <a:lnTo>
                    <a:pt x="175" y="122"/>
                  </a:lnTo>
                  <a:lnTo>
                    <a:pt x="164" y="137"/>
                  </a:lnTo>
                  <a:lnTo>
                    <a:pt x="148" y="166"/>
                  </a:lnTo>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54" name="Freeform 274">
              <a:extLst>
                <a:ext uri="{FF2B5EF4-FFF2-40B4-BE49-F238E27FC236}">
                  <a16:creationId xmlns:a16="http://schemas.microsoft.com/office/drawing/2014/main" id="{BC3D2C9C-BF70-47C5-A7E2-60FE7864EFCA}"/>
                </a:ext>
              </a:extLst>
            </p:cNvPr>
            <p:cNvSpPr>
              <a:spLocks/>
            </p:cNvSpPr>
            <p:nvPr/>
          </p:nvSpPr>
          <p:spPr bwMode="auto">
            <a:xfrm>
              <a:off x="3988989" y="2967542"/>
              <a:ext cx="67763" cy="87999"/>
            </a:xfrm>
            <a:custGeom>
              <a:avLst/>
              <a:gdLst>
                <a:gd name="T0" fmla="*/ 39 w 57"/>
                <a:gd name="T1" fmla="*/ 74 h 74"/>
                <a:gd name="T2" fmla="*/ 47 w 57"/>
                <a:gd name="T3" fmla="*/ 68 h 74"/>
                <a:gd name="T4" fmla="*/ 54 w 57"/>
                <a:gd name="T5" fmla="*/ 53 h 74"/>
                <a:gd name="T6" fmla="*/ 57 w 57"/>
                <a:gd name="T7" fmla="*/ 42 h 74"/>
                <a:gd name="T8" fmla="*/ 36 w 57"/>
                <a:gd name="T9" fmla="*/ 12 h 74"/>
                <a:gd name="T10" fmla="*/ 23 w 57"/>
                <a:gd name="T11" fmla="*/ 0 h 74"/>
                <a:gd name="T12" fmla="*/ 0 w 57"/>
                <a:gd name="T13" fmla="*/ 5 h 74"/>
                <a:gd name="T14" fmla="*/ 24 w 57"/>
                <a:gd name="T15" fmla="*/ 27 h 74"/>
                <a:gd name="T16" fmla="*/ 24 w 57"/>
                <a:gd name="T17" fmla="*/ 42 h 74"/>
                <a:gd name="T18" fmla="*/ 39 w 57"/>
                <a:gd name="T1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74">
                  <a:moveTo>
                    <a:pt x="39" y="74"/>
                  </a:moveTo>
                  <a:lnTo>
                    <a:pt x="47" y="68"/>
                  </a:lnTo>
                  <a:lnTo>
                    <a:pt x="54" y="53"/>
                  </a:lnTo>
                  <a:lnTo>
                    <a:pt x="57" y="42"/>
                  </a:lnTo>
                  <a:lnTo>
                    <a:pt x="36" y="12"/>
                  </a:lnTo>
                  <a:lnTo>
                    <a:pt x="23" y="0"/>
                  </a:lnTo>
                  <a:lnTo>
                    <a:pt x="0" y="5"/>
                  </a:lnTo>
                  <a:lnTo>
                    <a:pt x="24" y="27"/>
                  </a:lnTo>
                  <a:lnTo>
                    <a:pt x="24" y="42"/>
                  </a:lnTo>
                  <a:lnTo>
                    <a:pt x="39" y="74"/>
                  </a:lnTo>
                  <a:close/>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55" name="Freeform 275">
              <a:extLst>
                <a:ext uri="{FF2B5EF4-FFF2-40B4-BE49-F238E27FC236}">
                  <a16:creationId xmlns:a16="http://schemas.microsoft.com/office/drawing/2014/main" id="{A7BC6A00-5E66-43F8-8344-54E4ABEB5EE3}"/>
                </a:ext>
              </a:extLst>
            </p:cNvPr>
            <p:cNvSpPr>
              <a:spLocks/>
            </p:cNvSpPr>
            <p:nvPr/>
          </p:nvSpPr>
          <p:spPr bwMode="auto">
            <a:xfrm>
              <a:off x="3503948" y="3859428"/>
              <a:ext cx="32098" cy="98702"/>
            </a:xfrm>
            <a:custGeom>
              <a:avLst/>
              <a:gdLst>
                <a:gd name="T0" fmla="*/ 15 w 27"/>
                <a:gd name="T1" fmla="*/ 83 h 83"/>
                <a:gd name="T2" fmla="*/ 27 w 27"/>
                <a:gd name="T3" fmla="*/ 72 h 83"/>
                <a:gd name="T4" fmla="*/ 20 w 27"/>
                <a:gd name="T5" fmla="*/ 48 h 83"/>
                <a:gd name="T6" fmla="*/ 20 w 27"/>
                <a:gd name="T7" fmla="*/ 26 h 83"/>
                <a:gd name="T8" fmla="*/ 18 w 27"/>
                <a:gd name="T9" fmla="*/ 11 h 83"/>
                <a:gd name="T10" fmla="*/ 12 w 27"/>
                <a:gd name="T11" fmla="*/ 2 h 83"/>
                <a:gd name="T12" fmla="*/ 2 w 27"/>
                <a:gd name="T13" fmla="*/ 0 h 83"/>
                <a:gd name="T14" fmla="*/ 0 w 27"/>
                <a:gd name="T15" fmla="*/ 14 h 83"/>
                <a:gd name="T16" fmla="*/ 6 w 27"/>
                <a:gd name="T17" fmla="*/ 24 h 83"/>
                <a:gd name="T18" fmla="*/ 9 w 27"/>
                <a:gd name="T19" fmla="*/ 48 h 83"/>
                <a:gd name="T20" fmla="*/ 15 w 27"/>
                <a:gd name="T2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83">
                  <a:moveTo>
                    <a:pt x="15" y="83"/>
                  </a:moveTo>
                  <a:lnTo>
                    <a:pt x="27" y="72"/>
                  </a:lnTo>
                  <a:lnTo>
                    <a:pt x="20" y="48"/>
                  </a:lnTo>
                  <a:lnTo>
                    <a:pt x="20" y="26"/>
                  </a:lnTo>
                  <a:lnTo>
                    <a:pt x="18" y="11"/>
                  </a:lnTo>
                  <a:lnTo>
                    <a:pt x="12" y="2"/>
                  </a:lnTo>
                  <a:lnTo>
                    <a:pt x="2" y="0"/>
                  </a:lnTo>
                  <a:lnTo>
                    <a:pt x="0" y="14"/>
                  </a:lnTo>
                  <a:lnTo>
                    <a:pt x="6" y="24"/>
                  </a:lnTo>
                  <a:lnTo>
                    <a:pt x="9" y="48"/>
                  </a:lnTo>
                  <a:lnTo>
                    <a:pt x="15" y="83"/>
                  </a:lnTo>
                  <a:close/>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56" name="Freeform 276">
              <a:extLst>
                <a:ext uri="{FF2B5EF4-FFF2-40B4-BE49-F238E27FC236}">
                  <a16:creationId xmlns:a16="http://schemas.microsoft.com/office/drawing/2014/main" id="{13B521F5-6A0D-4352-B417-ABEB2A99F232}"/>
                </a:ext>
              </a:extLst>
            </p:cNvPr>
            <p:cNvSpPr>
              <a:spLocks/>
            </p:cNvSpPr>
            <p:nvPr/>
          </p:nvSpPr>
          <p:spPr bwMode="auto">
            <a:xfrm>
              <a:off x="3613320" y="2902137"/>
              <a:ext cx="24965" cy="17838"/>
            </a:xfrm>
            <a:custGeom>
              <a:avLst/>
              <a:gdLst>
                <a:gd name="T0" fmla="*/ 0 w 21"/>
                <a:gd name="T1" fmla="*/ 15 h 15"/>
                <a:gd name="T2" fmla="*/ 21 w 21"/>
                <a:gd name="T3" fmla="*/ 15 h 15"/>
                <a:gd name="T4" fmla="*/ 10 w 21"/>
                <a:gd name="T5" fmla="*/ 10 h 15"/>
                <a:gd name="T6" fmla="*/ 7 w 21"/>
                <a:gd name="T7" fmla="*/ 0 h 15"/>
                <a:gd name="T8" fmla="*/ 0 w 21"/>
                <a:gd name="T9" fmla="*/ 15 h 15"/>
              </a:gdLst>
              <a:ahLst/>
              <a:cxnLst>
                <a:cxn ang="0">
                  <a:pos x="T0" y="T1"/>
                </a:cxn>
                <a:cxn ang="0">
                  <a:pos x="T2" y="T3"/>
                </a:cxn>
                <a:cxn ang="0">
                  <a:pos x="T4" y="T5"/>
                </a:cxn>
                <a:cxn ang="0">
                  <a:pos x="T6" y="T7"/>
                </a:cxn>
                <a:cxn ang="0">
                  <a:pos x="T8" y="T9"/>
                </a:cxn>
              </a:cxnLst>
              <a:rect l="0" t="0" r="r" b="b"/>
              <a:pathLst>
                <a:path w="21" h="15">
                  <a:moveTo>
                    <a:pt x="0" y="15"/>
                  </a:moveTo>
                  <a:lnTo>
                    <a:pt x="21" y="15"/>
                  </a:lnTo>
                  <a:lnTo>
                    <a:pt x="10" y="10"/>
                  </a:lnTo>
                  <a:lnTo>
                    <a:pt x="7" y="0"/>
                  </a:lnTo>
                  <a:lnTo>
                    <a:pt x="0" y="15"/>
                  </a:lnTo>
                  <a:close/>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57" name="Freeform 277">
              <a:extLst>
                <a:ext uri="{FF2B5EF4-FFF2-40B4-BE49-F238E27FC236}">
                  <a16:creationId xmlns:a16="http://schemas.microsoft.com/office/drawing/2014/main" id="{64490D38-1405-46DD-B640-E8D1E0A498CB}"/>
                </a:ext>
              </a:extLst>
            </p:cNvPr>
            <p:cNvSpPr>
              <a:spLocks/>
            </p:cNvSpPr>
            <p:nvPr/>
          </p:nvSpPr>
          <p:spPr bwMode="auto">
            <a:xfrm>
              <a:off x="4134026" y="3288621"/>
              <a:ext cx="54686" cy="114161"/>
            </a:xfrm>
            <a:custGeom>
              <a:avLst/>
              <a:gdLst>
                <a:gd name="T0" fmla="*/ 0 w 46"/>
                <a:gd name="T1" fmla="*/ 74 h 96"/>
                <a:gd name="T2" fmla="*/ 15 w 46"/>
                <a:gd name="T3" fmla="*/ 29 h 96"/>
                <a:gd name="T4" fmla="*/ 27 w 46"/>
                <a:gd name="T5" fmla="*/ 0 h 96"/>
                <a:gd name="T6" fmla="*/ 46 w 46"/>
                <a:gd name="T7" fmla="*/ 17 h 96"/>
                <a:gd name="T8" fmla="*/ 40 w 46"/>
                <a:gd name="T9" fmla="*/ 35 h 96"/>
                <a:gd name="T10" fmla="*/ 27 w 46"/>
                <a:gd name="T11" fmla="*/ 42 h 96"/>
                <a:gd name="T12" fmla="*/ 27 w 46"/>
                <a:gd name="T13" fmla="*/ 77 h 96"/>
                <a:gd name="T14" fmla="*/ 22 w 46"/>
                <a:gd name="T15" fmla="*/ 96 h 96"/>
                <a:gd name="T16" fmla="*/ 7 w 46"/>
                <a:gd name="T17" fmla="*/ 75 h 96"/>
                <a:gd name="T18" fmla="*/ 0 w 46"/>
                <a:gd name="T19" fmla="*/ 7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96">
                  <a:moveTo>
                    <a:pt x="0" y="74"/>
                  </a:moveTo>
                  <a:lnTo>
                    <a:pt x="15" y="29"/>
                  </a:lnTo>
                  <a:lnTo>
                    <a:pt x="27" y="0"/>
                  </a:lnTo>
                  <a:lnTo>
                    <a:pt x="46" y="17"/>
                  </a:lnTo>
                  <a:lnTo>
                    <a:pt x="40" y="35"/>
                  </a:lnTo>
                  <a:lnTo>
                    <a:pt x="27" y="42"/>
                  </a:lnTo>
                  <a:lnTo>
                    <a:pt x="27" y="77"/>
                  </a:lnTo>
                  <a:lnTo>
                    <a:pt x="22" y="96"/>
                  </a:lnTo>
                  <a:lnTo>
                    <a:pt x="7" y="75"/>
                  </a:lnTo>
                  <a:lnTo>
                    <a:pt x="0" y="74"/>
                  </a:lnTo>
                  <a:close/>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58" name="Freeform 278">
              <a:extLst>
                <a:ext uri="{FF2B5EF4-FFF2-40B4-BE49-F238E27FC236}">
                  <a16:creationId xmlns:a16="http://schemas.microsoft.com/office/drawing/2014/main" id="{03B0ABBD-89D9-4653-9970-AB0021C76AED}"/>
                </a:ext>
              </a:extLst>
            </p:cNvPr>
            <p:cNvSpPr>
              <a:spLocks/>
            </p:cNvSpPr>
            <p:nvPr/>
          </p:nvSpPr>
          <p:spPr bwMode="auto">
            <a:xfrm>
              <a:off x="3692971" y="4052076"/>
              <a:ext cx="34476" cy="20216"/>
            </a:xfrm>
            <a:custGeom>
              <a:avLst/>
              <a:gdLst>
                <a:gd name="T0" fmla="*/ 0 w 29"/>
                <a:gd name="T1" fmla="*/ 14 h 17"/>
                <a:gd name="T2" fmla="*/ 2 w 29"/>
                <a:gd name="T3" fmla="*/ 0 h 17"/>
                <a:gd name="T4" fmla="*/ 29 w 29"/>
                <a:gd name="T5" fmla="*/ 3 h 17"/>
                <a:gd name="T6" fmla="*/ 18 w 29"/>
                <a:gd name="T7" fmla="*/ 17 h 17"/>
                <a:gd name="T8" fmla="*/ 0 w 29"/>
                <a:gd name="T9" fmla="*/ 14 h 17"/>
              </a:gdLst>
              <a:ahLst/>
              <a:cxnLst>
                <a:cxn ang="0">
                  <a:pos x="T0" y="T1"/>
                </a:cxn>
                <a:cxn ang="0">
                  <a:pos x="T2" y="T3"/>
                </a:cxn>
                <a:cxn ang="0">
                  <a:pos x="T4" y="T5"/>
                </a:cxn>
                <a:cxn ang="0">
                  <a:pos x="T6" y="T7"/>
                </a:cxn>
                <a:cxn ang="0">
                  <a:pos x="T8" y="T9"/>
                </a:cxn>
              </a:cxnLst>
              <a:rect l="0" t="0" r="r" b="b"/>
              <a:pathLst>
                <a:path w="29" h="17">
                  <a:moveTo>
                    <a:pt x="0" y="14"/>
                  </a:moveTo>
                  <a:lnTo>
                    <a:pt x="2" y="0"/>
                  </a:lnTo>
                  <a:lnTo>
                    <a:pt x="29" y="3"/>
                  </a:lnTo>
                  <a:lnTo>
                    <a:pt x="18" y="17"/>
                  </a:lnTo>
                  <a:lnTo>
                    <a:pt x="0" y="14"/>
                  </a:lnTo>
                  <a:close/>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59" name="Freeform 279">
              <a:extLst>
                <a:ext uri="{FF2B5EF4-FFF2-40B4-BE49-F238E27FC236}">
                  <a16:creationId xmlns:a16="http://schemas.microsoft.com/office/drawing/2014/main" id="{BAB0BCF4-34C6-4274-850A-761E6DD7887E}"/>
                </a:ext>
              </a:extLst>
            </p:cNvPr>
            <p:cNvSpPr>
              <a:spLocks/>
            </p:cNvSpPr>
            <p:nvPr/>
          </p:nvSpPr>
          <p:spPr bwMode="auto">
            <a:xfrm>
              <a:off x="4141159" y="4298237"/>
              <a:ext cx="61819" cy="155783"/>
            </a:xfrm>
            <a:custGeom>
              <a:avLst/>
              <a:gdLst>
                <a:gd name="T0" fmla="*/ 16 w 52"/>
                <a:gd name="T1" fmla="*/ 119 h 131"/>
                <a:gd name="T2" fmla="*/ 24 w 52"/>
                <a:gd name="T3" fmla="*/ 90 h 131"/>
                <a:gd name="T4" fmla="*/ 0 w 52"/>
                <a:gd name="T5" fmla="*/ 81 h 131"/>
                <a:gd name="T6" fmla="*/ 0 w 52"/>
                <a:gd name="T7" fmla="*/ 50 h 131"/>
                <a:gd name="T8" fmla="*/ 10 w 52"/>
                <a:gd name="T9" fmla="*/ 41 h 131"/>
                <a:gd name="T10" fmla="*/ 4 w 52"/>
                <a:gd name="T11" fmla="*/ 17 h 131"/>
                <a:gd name="T12" fmla="*/ 7 w 52"/>
                <a:gd name="T13" fmla="*/ 0 h 131"/>
                <a:gd name="T14" fmla="*/ 30 w 52"/>
                <a:gd name="T15" fmla="*/ 14 h 131"/>
                <a:gd name="T16" fmla="*/ 33 w 52"/>
                <a:gd name="T17" fmla="*/ 30 h 131"/>
                <a:gd name="T18" fmla="*/ 28 w 52"/>
                <a:gd name="T19" fmla="*/ 56 h 131"/>
                <a:gd name="T20" fmla="*/ 45 w 52"/>
                <a:gd name="T21" fmla="*/ 81 h 131"/>
                <a:gd name="T22" fmla="*/ 52 w 52"/>
                <a:gd name="T23" fmla="*/ 104 h 131"/>
                <a:gd name="T24" fmla="*/ 40 w 52"/>
                <a:gd name="T25" fmla="*/ 110 h 131"/>
                <a:gd name="T26" fmla="*/ 39 w 52"/>
                <a:gd name="T27" fmla="*/ 126 h 131"/>
                <a:gd name="T28" fmla="*/ 24 w 52"/>
                <a:gd name="T29" fmla="*/ 131 h 131"/>
                <a:gd name="T30" fmla="*/ 16 w 52"/>
                <a:gd name="T31" fmla="*/ 1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131">
                  <a:moveTo>
                    <a:pt x="16" y="119"/>
                  </a:moveTo>
                  <a:lnTo>
                    <a:pt x="24" y="90"/>
                  </a:lnTo>
                  <a:lnTo>
                    <a:pt x="0" y="81"/>
                  </a:lnTo>
                  <a:lnTo>
                    <a:pt x="0" y="50"/>
                  </a:lnTo>
                  <a:lnTo>
                    <a:pt x="10" y="41"/>
                  </a:lnTo>
                  <a:lnTo>
                    <a:pt x="4" y="17"/>
                  </a:lnTo>
                  <a:lnTo>
                    <a:pt x="7" y="0"/>
                  </a:lnTo>
                  <a:lnTo>
                    <a:pt x="30" y="14"/>
                  </a:lnTo>
                  <a:lnTo>
                    <a:pt x="33" y="30"/>
                  </a:lnTo>
                  <a:lnTo>
                    <a:pt x="28" y="56"/>
                  </a:lnTo>
                  <a:lnTo>
                    <a:pt x="45" y="81"/>
                  </a:lnTo>
                  <a:lnTo>
                    <a:pt x="52" y="104"/>
                  </a:lnTo>
                  <a:lnTo>
                    <a:pt x="40" y="110"/>
                  </a:lnTo>
                  <a:lnTo>
                    <a:pt x="39" y="126"/>
                  </a:lnTo>
                  <a:lnTo>
                    <a:pt x="24" y="131"/>
                  </a:lnTo>
                  <a:lnTo>
                    <a:pt x="16" y="119"/>
                  </a:lnTo>
                  <a:close/>
                </a:path>
              </a:pathLst>
            </a:custGeom>
            <a:grpFill/>
            <a:ln w="19050" cap="flat" cmpd="sng">
              <a:solidFill>
                <a:schemeClr val="bg1">
                  <a:alpha val="28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grpSp>
      <p:grpSp>
        <p:nvGrpSpPr>
          <p:cNvPr id="2" name="Group 1">
            <a:extLst>
              <a:ext uri="{FF2B5EF4-FFF2-40B4-BE49-F238E27FC236}">
                <a16:creationId xmlns:a16="http://schemas.microsoft.com/office/drawing/2014/main" id="{4565EAEF-3A03-4EE5-BE05-788B4F129F0B}"/>
              </a:ext>
            </a:extLst>
          </p:cNvPr>
          <p:cNvGrpSpPr/>
          <p:nvPr/>
        </p:nvGrpSpPr>
        <p:grpSpPr>
          <a:xfrm>
            <a:off x="5510089" y="4072101"/>
            <a:ext cx="3795041" cy="228093"/>
            <a:chOff x="5686614" y="3910699"/>
            <a:chExt cx="3795041" cy="228093"/>
          </a:xfrm>
        </p:grpSpPr>
        <p:grpSp>
          <p:nvGrpSpPr>
            <p:cNvPr id="7" name="Group 6">
              <a:extLst>
                <a:ext uri="{FF2B5EF4-FFF2-40B4-BE49-F238E27FC236}">
                  <a16:creationId xmlns:a16="http://schemas.microsoft.com/office/drawing/2014/main" id="{B74B8A15-042F-4E90-B58D-A2238CF2EA9F}"/>
                </a:ext>
              </a:extLst>
            </p:cNvPr>
            <p:cNvGrpSpPr/>
            <p:nvPr/>
          </p:nvGrpSpPr>
          <p:grpSpPr>
            <a:xfrm>
              <a:off x="5686614" y="3923348"/>
              <a:ext cx="884989" cy="215444"/>
              <a:chOff x="1094954" y="5751588"/>
              <a:chExt cx="1138071" cy="277055"/>
            </a:xfrm>
          </p:grpSpPr>
          <p:sp>
            <p:nvSpPr>
              <p:cNvPr id="14" name="Oval 13">
                <a:extLst>
                  <a:ext uri="{FF2B5EF4-FFF2-40B4-BE49-F238E27FC236}">
                    <a16:creationId xmlns:a16="http://schemas.microsoft.com/office/drawing/2014/main" id="{8BFB61A9-561E-4079-95C4-41A14674F50D}"/>
                  </a:ext>
                </a:extLst>
              </p:cNvPr>
              <p:cNvSpPr/>
              <p:nvPr/>
            </p:nvSpPr>
            <p:spPr>
              <a:xfrm>
                <a:off x="1094954" y="5788347"/>
                <a:ext cx="203530" cy="2035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400"/>
              </a:p>
            </p:txBody>
          </p:sp>
          <p:sp>
            <p:nvSpPr>
              <p:cNvPr id="15" name="TextBox 50">
                <a:extLst>
                  <a:ext uri="{FF2B5EF4-FFF2-40B4-BE49-F238E27FC236}">
                    <a16:creationId xmlns:a16="http://schemas.microsoft.com/office/drawing/2014/main" id="{40559880-8A10-4CC1-9D42-D0AF50A2A785}"/>
                  </a:ext>
                </a:extLst>
              </p:cNvPr>
              <p:cNvSpPr txBox="1"/>
              <p:nvPr/>
            </p:nvSpPr>
            <p:spPr>
              <a:xfrm>
                <a:off x="1405655" y="5751588"/>
                <a:ext cx="827370" cy="277055"/>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solidFill>
                      <a:schemeClr val="accent1"/>
                    </a:solidFill>
                  </a:rPr>
                  <a:t>( BDA5)  </a:t>
                </a:r>
              </a:p>
            </p:txBody>
          </p:sp>
        </p:grpSp>
        <p:grpSp>
          <p:nvGrpSpPr>
            <p:cNvPr id="8" name="Group 7">
              <a:extLst>
                <a:ext uri="{FF2B5EF4-FFF2-40B4-BE49-F238E27FC236}">
                  <a16:creationId xmlns:a16="http://schemas.microsoft.com/office/drawing/2014/main" id="{BAA1D253-EBC3-4433-B426-967B292A4199}"/>
                </a:ext>
              </a:extLst>
            </p:cNvPr>
            <p:cNvGrpSpPr/>
            <p:nvPr/>
          </p:nvGrpSpPr>
          <p:grpSpPr>
            <a:xfrm>
              <a:off x="7972071" y="3910699"/>
              <a:ext cx="1509584" cy="215444"/>
              <a:chOff x="3077448" y="5751591"/>
              <a:chExt cx="1941281" cy="277055"/>
            </a:xfrm>
          </p:grpSpPr>
          <p:sp>
            <p:nvSpPr>
              <p:cNvPr id="12" name="Oval 11">
                <a:extLst>
                  <a:ext uri="{FF2B5EF4-FFF2-40B4-BE49-F238E27FC236}">
                    <a16:creationId xmlns:a16="http://schemas.microsoft.com/office/drawing/2014/main" id="{5E50A559-D833-48B4-A9B3-03157BAFEB2B}"/>
                  </a:ext>
                </a:extLst>
              </p:cNvPr>
              <p:cNvSpPr/>
              <p:nvPr/>
            </p:nvSpPr>
            <p:spPr>
              <a:xfrm>
                <a:off x="3077448" y="5788347"/>
                <a:ext cx="203530" cy="203529"/>
              </a:xfrm>
              <a:prstGeom prst="ellipse">
                <a:avLst/>
              </a:prstGeom>
              <a:solidFill>
                <a:schemeClr val="accent3">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400"/>
              </a:p>
            </p:txBody>
          </p:sp>
          <p:sp>
            <p:nvSpPr>
              <p:cNvPr id="13" name="TextBox 50">
                <a:extLst>
                  <a:ext uri="{FF2B5EF4-FFF2-40B4-BE49-F238E27FC236}">
                    <a16:creationId xmlns:a16="http://schemas.microsoft.com/office/drawing/2014/main" id="{B5CAD233-B12C-4811-B15D-ADEB7909704C}"/>
                  </a:ext>
                </a:extLst>
              </p:cNvPr>
              <p:cNvSpPr txBox="1"/>
              <p:nvPr/>
            </p:nvSpPr>
            <p:spPr>
              <a:xfrm>
                <a:off x="3388149" y="5751591"/>
                <a:ext cx="1630580" cy="277055"/>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solidFill>
                      <a:schemeClr val="accent1"/>
                    </a:solidFill>
                  </a:rPr>
                  <a:t>TATIANA SHUPIK</a:t>
                </a:r>
              </a:p>
            </p:txBody>
          </p:sp>
        </p:grpSp>
      </p:grpSp>
      <p:sp>
        <p:nvSpPr>
          <p:cNvPr id="277" name="Freeform 104">
            <a:extLst>
              <a:ext uri="{FF2B5EF4-FFF2-40B4-BE49-F238E27FC236}">
                <a16:creationId xmlns:a16="http://schemas.microsoft.com/office/drawing/2014/main" id="{FA4E45B2-3D0D-4E4D-B26A-634429D8F186}"/>
              </a:ext>
            </a:extLst>
          </p:cNvPr>
          <p:cNvSpPr>
            <a:spLocks noEditPoints="1"/>
          </p:cNvSpPr>
          <p:nvPr/>
        </p:nvSpPr>
        <p:spPr bwMode="auto">
          <a:xfrm>
            <a:off x="1003293" y="4562188"/>
            <a:ext cx="670968" cy="673922"/>
          </a:xfrm>
          <a:custGeom>
            <a:avLst/>
            <a:gdLst>
              <a:gd name="T0" fmla="*/ 36 w 96"/>
              <a:gd name="T1" fmla="*/ 72 h 96"/>
              <a:gd name="T2" fmla="*/ 59 w 96"/>
              <a:gd name="T3" fmla="*/ 64 h 96"/>
              <a:gd name="T4" fmla="*/ 89 w 96"/>
              <a:gd name="T5" fmla="*/ 95 h 96"/>
              <a:gd name="T6" fmla="*/ 95 w 96"/>
              <a:gd name="T7" fmla="*/ 95 h 96"/>
              <a:gd name="T8" fmla="*/ 95 w 96"/>
              <a:gd name="T9" fmla="*/ 89 h 96"/>
              <a:gd name="T10" fmla="*/ 64 w 96"/>
              <a:gd name="T11" fmla="*/ 58 h 96"/>
              <a:gd name="T12" fmla="*/ 72 w 96"/>
              <a:gd name="T13" fmla="*/ 36 h 96"/>
              <a:gd name="T14" fmla="*/ 36 w 96"/>
              <a:gd name="T15" fmla="*/ 0 h 96"/>
              <a:gd name="T16" fmla="*/ 0 w 96"/>
              <a:gd name="T17" fmla="*/ 36 h 96"/>
              <a:gd name="T18" fmla="*/ 36 w 96"/>
              <a:gd name="T19" fmla="*/ 72 h 96"/>
              <a:gd name="T20" fmla="*/ 36 w 96"/>
              <a:gd name="T21" fmla="*/ 8 h 96"/>
              <a:gd name="T22" fmla="*/ 64 w 96"/>
              <a:gd name="T23" fmla="*/ 36 h 96"/>
              <a:gd name="T24" fmla="*/ 36 w 96"/>
              <a:gd name="T25" fmla="*/ 64 h 96"/>
              <a:gd name="T26" fmla="*/ 8 w 96"/>
              <a:gd name="T27" fmla="*/ 36 h 96"/>
              <a:gd name="T28" fmla="*/ 36 w 96"/>
              <a:gd name="T2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36" y="72"/>
                </a:moveTo>
                <a:cubicBezTo>
                  <a:pt x="45" y="72"/>
                  <a:pt x="52" y="69"/>
                  <a:pt x="59" y="64"/>
                </a:cubicBezTo>
                <a:cubicBezTo>
                  <a:pt x="89" y="95"/>
                  <a:pt x="89" y="95"/>
                  <a:pt x="89" y="95"/>
                </a:cubicBezTo>
                <a:cubicBezTo>
                  <a:pt x="91" y="96"/>
                  <a:pt x="93" y="96"/>
                  <a:pt x="95" y="95"/>
                </a:cubicBezTo>
                <a:cubicBezTo>
                  <a:pt x="96" y="93"/>
                  <a:pt x="96" y="91"/>
                  <a:pt x="95" y="89"/>
                </a:cubicBezTo>
                <a:cubicBezTo>
                  <a:pt x="64" y="58"/>
                  <a:pt x="64" y="58"/>
                  <a:pt x="64" y="58"/>
                </a:cubicBezTo>
                <a:cubicBezTo>
                  <a:pt x="69" y="52"/>
                  <a:pt x="72" y="44"/>
                  <a:pt x="72" y="36"/>
                </a:cubicBezTo>
                <a:cubicBezTo>
                  <a:pt x="72" y="16"/>
                  <a:pt x="56" y="0"/>
                  <a:pt x="36" y="0"/>
                </a:cubicBezTo>
                <a:cubicBezTo>
                  <a:pt x="16" y="0"/>
                  <a:pt x="0" y="16"/>
                  <a:pt x="0" y="36"/>
                </a:cubicBezTo>
                <a:cubicBezTo>
                  <a:pt x="0" y="56"/>
                  <a:pt x="16" y="72"/>
                  <a:pt x="36" y="72"/>
                </a:cubicBezTo>
                <a:close/>
                <a:moveTo>
                  <a:pt x="36" y="8"/>
                </a:moveTo>
                <a:cubicBezTo>
                  <a:pt x="51" y="8"/>
                  <a:pt x="64" y="21"/>
                  <a:pt x="64" y="36"/>
                </a:cubicBezTo>
                <a:cubicBezTo>
                  <a:pt x="64" y="51"/>
                  <a:pt x="51" y="64"/>
                  <a:pt x="36" y="64"/>
                </a:cubicBezTo>
                <a:cubicBezTo>
                  <a:pt x="21" y="64"/>
                  <a:pt x="8" y="51"/>
                  <a:pt x="8" y="36"/>
                </a:cubicBezTo>
                <a:cubicBezTo>
                  <a:pt x="8" y="21"/>
                  <a:pt x="21" y="8"/>
                  <a:pt x="36"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83" name="Rectangle 282">
            <a:extLst>
              <a:ext uri="{FF2B5EF4-FFF2-40B4-BE49-F238E27FC236}">
                <a16:creationId xmlns:a16="http://schemas.microsoft.com/office/drawing/2014/main" id="{6F67DBA7-C59A-4FC9-885D-C5CA84F6F9D5}"/>
              </a:ext>
            </a:extLst>
          </p:cNvPr>
          <p:cNvSpPr/>
          <p:nvPr/>
        </p:nvSpPr>
        <p:spPr>
          <a:xfrm>
            <a:off x="-1724" y="6142445"/>
            <a:ext cx="12192003" cy="715555"/>
          </a:xfrm>
          <a:prstGeom prst="rect">
            <a:avLst/>
          </a:prstGeom>
          <a:solidFill>
            <a:srgbClr val="883E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 name="Picture 2">
            <a:extLst>
              <a:ext uri="{FF2B5EF4-FFF2-40B4-BE49-F238E27FC236}">
                <a16:creationId xmlns:a16="http://schemas.microsoft.com/office/drawing/2014/main" id="{42778DD8-2106-4FCD-AB58-83DCC18877FD}"/>
              </a:ext>
            </a:extLst>
          </p:cNvPr>
          <p:cNvPicPr>
            <a:picLocks noChangeAspect="1"/>
          </p:cNvPicPr>
          <p:nvPr/>
        </p:nvPicPr>
        <p:blipFill>
          <a:blip r:embed="rId4"/>
          <a:stretch>
            <a:fillRect/>
          </a:stretch>
        </p:blipFill>
        <p:spPr>
          <a:xfrm>
            <a:off x="3483346" y="5301484"/>
            <a:ext cx="5277259" cy="2015897"/>
          </a:xfrm>
          <a:prstGeom prst="rect">
            <a:avLst/>
          </a:prstGeom>
        </p:spPr>
      </p:pic>
      <p:cxnSp>
        <p:nvCxnSpPr>
          <p:cNvPr id="287" name="Straight Connector 286">
            <a:extLst>
              <a:ext uri="{FF2B5EF4-FFF2-40B4-BE49-F238E27FC236}">
                <a16:creationId xmlns:a16="http://schemas.microsoft.com/office/drawing/2014/main" id="{14E8E238-3381-4247-89F1-23413FEBB00A}"/>
              </a:ext>
            </a:extLst>
          </p:cNvPr>
          <p:cNvCxnSpPr>
            <a:cxnSpLocks/>
          </p:cNvCxnSpPr>
          <p:nvPr/>
        </p:nvCxnSpPr>
        <p:spPr>
          <a:xfrm>
            <a:off x="8072419" y="5461408"/>
            <a:ext cx="831508" cy="0"/>
          </a:xfrm>
          <a:prstGeom prst="line">
            <a:avLst/>
          </a:prstGeom>
          <a:ln w="127000">
            <a:gradFill flip="none" rotWithShape="1">
              <a:gsLst>
                <a:gs pos="0">
                  <a:schemeClr val="accent2">
                    <a:lumMod val="75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57" name="Title 7">
            <a:extLst>
              <a:ext uri="{FF2B5EF4-FFF2-40B4-BE49-F238E27FC236}">
                <a16:creationId xmlns:a16="http://schemas.microsoft.com/office/drawing/2014/main" id="{D6BBC02A-57B6-4751-8230-AE7A6A241904}"/>
              </a:ext>
            </a:extLst>
          </p:cNvPr>
          <p:cNvSpPr>
            <a:spLocks noGrp="1"/>
          </p:cNvSpPr>
          <p:nvPr>
            <p:ph type="title"/>
          </p:nvPr>
        </p:nvSpPr>
        <p:spPr>
          <a:xfrm>
            <a:off x="1751838" y="4563221"/>
            <a:ext cx="3606701" cy="499880"/>
          </a:xfrm>
        </p:spPr>
        <p:txBody>
          <a:bodyPr wrap="square">
            <a:spAutoFit/>
          </a:bodyPr>
          <a:lstStyle/>
          <a:p>
            <a:r>
              <a:rPr lang="en-US" dirty="0">
                <a:solidFill>
                  <a:schemeClr val="bg1"/>
                </a:solidFill>
                <a:latin typeface="Baskerville Old Face" panose="02020602080505020303" pitchFamily="18" charset="0"/>
              </a:rPr>
              <a:t>Python Project</a:t>
            </a:r>
          </a:p>
        </p:txBody>
      </p:sp>
      <p:sp>
        <p:nvSpPr>
          <p:cNvPr id="288" name="Title 7">
            <a:extLst>
              <a:ext uri="{FF2B5EF4-FFF2-40B4-BE49-F238E27FC236}">
                <a16:creationId xmlns:a16="http://schemas.microsoft.com/office/drawing/2014/main" id="{F63C3F1B-293D-45A0-9ACC-3792409CD2F3}"/>
              </a:ext>
            </a:extLst>
          </p:cNvPr>
          <p:cNvSpPr txBox="1">
            <a:spLocks/>
          </p:cNvSpPr>
          <p:nvPr/>
        </p:nvSpPr>
        <p:spPr>
          <a:xfrm>
            <a:off x="5350148" y="4498145"/>
            <a:ext cx="6550063" cy="66652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en-US" sz="4800" dirty="0">
                <a:solidFill>
                  <a:srgbClr val="883E77"/>
                </a:solidFill>
                <a:latin typeface="Baskerville Old Face" panose="02020602080505020303" pitchFamily="18" charset="0"/>
              </a:rPr>
              <a:t>Customer Churn Analysis</a:t>
            </a:r>
          </a:p>
        </p:txBody>
      </p:sp>
      <p:sp>
        <p:nvSpPr>
          <p:cNvPr id="261" name="Title 7">
            <a:extLst>
              <a:ext uri="{FF2B5EF4-FFF2-40B4-BE49-F238E27FC236}">
                <a16:creationId xmlns:a16="http://schemas.microsoft.com/office/drawing/2014/main" id="{12112058-3712-4A70-820F-3DF04D342EB0}"/>
              </a:ext>
            </a:extLst>
          </p:cNvPr>
          <p:cNvSpPr txBox="1">
            <a:spLocks/>
          </p:cNvSpPr>
          <p:nvPr/>
        </p:nvSpPr>
        <p:spPr>
          <a:xfrm>
            <a:off x="7967286" y="5629678"/>
            <a:ext cx="1194664" cy="333296"/>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en-US" sz="2400" dirty="0">
                <a:solidFill>
                  <a:srgbClr val="883E77"/>
                </a:solidFill>
                <a:latin typeface="Baskerville Old Face" panose="02020602080505020303" pitchFamily="18" charset="0"/>
              </a:rPr>
              <a:t>12.2024</a:t>
            </a:r>
          </a:p>
        </p:txBody>
      </p:sp>
    </p:spTree>
    <p:extLst>
      <p:ext uri="{BB962C8B-B14F-4D97-AF65-F5344CB8AC3E}">
        <p14:creationId xmlns:p14="http://schemas.microsoft.com/office/powerpoint/2010/main" val="291841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D734B428-44D3-4E41-96CA-0C08050EE30B}"/>
              </a:ext>
            </a:extLst>
          </p:cNvPr>
          <p:cNvPicPr>
            <a:picLocks noChangeAspect="1"/>
          </p:cNvPicPr>
          <p:nvPr/>
        </p:nvPicPr>
        <p:blipFill>
          <a:blip r:embed="rId3"/>
          <a:stretch>
            <a:fillRect/>
          </a:stretch>
        </p:blipFill>
        <p:spPr>
          <a:xfrm>
            <a:off x="5620964" y="57121"/>
            <a:ext cx="6405056" cy="3007626"/>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8B6688E9-D0FA-4BB4-B45B-7712627B47F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39274" y="-1642"/>
            <a:ext cx="5542415" cy="5737500"/>
          </a:xfrm>
          <a:custGeom>
            <a:avLst/>
            <a:gdLst>
              <a:gd name="connsiteX0" fmla="*/ 0 w 6124860"/>
              <a:gd name="connsiteY0" fmla="*/ 0 h 6340446"/>
              <a:gd name="connsiteX1" fmla="*/ 5880099 w 6124860"/>
              <a:gd name="connsiteY1" fmla="*/ 0 h 6340446"/>
              <a:gd name="connsiteX2" fmla="*/ 4317999 w 6124860"/>
              <a:gd name="connsiteY2" fmla="*/ 4038600 h 6340446"/>
              <a:gd name="connsiteX3" fmla="*/ 97811 w 6124860"/>
              <a:gd name="connsiteY3" fmla="*/ 5967428 h 6340446"/>
              <a:gd name="connsiteX4" fmla="*/ 0 w 6124860"/>
              <a:gd name="connsiteY4" fmla="*/ 5880101 h 634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4860" h="6340446">
                <a:moveTo>
                  <a:pt x="0" y="0"/>
                </a:moveTo>
                <a:lnTo>
                  <a:pt x="5880099" y="0"/>
                </a:lnTo>
                <a:cubicBezTo>
                  <a:pt x="6860116" y="980017"/>
                  <a:pt x="4599516" y="1788583"/>
                  <a:pt x="4317999" y="4038600"/>
                </a:cubicBezTo>
                <a:cubicBezTo>
                  <a:pt x="4045280" y="6218304"/>
                  <a:pt x="1168335" y="6822759"/>
                  <a:pt x="97811" y="5967428"/>
                </a:cubicBezTo>
                <a:lnTo>
                  <a:pt x="0" y="5880101"/>
                </a:lnTo>
                <a:close/>
              </a:path>
            </a:pathLst>
          </a:custGeom>
        </p:spPr>
      </p:pic>
      <p:sp>
        <p:nvSpPr>
          <p:cNvPr id="4" name="Slide Number Placeholder 3">
            <a:extLst>
              <a:ext uri="{FF2B5EF4-FFF2-40B4-BE49-F238E27FC236}">
                <a16:creationId xmlns:a16="http://schemas.microsoft.com/office/drawing/2014/main" id="{CFB00E9B-2118-4795-858B-C26AD2C4A252}"/>
              </a:ext>
            </a:extLst>
          </p:cNvPr>
          <p:cNvSpPr>
            <a:spLocks noGrp="1"/>
          </p:cNvSpPr>
          <p:nvPr>
            <p:ph type="sldNum" sz="quarter" idx="4"/>
          </p:nvPr>
        </p:nvSpPr>
        <p:spPr/>
        <p:txBody>
          <a:bodyPr/>
          <a:lstStyle/>
          <a:p>
            <a:fld id="{B84D2E29-67F4-44D8-B0E3-F54815B4F123}" type="slidenum">
              <a:rPr lang="en-US" smtClean="0"/>
              <a:pPr/>
              <a:t>10</a:t>
            </a:fld>
            <a:endParaRPr lang="en-US" dirty="0"/>
          </a:p>
        </p:txBody>
      </p:sp>
      <p:sp>
        <p:nvSpPr>
          <p:cNvPr id="6" name="TextBox 5">
            <a:extLst>
              <a:ext uri="{FF2B5EF4-FFF2-40B4-BE49-F238E27FC236}">
                <a16:creationId xmlns:a16="http://schemas.microsoft.com/office/drawing/2014/main" id="{E7C7A0B5-BFB5-4409-BD0B-0255B9069DDE}"/>
              </a:ext>
            </a:extLst>
          </p:cNvPr>
          <p:cNvSpPr txBox="1"/>
          <p:nvPr/>
        </p:nvSpPr>
        <p:spPr>
          <a:xfrm>
            <a:off x="4536059" y="3415135"/>
            <a:ext cx="6711396" cy="1692771"/>
          </a:xfrm>
          <a:prstGeom prst="rect">
            <a:avLst/>
          </a:prstGeom>
          <a:noFill/>
        </p:spPr>
        <p:txBody>
          <a:bodyPr wrap="square" lIns="0" tIns="0" rIns="0" bIns="0" rtlCol="0">
            <a:spAutoFit/>
          </a:bodyPr>
          <a:lstStyle/>
          <a:p>
            <a:pPr algn="ctr"/>
            <a:r>
              <a:rPr lang="en-US" sz="1600" b="1" i="0" dirty="0">
                <a:effectLst/>
                <a:latin typeface="Book Antiqua" panose="02040602050305030304" pitchFamily="18" charset="0"/>
              </a:rPr>
              <a:t>Number of customers is fairly evenly distributed between genders:</a:t>
            </a:r>
          </a:p>
          <a:p>
            <a:pPr algn="ctr"/>
            <a:r>
              <a:rPr lang="en-US" sz="1600" b="0" i="0" dirty="0">
                <a:effectLst/>
                <a:latin typeface="Book Antiqua" panose="02040602050305030304" pitchFamily="18" charset="0"/>
              </a:rPr>
              <a:t>Female: ~3,400 total customers (2,500 retained + 900 churned)</a:t>
            </a:r>
            <a:br>
              <a:rPr lang="en-US" sz="1600" b="0" i="0" dirty="0">
                <a:effectLst/>
                <a:latin typeface="Book Antiqua" panose="02040602050305030304" pitchFamily="18" charset="0"/>
              </a:rPr>
            </a:br>
            <a:r>
              <a:rPr lang="en-US" sz="1600" b="0" i="0" dirty="0">
                <a:effectLst/>
                <a:latin typeface="Book Antiqua" panose="02040602050305030304" pitchFamily="18" charset="0"/>
              </a:rPr>
              <a:t>Male: ~3,500 total customers (2,600 retained + 900 churned)</a:t>
            </a:r>
            <a:br>
              <a:rPr lang="en-US" sz="1400" b="0" i="0" dirty="0">
                <a:effectLst/>
                <a:latin typeface="Book Antiqua" panose="02040602050305030304" pitchFamily="18" charset="0"/>
              </a:rPr>
            </a:br>
            <a:endParaRPr lang="en-US" sz="1400" b="0" i="0" dirty="0">
              <a:effectLst/>
              <a:latin typeface="Book Antiqua" panose="02040602050305030304" pitchFamily="18" charset="0"/>
            </a:endParaRPr>
          </a:p>
          <a:p>
            <a:pPr algn="ctr"/>
            <a:r>
              <a:rPr lang="en-US" sz="1600" b="1" i="0" dirty="0">
                <a:effectLst/>
                <a:latin typeface="Book Antiqua" panose="02040602050305030304" pitchFamily="18" charset="0"/>
              </a:rPr>
              <a:t>Both genders show similar retention patterns:</a:t>
            </a:r>
          </a:p>
          <a:p>
            <a:pPr algn="ctr"/>
            <a:r>
              <a:rPr lang="en-US" sz="1600" b="0" i="0" dirty="0">
                <a:effectLst/>
                <a:latin typeface="Book Antiqua" panose="02040602050305030304" pitchFamily="18" charset="0"/>
              </a:rPr>
              <a:t>Female: ~73% retained, ~27% churned, Male: ~74% retained, ~26% churned</a:t>
            </a:r>
          </a:p>
        </p:txBody>
      </p:sp>
      <p:cxnSp>
        <p:nvCxnSpPr>
          <p:cNvPr id="7" name="Straight Connector 6">
            <a:extLst>
              <a:ext uri="{FF2B5EF4-FFF2-40B4-BE49-F238E27FC236}">
                <a16:creationId xmlns:a16="http://schemas.microsoft.com/office/drawing/2014/main" id="{930EB973-E764-4555-A34A-4F5D8AD78496}"/>
              </a:ext>
            </a:extLst>
          </p:cNvPr>
          <p:cNvCxnSpPr>
            <a:cxnSpLocks/>
          </p:cNvCxnSpPr>
          <p:nvPr/>
        </p:nvCxnSpPr>
        <p:spPr>
          <a:xfrm>
            <a:off x="39274" y="6646816"/>
            <a:ext cx="11410545" cy="0"/>
          </a:xfrm>
          <a:prstGeom prst="line">
            <a:avLst/>
          </a:prstGeom>
          <a:ln w="127000">
            <a:gradFill flip="none" rotWithShape="1">
              <a:gsLst>
                <a:gs pos="0">
                  <a:schemeClr val="accent2">
                    <a:lumMod val="75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Rectangle 4">
            <a:extLst>
              <a:ext uri="{FF2B5EF4-FFF2-40B4-BE49-F238E27FC236}">
                <a16:creationId xmlns:a16="http://schemas.microsoft.com/office/drawing/2014/main" id="{B210F6F7-62F4-4E9E-9E2E-B49C62584D97}"/>
              </a:ext>
            </a:extLst>
          </p:cNvPr>
          <p:cNvSpPr/>
          <p:nvPr/>
        </p:nvSpPr>
        <p:spPr>
          <a:xfrm>
            <a:off x="0" y="0"/>
            <a:ext cx="5620965" cy="5737500"/>
          </a:xfrm>
          <a:custGeom>
            <a:avLst/>
            <a:gdLst>
              <a:gd name="connsiteX0" fmla="*/ 0 w 5880100"/>
              <a:gd name="connsiteY0" fmla="*/ 0 h 5880100"/>
              <a:gd name="connsiteX1" fmla="*/ 5880100 w 5880100"/>
              <a:gd name="connsiteY1" fmla="*/ 0 h 5880100"/>
              <a:gd name="connsiteX2" fmla="*/ 5880100 w 5880100"/>
              <a:gd name="connsiteY2" fmla="*/ 5880100 h 5880100"/>
              <a:gd name="connsiteX3" fmla="*/ 0 w 5880100"/>
              <a:gd name="connsiteY3" fmla="*/ 5880100 h 5880100"/>
              <a:gd name="connsiteX4" fmla="*/ 0 w 5880100"/>
              <a:gd name="connsiteY4" fmla="*/ 0 h 5880100"/>
              <a:gd name="connsiteX0" fmla="*/ 0 w 6615112"/>
              <a:gd name="connsiteY0" fmla="*/ 0 h 6615112"/>
              <a:gd name="connsiteX1" fmla="*/ 5880100 w 6615112"/>
              <a:gd name="connsiteY1" fmla="*/ 0 h 6615112"/>
              <a:gd name="connsiteX2" fmla="*/ 5880100 w 6615112"/>
              <a:gd name="connsiteY2" fmla="*/ 5880100 h 6615112"/>
              <a:gd name="connsiteX3" fmla="*/ 0 w 6615112"/>
              <a:gd name="connsiteY3" fmla="*/ 5880100 h 6615112"/>
              <a:gd name="connsiteX4" fmla="*/ 0 w 6615112"/>
              <a:gd name="connsiteY4" fmla="*/ 0 h 6615112"/>
              <a:gd name="connsiteX0" fmla="*/ 0 w 6145189"/>
              <a:gd name="connsiteY0" fmla="*/ 0 h 6082525"/>
              <a:gd name="connsiteX1" fmla="*/ 5880100 w 6145189"/>
              <a:gd name="connsiteY1" fmla="*/ 0 h 6082525"/>
              <a:gd name="connsiteX2" fmla="*/ 3898900 w 6145189"/>
              <a:gd name="connsiteY2" fmla="*/ 3035300 h 6082525"/>
              <a:gd name="connsiteX3" fmla="*/ 0 w 6145189"/>
              <a:gd name="connsiteY3" fmla="*/ 5880100 h 6082525"/>
              <a:gd name="connsiteX4" fmla="*/ 0 w 6145189"/>
              <a:gd name="connsiteY4" fmla="*/ 0 h 6082525"/>
              <a:gd name="connsiteX0" fmla="*/ 0 w 6085854"/>
              <a:gd name="connsiteY0" fmla="*/ 0 h 6135502"/>
              <a:gd name="connsiteX1" fmla="*/ 5880100 w 6085854"/>
              <a:gd name="connsiteY1" fmla="*/ 0 h 6135502"/>
              <a:gd name="connsiteX2" fmla="*/ 3898900 w 6085854"/>
              <a:gd name="connsiteY2" fmla="*/ 3035300 h 6135502"/>
              <a:gd name="connsiteX3" fmla="*/ 0 w 6085854"/>
              <a:gd name="connsiteY3" fmla="*/ 5880100 h 6135502"/>
              <a:gd name="connsiteX4" fmla="*/ 0 w 6085854"/>
              <a:gd name="connsiteY4" fmla="*/ 0 h 6135502"/>
              <a:gd name="connsiteX0" fmla="*/ 0 w 6113652"/>
              <a:gd name="connsiteY0" fmla="*/ 0 h 6259192"/>
              <a:gd name="connsiteX1" fmla="*/ 5880100 w 6113652"/>
              <a:gd name="connsiteY1" fmla="*/ 0 h 6259192"/>
              <a:gd name="connsiteX2" fmla="*/ 4318000 w 6113652"/>
              <a:gd name="connsiteY2" fmla="*/ 4038600 h 6259192"/>
              <a:gd name="connsiteX3" fmla="*/ 0 w 6113652"/>
              <a:gd name="connsiteY3" fmla="*/ 5880100 h 6259192"/>
              <a:gd name="connsiteX4" fmla="*/ 0 w 6113652"/>
              <a:gd name="connsiteY4" fmla="*/ 0 h 6259192"/>
              <a:gd name="connsiteX0" fmla="*/ 0 w 6124861"/>
              <a:gd name="connsiteY0" fmla="*/ 0 h 6340446"/>
              <a:gd name="connsiteX1" fmla="*/ 5880100 w 6124861"/>
              <a:gd name="connsiteY1" fmla="*/ 0 h 6340446"/>
              <a:gd name="connsiteX2" fmla="*/ 4318000 w 6124861"/>
              <a:gd name="connsiteY2" fmla="*/ 4038600 h 6340446"/>
              <a:gd name="connsiteX3" fmla="*/ 0 w 6124861"/>
              <a:gd name="connsiteY3" fmla="*/ 5880100 h 6340446"/>
              <a:gd name="connsiteX4" fmla="*/ 0 w 6124861"/>
              <a:gd name="connsiteY4" fmla="*/ 0 h 634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4861" h="6340446">
                <a:moveTo>
                  <a:pt x="0" y="0"/>
                </a:moveTo>
                <a:lnTo>
                  <a:pt x="5880100" y="0"/>
                </a:lnTo>
                <a:cubicBezTo>
                  <a:pt x="6860117" y="980017"/>
                  <a:pt x="4599517" y="1788583"/>
                  <a:pt x="4318000" y="4038600"/>
                </a:cubicBezTo>
                <a:cubicBezTo>
                  <a:pt x="4036483" y="6288617"/>
                  <a:pt x="980017" y="6860117"/>
                  <a:pt x="0" y="5880100"/>
                </a:cubicBezTo>
                <a:lnTo>
                  <a:pt x="0"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TextBox 14">
            <a:extLst>
              <a:ext uri="{FF2B5EF4-FFF2-40B4-BE49-F238E27FC236}">
                <a16:creationId xmlns:a16="http://schemas.microsoft.com/office/drawing/2014/main" id="{6649C5EF-1F75-4779-A475-5900B610A13A}"/>
              </a:ext>
            </a:extLst>
          </p:cNvPr>
          <p:cNvSpPr txBox="1"/>
          <p:nvPr/>
        </p:nvSpPr>
        <p:spPr>
          <a:xfrm>
            <a:off x="3740050" y="5168731"/>
            <a:ext cx="8526305" cy="1323439"/>
          </a:xfrm>
          <a:prstGeom prst="rect">
            <a:avLst/>
          </a:prstGeom>
          <a:noFill/>
        </p:spPr>
        <p:txBody>
          <a:bodyPr wrap="square">
            <a:spAutoFit/>
          </a:bodyPr>
          <a:lstStyle/>
          <a:p>
            <a:pPr algn="ctr"/>
            <a:r>
              <a:rPr lang="en-US" sz="1600" b="1" i="0" dirty="0">
                <a:effectLst/>
                <a:latin typeface="Book Antiqua" panose="02040602050305030304" pitchFamily="18" charset="0"/>
              </a:rPr>
              <a:t>Key Insights: </a:t>
            </a:r>
          </a:p>
          <a:p>
            <a:pPr marL="285750" indent="-285750">
              <a:buFont typeface="Arial" panose="020B0604020202020204" pitchFamily="34" charset="0"/>
              <a:buChar char="•"/>
            </a:pPr>
            <a:r>
              <a:rPr lang="en-US" sz="1600" b="0" i="0" dirty="0">
                <a:effectLst/>
                <a:latin typeface="Book Antiqua" panose="02040602050305030304" pitchFamily="18" charset="0"/>
              </a:rPr>
              <a:t>The even distribution of customers suggests no gender bias in customer acquisition.</a:t>
            </a:r>
          </a:p>
          <a:p>
            <a:pPr marL="285750" indent="-285750">
              <a:buFont typeface="Arial" panose="020B0604020202020204" pitchFamily="34" charset="0"/>
              <a:buChar char="•"/>
            </a:pPr>
            <a:r>
              <a:rPr lang="en-US" sz="1600" b="0" i="0" dirty="0">
                <a:effectLst/>
                <a:latin typeface="Book Antiqua" panose="02040602050305030304" pitchFamily="18" charset="0"/>
              </a:rPr>
              <a:t>Similar churn rates indicate that service quality and customer satisfaction are consistent across genders.</a:t>
            </a:r>
          </a:p>
          <a:p>
            <a:pPr marL="285750" indent="-285750">
              <a:buFont typeface="Arial" panose="020B0604020202020204" pitchFamily="34" charset="0"/>
              <a:buChar char="•"/>
            </a:pPr>
            <a:r>
              <a:rPr lang="en-US" sz="1600" b="0" i="0" dirty="0">
                <a:effectLst/>
                <a:latin typeface="Book Antiqua" panose="02040602050305030304" pitchFamily="18" charset="0"/>
              </a:rPr>
              <a:t>Current practices appear to be gender-neutral in their effectiveness.</a:t>
            </a:r>
          </a:p>
        </p:txBody>
      </p:sp>
      <p:sp>
        <p:nvSpPr>
          <p:cNvPr id="12" name="Rectangle 34">
            <a:extLst>
              <a:ext uri="{FF2B5EF4-FFF2-40B4-BE49-F238E27FC236}">
                <a16:creationId xmlns:a16="http://schemas.microsoft.com/office/drawing/2014/main" id="{97604A76-9E79-4218-A53C-32ED1646DF8E}"/>
              </a:ext>
            </a:extLst>
          </p:cNvPr>
          <p:cNvSpPr/>
          <p:nvPr/>
        </p:nvSpPr>
        <p:spPr>
          <a:xfrm flipV="1">
            <a:off x="1054214" y="1205802"/>
            <a:ext cx="11112197" cy="5652198"/>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 name="connsiteX0" fmla="*/ 471024 w 3950834"/>
              <a:gd name="connsiteY0" fmla="*/ 0 h 1219658"/>
              <a:gd name="connsiteX1" fmla="*/ 3950834 w 3950834"/>
              <a:gd name="connsiteY1" fmla="*/ 4553 h 1219658"/>
              <a:gd name="connsiteX2" fmla="*/ 3950834 w 3950834"/>
              <a:gd name="connsiteY2" fmla="*/ 1130405 h 1219658"/>
              <a:gd name="connsiteX3" fmla="*/ 2656517 w 3950834"/>
              <a:gd name="connsiteY3" fmla="*/ 775263 h 1219658"/>
              <a:gd name="connsiteX4" fmla="*/ 196130 w 3950834"/>
              <a:gd name="connsiteY4" fmla="*/ 534445 h 1219658"/>
              <a:gd name="connsiteX5" fmla="*/ 471024 w 3950834"/>
              <a:gd name="connsiteY5" fmla="*/ 0 h 1219658"/>
              <a:gd name="connsiteX0" fmla="*/ 471024 w 3950834"/>
              <a:gd name="connsiteY0" fmla="*/ 0 h 1215979"/>
              <a:gd name="connsiteX1" fmla="*/ 3950834 w 3950834"/>
              <a:gd name="connsiteY1" fmla="*/ 4553 h 1215979"/>
              <a:gd name="connsiteX2" fmla="*/ 3950834 w 3950834"/>
              <a:gd name="connsiteY2" fmla="*/ 1130405 h 1215979"/>
              <a:gd name="connsiteX3" fmla="*/ 2656517 w 3950834"/>
              <a:gd name="connsiteY3" fmla="*/ 775263 h 1215979"/>
              <a:gd name="connsiteX4" fmla="*/ 1616416 w 3950834"/>
              <a:gd name="connsiteY4" fmla="*/ 754445 h 1215979"/>
              <a:gd name="connsiteX5" fmla="*/ 196130 w 3950834"/>
              <a:gd name="connsiteY5" fmla="*/ 534445 h 1215979"/>
              <a:gd name="connsiteX6" fmla="*/ 471024 w 3950834"/>
              <a:gd name="connsiteY6" fmla="*/ 0 h 1215979"/>
              <a:gd name="connsiteX0" fmla="*/ 139212 w 3619022"/>
              <a:gd name="connsiteY0" fmla="*/ 0 h 1215979"/>
              <a:gd name="connsiteX1" fmla="*/ 3619022 w 3619022"/>
              <a:gd name="connsiteY1" fmla="*/ 4553 h 1215979"/>
              <a:gd name="connsiteX2" fmla="*/ 3619022 w 3619022"/>
              <a:gd name="connsiteY2" fmla="*/ 1130405 h 1215979"/>
              <a:gd name="connsiteX3" fmla="*/ 2324705 w 3619022"/>
              <a:gd name="connsiteY3" fmla="*/ 775263 h 1215979"/>
              <a:gd name="connsiteX4" fmla="*/ 1284604 w 3619022"/>
              <a:gd name="connsiteY4" fmla="*/ 754445 h 1215979"/>
              <a:gd name="connsiteX5" fmla="*/ 862445 w 3619022"/>
              <a:gd name="connsiteY5" fmla="*/ 363334 h 1215979"/>
              <a:gd name="connsiteX6" fmla="*/ 139212 w 3619022"/>
              <a:gd name="connsiteY6" fmla="*/ 0 h 121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19022" h="1215979">
                <a:moveTo>
                  <a:pt x="139212" y="0"/>
                </a:moveTo>
                <a:lnTo>
                  <a:pt x="3619022" y="4553"/>
                </a:lnTo>
                <a:lnTo>
                  <a:pt x="3619022" y="1130405"/>
                </a:lnTo>
                <a:cubicBezTo>
                  <a:pt x="3618723" y="1433772"/>
                  <a:pt x="2713775" y="837923"/>
                  <a:pt x="2324705" y="775263"/>
                </a:cubicBezTo>
                <a:cubicBezTo>
                  <a:pt x="1935635" y="712603"/>
                  <a:pt x="1694668" y="794581"/>
                  <a:pt x="1284604" y="754445"/>
                </a:cubicBezTo>
                <a:cubicBezTo>
                  <a:pt x="874540" y="714309"/>
                  <a:pt x="1056071" y="477964"/>
                  <a:pt x="862445" y="363334"/>
                </a:cubicBezTo>
                <a:cubicBezTo>
                  <a:pt x="498196" y="234124"/>
                  <a:pt x="-327308" y="75352"/>
                  <a:pt x="139212" y="0"/>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019340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2A3DC81A-2827-4137-9EA7-1D769C070F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6" imgW="360" imgH="360" progId="">
                  <p:embed/>
                </p:oleObj>
              </mc:Choice>
              <mc:Fallback>
                <p:oleObj name="think-cell Slide" r:id="rId6" imgW="360" imgH="360" progId="">
                  <p:embed/>
                  <p:pic>
                    <p:nvPicPr>
                      <p:cNvPr id="14" name="Object 13" hidden="1">
                        <a:extLst>
                          <a:ext uri="{FF2B5EF4-FFF2-40B4-BE49-F238E27FC236}">
                            <a16:creationId xmlns:a16="http://schemas.microsoft.com/office/drawing/2014/main" id="{2A3DC81A-2827-4137-9EA7-1D769C070FA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 name="Rectangle 26" hidden="1">
            <a:extLst>
              <a:ext uri="{FF2B5EF4-FFF2-40B4-BE49-F238E27FC236}">
                <a16:creationId xmlns:a16="http://schemas.microsoft.com/office/drawing/2014/main" id="{19460B6E-6499-40FE-A5C4-7B7BAB07659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Georgia" panose="02040502050405020303" pitchFamily="18" charset="0"/>
              <a:ea typeface="+mj-ea"/>
              <a:cs typeface="+mj-cs"/>
              <a:sym typeface="Georgia" panose="02040502050405020303" pitchFamily="18" charset="0"/>
            </a:endParaRPr>
          </a:p>
        </p:txBody>
      </p:sp>
      <p:sp>
        <p:nvSpPr>
          <p:cNvPr id="13" name="Rectangle 12">
            <a:extLst>
              <a:ext uri="{FF2B5EF4-FFF2-40B4-BE49-F238E27FC236}">
                <a16:creationId xmlns:a16="http://schemas.microsoft.com/office/drawing/2014/main" id="{8EBB322F-04DF-4C14-8DF8-4360D1C73D38}"/>
              </a:ext>
            </a:extLst>
          </p:cNvPr>
          <p:cNvSpPr/>
          <p:nvPr/>
        </p:nvSpPr>
        <p:spPr>
          <a:xfrm flipV="1">
            <a:off x="930102" y="2609850"/>
            <a:ext cx="3362020" cy="23858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ntent Placeholder 6" descr="A person using a computer&#10;&#10;Description automatically generated">
            <a:extLst>
              <a:ext uri="{FF2B5EF4-FFF2-40B4-BE49-F238E27FC236}">
                <a16:creationId xmlns:a16="http://schemas.microsoft.com/office/drawing/2014/main" id="{E4BB9326-D72D-4701-9865-AC6483E6746B}"/>
              </a:ext>
            </a:extLst>
          </p:cNvPr>
          <p:cNvPicPr>
            <a:picLocks noGrp="1" noChangeAspect="1"/>
          </p:cNvPicPr>
          <p:nvPr>
            <p:ph idx="1"/>
          </p:nvPr>
        </p:nvPicPr>
        <p:blipFill rotWithShape="1">
          <a:blip r:embed="rId8" cstate="print">
            <a:extLst>
              <a:ext uri="{28A0092B-C50C-407E-A947-70E740481C1C}">
                <a14:useLocalDpi xmlns:a14="http://schemas.microsoft.com/office/drawing/2010/main"/>
              </a:ext>
            </a:extLst>
          </a:blip>
          <a:srcRect/>
          <a:stretch/>
        </p:blipFill>
        <p:spPr>
          <a:xfrm>
            <a:off x="0" y="0"/>
            <a:ext cx="12192000" cy="2609850"/>
          </a:xfrm>
        </p:spPr>
      </p:pic>
      <p:sp>
        <p:nvSpPr>
          <p:cNvPr id="15" name="Rectangle 14">
            <a:extLst>
              <a:ext uri="{FF2B5EF4-FFF2-40B4-BE49-F238E27FC236}">
                <a16:creationId xmlns:a16="http://schemas.microsoft.com/office/drawing/2014/main" id="{7EF4A50A-D432-4978-8E78-4A5387476F72}"/>
              </a:ext>
            </a:extLst>
          </p:cNvPr>
          <p:cNvSpPr/>
          <p:nvPr/>
        </p:nvSpPr>
        <p:spPr>
          <a:xfrm flipV="1">
            <a:off x="4583407" y="2609850"/>
            <a:ext cx="3362020" cy="23858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4C1D409-D77A-448B-B310-D2ED84FEDDC0}"/>
              </a:ext>
            </a:extLst>
          </p:cNvPr>
          <p:cNvSpPr/>
          <p:nvPr/>
        </p:nvSpPr>
        <p:spPr>
          <a:xfrm flipV="1">
            <a:off x="8272312" y="2609850"/>
            <a:ext cx="3362020" cy="23858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42D42CFC-C7BA-4D33-962C-55021B411F93}"/>
              </a:ext>
            </a:extLst>
          </p:cNvPr>
          <p:cNvSpPr/>
          <p:nvPr/>
        </p:nvSpPr>
        <p:spPr>
          <a:xfrm>
            <a:off x="0" y="1"/>
            <a:ext cx="12192000" cy="260985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E60F2B-66FD-46F6-B4AE-4938E0EB2597}"/>
              </a:ext>
            </a:extLst>
          </p:cNvPr>
          <p:cNvSpPr>
            <a:spLocks noGrp="1"/>
          </p:cNvSpPr>
          <p:nvPr>
            <p:ph type="title"/>
          </p:nvPr>
        </p:nvSpPr>
        <p:spPr>
          <a:xfrm>
            <a:off x="3870263" y="3962"/>
            <a:ext cx="11023426" cy="937582"/>
          </a:xfrm>
        </p:spPr>
        <p:txBody>
          <a:bodyPr/>
          <a:lstStyle/>
          <a:p>
            <a:pPr algn="ctr"/>
            <a:r>
              <a:rPr lang="en-US" dirty="0">
                <a:solidFill>
                  <a:schemeClr val="bg1"/>
                </a:solidFill>
                <a:latin typeface="Baskerville Old Face" panose="02020602080505020303" pitchFamily="18" charset="0"/>
              </a:rPr>
              <a:t>Tenure Group distribution</a:t>
            </a:r>
          </a:p>
        </p:txBody>
      </p:sp>
      <p:grpSp>
        <p:nvGrpSpPr>
          <p:cNvPr id="19" name="Group 18">
            <a:extLst>
              <a:ext uri="{FF2B5EF4-FFF2-40B4-BE49-F238E27FC236}">
                <a16:creationId xmlns:a16="http://schemas.microsoft.com/office/drawing/2014/main" id="{14268DCE-15C4-45DA-85C5-3A148429FAA9}"/>
              </a:ext>
            </a:extLst>
          </p:cNvPr>
          <p:cNvGrpSpPr/>
          <p:nvPr/>
        </p:nvGrpSpPr>
        <p:grpSpPr>
          <a:xfrm>
            <a:off x="2200828" y="2199811"/>
            <a:ext cx="820568" cy="820078"/>
            <a:chOff x="2245613" y="2085761"/>
            <a:chExt cx="1201395" cy="1200678"/>
          </a:xfrm>
        </p:grpSpPr>
        <p:sp>
          <p:nvSpPr>
            <p:cNvPr id="17" name="Oval 16">
              <a:extLst>
                <a:ext uri="{FF2B5EF4-FFF2-40B4-BE49-F238E27FC236}">
                  <a16:creationId xmlns:a16="http://schemas.microsoft.com/office/drawing/2014/main" id="{4CC598A8-7740-4909-B152-3D63A2A10AE3}"/>
                </a:ext>
              </a:extLst>
            </p:cNvPr>
            <p:cNvSpPr/>
            <p:nvPr/>
          </p:nvSpPr>
          <p:spPr>
            <a:xfrm>
              <a:off x="2245613" y="2085761"/>
              <a:ext cx="1200678" cy="1200678"/>
            </a:xfrm>
            <a:prstGeom prst="ellipse">
              <a:avLst/>
            </a:prstGeom>
            <a:solidFill>
              <a:srgbClr val="8D19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5E691F97-5324-472D-AC38-48FD734D3D6B}"/>
                </a:ext>
              </a:extLst>
            </p:cNvPr>
            <p:cNvSpPr/>
            <p:nvPr/>
          </p:nvSpPr>
          <p:spPr>
            <a:xfrm>
              <a:off x="2398831" y="2085761"/>
              <a:ext cx="1048177" cy="1048177"/>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20" name="Group 19">
            <a:extLst>
              <a:ext uri="{FF2B5EF4-FFF2-40B4-BE49-F238E27FC236}">
                <a16:creationId xmlns:a16="http://schemas.microsoft.com/office/drawing/2014/main" id="{01C00767-9087-4C27-B226-2D0DDCE59CC4}"/>
              </a:ext>
            </a:extLst>
          </p:cNvPr>
          <p:cNvGrpSpPr/>
          <p:nvPr/>
        </p:nvGrpSpPr>
        <p:grpSpPr>
          <a:xfrm>
            <a:off x="5854133" y="2199811"/>
            <a:ext cx="820568" cy="820078"/>
            <a:chOff x="2245613" y="2085761"/>
            <a:chExt cx="1201395" cy="1200678"/>
          </a:xfrm>
        </p:grpSpPr>
        <p:sp>
          <p:nvSpPr>
            <p:cNvPr id="21" name="Oval 20">
              <a:extLst>
                <a:ext uri="{FF2B5EF4-FFF2-40B4-BE49-F238E27FC236}">
                  <a16:creationId xmlns:a16="http://schemas.microsoft.com/office/drawing/2014/main" id="{D49AEF83-8A55-4606-814E-3BA0C4C9E5D9}"/>
                </a:ext>
              </a:extLst>
            </p:cNvPr>
            <p:cNvSpPr/>
            <p:nvPr/>
          </p:nvSpPr>
          <p:spPr>
            <a:xfrm>
              <a:off x="2245613" y="2085761"/>
              <a:ext cx="1200678" cy="1200678"/>
            </a:xfrm>
            <a:prstGeom prst="ellipse">
              <a:avLst/>
            </a:prstGeom>
            <a:solidFill>
              <a:srgbClr val="8D19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42FA8F7D-25FE-4DFB-9E1B-2CFE57B3C15F}"/>
                </a:ext>
              </a:extLst>
            </p:cNvPr>
            <p:cNvSpPr/>
            <p:nvPr/>
          </p:nvSpPr>
          <p:spPr>
            <a:xfrm>
              <a:off x="2398831" y="2085761"/>
              <a:ext cx="1048177" cy="1048177"/>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23" name="Group 22">
            <a:extLst>
              <a:ext uri="{FF2B5EF4-FFF2-40B4-BE49-F238E27FC236}">
                <a16:creationId xmlns:a16="http://schemas.microsoft.com/office/drawing/2014/main" id="{3C680651-4B8B-4930-9484-85B77968623C}"/>
              </a:ext>
            </a:extLst>
          </p:cNvPr>
          <p:cNvGrpSpPr/>
          <p:nvPr/>
        </p:nvGrpSpPr>
        <p:grpSpPr>
          <a:xfrm>
            <a:off x="9543038" y="2199811"/>
            <a:ext cx="820568" cy="820078"/>
            <a:chOff x="2245613" y="2085761"/>
            <a:chExt cx="1201395" cy="1200678"/>
          </a:xfrm>
        </p:grpSpPr>
        <p:sp>
          <p:nvSpPr>
            <p:cNvPr id="24" name="Oval 23">
              <a:extLst>
                <a:ext uri="{FF2B5EF4-FFF2-40B4-BE49-F238E27FC236}">
                  <a16:creationId xmlns:a16="http://schemas.microsoft.com/office/drawing/2014/main" id="{991D4CC9-C41E-4D5E-A964-D0004761A795}"/>
                </a:ext>
              </a:extLst>
            </p:cNvPr>
            <p:cNvSpPr/>
            <p:nvPr/>
          </p:nvSpPr>
          <p:spPr>
            <a:xfrm>
              <a:off x="2245613" y="2085761"/>
              <a:ext cx="1200678" cy="1200678"/>
            </a:xfrm>
            <a:prstGeom prst="ellipse">
              <a:avLst/>
            </a:prstGeom>
            <a:solidFill>
              <a:srgbClr val="8D19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Shape 24">
              <a:extLst>
                <a:ext uri="{FF2B5EF4-FFF2-40B4-BE49-F238E27FC236}">
                  <a16:creationId xmlns:a16="http://schemas.microsoft.com/office/drawing/2014/main" id="{85D162DA-B80D-4A45-9212-11F33CCF68F7}"/>
                </a:ext>
              </a:extLst>
            </p:cNvPr>
            <p:cNvSpPr/>
            <p:nvPr/>
          </p:nvSpPr>
          <p:spPr>
            <a:xfrm>
              <a:off x="2398831" y="2085761"/>
              <a:ext cx="1048177" cy="1048177"/>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8" name="Rectangle 27">
            <a:extLst>
              <a:ext uri="{FF2B5EF4-FFF2-40B4-BE49-F238E27FC236}">
                <a16:creationId xmlns:a16="http://schemas.microsoft.com/office/drawing/2014/main" id="{47C17F38-7CA6-436E-B92E-7CFE50361603}"/>
              </a:ext>
            </a:extLst>
          </p:cNvPr>
          <p:cNvSpPr/>
          <p:nvPr/>
        </p:nvSpPr>
        <p:spPr>
          <a:xfrm>
            <a:off x="5853643" y="691605"/>
            <a:ext cx="5958021" cy="1785104"/>
          </a:xfrm>
          <a:prstGeom prst="rect">
            <a:avLst/>
          </a:prstGeom>
        </p:spPr>
        <p:txBody>
          <a:bodyPr wrap="square" lIns="0" tIns="0" rIns="0" bIns="0" anchor="t">
            <a:spAutoFit/>
          </a:bodyPr>
          <a:lstStyle/>
          <a:p>
            <a:pPr algn="r"/>
            <a:r>
              <a:rPr lang="en-US" dirty="0">
                <a:solidFill>
                  <a:schemeClr val="bg1"/>
                </a:solidFill>
                <a:effectLst/>
                <a:latin typeface="Book Antiqua" panose="02040602050305030304" pitchFamily="18" charset="0"/>
                <a:cs typeface="Segoe UI Light" panose="020B0502040204020203" pitchFamily="34" charset="0"/>
              </a:rPr>
              <a:t>Create a new variable that will divide</a:t>
            </a:r>
          </a:p>
          <a:p>
            <a:pPr algn="r"/>
            <a:r>
              <a:rPr lang="en-US" dirty="0">
                <a:solidFill>
                  <a:schemeClr val="bg1"/>
                </a:solidFill>
                <a:effectLst/>
                <a:latin typeface="Book Antiqua" panose="02040602050305030304" pitchFamily="18" charset="0"/>
                <a:cs typeface="Segoe UI Light" panose="020B0502040204020203" pitchFamily="34" charset="0"/>
              </a:rPr>
              <a:t> the customers in 3 tenure categories.</a:t>
            </a:r>
          </a:p>
          <a:p>
            <a:pPr lvl="8"/>
            <a:endParaRPr lang="en-US" sz="800" b="1" dirty="0">
              <a:solidFill>
                <a:schemeClr val="bg1"/>
              </a:solidFill>
              <a:effectLst/>
              <a:latin typeface="Book Antiqua" panose="02040602050305030304" pitchFamily="18" charset="0"/>
              <a:cs typeface="Segoe UI Light" panose="020B0502040204020203" pitchFamily="34" charset="0"/>
            </a:endParaRPr>
          </a:p>
          <a:p>
            <a:pPr lvl="8"/>
            <a:r>
              <a:rPr lang="en-US" b="1" dirty="0">
                <a:solidFill>
                  <a:schemeClr val="bg1"/>
                </a:solidFill>
                <a:effectLst/>
                <a:latin typeface="Book Antiqua" panose="02040602050305030304" pitchFamily="18" charset="0"/>
                <a:cs typeface="Segoe UI Light" panose="020B0502040204020203" pitchFamily="34" charset="0"/>
              </a:rPr>
              <a:t>New: 0-6</a:t>
            </a:r>
          </a:p>
          <a:p>
            <a:pPr lvl="8"/>
            <a:r>
              <a:rPr lang="en-US" b="1" dirty="0">
                <a:solidFill>
                  <a:schemeClr val="bg1"/>
                </a:solidFill>
                <a:effectLst/>
                <a:latin typeface="Book Antiqua" panose="02040602050305030304" pitchFamily="18" charset="0"/>
                <a:cs typeface="Segoe UI Light" panose="020B0502040204020203" pitchFamily="34" charset="0"/>
              </a:rPr>
              <a:t>Active/Regular: 7-64</a:t>
            </a:r>
          </a:p>
          <a:p>
            <a:pPr lvl="8"/>
            <a:r>
              <a:rPr lang="en-US" b="1" dirty="0">
                <a:solidFill>
                  <a:schemeClr val="bg1"/>
                </a:solidFill>
                <a:effectLst/>
                <a:latin typeface="Book Antiqua" panose="02040602050305030304" pitchFamily="18" charset="0"/>
                <a:cs typeface="Segoe UI Light" panose="020B0502040204020203" pitchFamily="34" charset="0"/>
              </a:rPr>
              <a:t>VIP/Premium: 65-...</a:t>
            </a:r>
          </a:p>
          <a:p>
            <a:pPr algn="ctr"/>
            <a:endParaRPr lang="en-US" i="1" dirty="0">
              <a:solidFill>
                <a:schemeClr val="bg1"/>
              </a:solidFill>
              <a:latin typeface="Georgia" panose="02040502050405020303" pitchFamily="18" charset="0"/>
              <a:cs typeface="Segoe UI Light" panose="020B0502040204020203" pitchFamily="34" charset="0"/>
            </a:endParaRPr>
          </a:p>
        </p:txBody>
      </p:sp>
      <p:sp>
        <p:nvSpPr>
          <p:cNvPr id="29" name="Rectangle: Rounded Corners 28">
            <a:extLst>
              <a:ext uri="{FF2B5EF4-FFF2-40B4-BE49-F238E27FC236}">
                <a16:creationId xmlns:a16="http://schemas.microsoft.com/office/drawing/2014/main" id="{245EC9A8-5068-4783-B93D-82EA31261391}"/>
              </a:ext>
            </a:extLst>
          </p:cNvPr>
          <p:cNvSpPr/>
          <p:nvPr/>
        </p:nvSpPr>
        <p:spPr>
          <a:xfrm>
            <a:off x="6002102" y="1151385"/>
            <a:ext cx="446146" cy="2637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EE601EF2-1C53-4109-BC4B-428D0A64FBF3}"/>
              </a:ext>
            </a:extLst>
          </p:cNvPr>
          <p:cNvGrpSpPr/>
          <p:nvPr/>
        </p:nvGrpSpPr>
        <p:grpSpPr>
          <a:xfrm>
            <a:off x="6084236" y="2463006"/>
            <a:ext cx="360363" cy="293688"/>
            <a:chOff x="6276975" y="1465263"/>
            <a:chExt cx="360363" cy="293688"/>
          </a:xfrm>
          <a:solidFill>
            <a:schemeClr val="bg1"/>
          </a:solidFill>
          <a:effectLst>
            <a:outerShdw blurRad="50800" dist="38100" dir="2700000" algn="tl" rotWithShape="0">
              <a:prstClr val="black">
                <a:alpha val="40000"/>
              </a:prstClr>
            </a:outerShdw>
          </a:effectLst>
        </p:grpSpPr>
        <p:sp>
          <p:nvSpPr>
            <p:cNvPr id="31" name="Freeform 8">
              <a:extLst>
                <a:ext uri="{FF2B5EF4-FFF2-40B4-BE49-F238E27FC236}">
                  <a16:creationId xmlns:a16="http://schemas.microsoft.com/office/drawing/2014/main" id="{8F789FF3-81DE-4AE3-8DEB-39AFBA8B7CB1}"/>
                </a:ext>
              </a:extLst>
            </p:cNvPr>
            <p:cNvSpPr>
              <a:spLocks noEditPoints="1"/>
            </p:cNvSpPr>
            <p:nvPr/>
          </p:nvSpPr>
          <p:spPr bwMode="auto">
            <a:xfrm>
              <a:off x="6291263" y="1465263"/>
              <a:ext cx="330200" cy="233363"/>
            </a:xfrm>
            <a:custGeom>
              <a:avLst/>
              <a:gdLst>
                <a:gd name="T0" fmla="*/ 2 w 88"/>
                <a:gd name="T1" fmla="*/ 62 h 62"/>
                <a:gd name="T2" fmla="*/ 86 w 88"/>
                <a:gd name="T3" fmla="*/ 62 h 62"/>
                <a:gd name="T4" fmla="*/ 88 w 88"/>
                <a:gd name="T5" fmla="*/ 60 h 62"/>
                <a:gd name="T6" fmla="*/ 88 w 88"/>
                <a:gd name="T7" fmla="*/ 8 h 62"/>
                <a:gd name="T8" fmla="*/ 80 w 88"/>
                <a:gd name="T9" fmla="*/ 0 h 62"/>
                <a:gd name="T10" fmla="*/ 8 w 88"/>
                <a:gd name="T11" fmla="*/ 0 h 62"/>
                <a:gd name="T12" fmla="*/ 0 w 88"/>
                <a:gd name="T13" fmla="*/ 8 h 62"/>
                <a:gd name="T14" fmla="*/ 0 w 88"/>
                <a:gd name="T15" fmla="*/ 60 h 62"/>
                <a:gd name="T16" fmla="*/ 2 w 88"/>
                <a:gd name="T17" fmla="*/ 62 h 62"/>
                <a:gd name="T18" fmla="*/ 8 w 88"/>
                <a:gd name="T19" fmla="*/ 8 h 62"/>
                <a:gd name="T20" fmla="*/ 80 w 88"/>
                <a:gd name="T21" fmla="*/ 8 h 62"/>
                <a:gd name="T22" fmla="*/ 80 w 88"/>
                <a:gd name="T23" fmla="*/ 52 h 62"/>
                <a:gd name="T24" fmla="*/ 8 w 88"/>
                <a:gd name="T25" fmla="*/ 52 h 62"/>
                <a:gd name="T26" fmla="*/ 8 w 88"/>
                <a:gd name="T27"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62">
                  <a:moveTo>
                    <a:pt x="2" y="62"/>
                  </a:moveTo>
                  <a:cubicBezTo>
                    <a:pt x="86" y="62"/>
                    <a:pt x="86" y="62"/>
                    <a:pt x="86" y="62"/>
                  </a:cubicBezTo>
                  <a:cubicBezTo>
                    <a:pt x="87" y="62"/>
                    <a:pt x="88" y="61"/>
                    <a:pt x="88" y="60"/>
                  </a:cubicBezTo>
                  <a:cubicBezTo>
                    <a:pt x="88" y="8"/>
                    <a:pt x="88" y="8"/>
                    <a:pt x="88" y="8"/>
                  </a:cubicBezTo>
                  <a:cubicBezTo>
                    <a:pt x="88" y="4"/>
                    <a:pt x="84" y="0"/>
                    <a:pt x="80" y="0"/>
                  </a:cubicBezTo>
                  <a:cubicBezTo>
                    <a:pt x="8" y="0"/>
                    <a:pt x="8" y="0"/>
                    <a:pt x="8" y="0"/>
                  </a:cubicBezTo>
                  <a:cubicBezTo>
                    <a:pt x="4" y="0"/>
                    <a:pt x="0" y="4"/>
                    <a:pt x="0" y="8"/>
                  </a:cubicBezTo>
                  <a:cubicBezTo>
                    <a:pt x="0" y="60"/>
                    <a:pt x="0" y="60"/>
                    <a:pt x="0" y="60"/>
                  </a:cubicBezTo>
                  <a:cubicBezTo>
                    <a:pt x="0" y="61"/>
                    <a:pt x="1" y="62"/>
                    <a:pt x="2" y="62"/>
                  </a:cubicBezTo>
                  <a:close/>
                  <a:moveTo>
                    <a:pt x="8" y="8"/>
                  </a:moveTo>
                  <a:cubicBezTo>
                    <a:pt x="80" y="8"/>
                    <a:pt x="80" y="8"/>
                    <a:pt x="80" y="8"/>
                  </a:cubicBezTo>
                  <a:cubicBezTo>
                    <a:pt x="80" y="52"/>
                    <a:pt x="80" y="52"/>
                    <a:pt x="80" y="52"/>
                  </a:cubicBezTo>
                  <a:cubicBezTo>
                    <a:pt x="8" y="52"/>
                    <a:pt x="8" y="52"/>
                    <a:pt x="8" y="52"/>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9">
              <a:extLst>
                <a:ext uri="{FF2B5EF4-FFF2-40B4-BE49-F238E27FC236}">
                  <a16:creationId xmlns:a16="http://schemas.microsoft.com/office/drawing/2014/main" id="{3C03DDEE-78D1-4557-BE28-22BF34B5FA3B}"/>
                </a:ext>
              </a:extLst>
            </p:cNvPr>
            <p:cNvSpPr>
              <a:spLocks/>
            </p:cNvSpPr>
            <p:nvPr/>
          </p:nvSpPr>
          <p:spPr bwMode="auto">
            <a:xfrm>
              <a:off x="6276975" y="1714501"/>
              <a:ext cx="360363" cy="44450"/>
            </a:xfrm>
            <a:custGeom>
              <a:avLst/>
              <a:gdLst>
                <a:gd name="T0" fmla="*/ 94 w 96"/>
                <a:gd name="T1" fmla="*/ 0 h 12"/>
                <a:gd name="T2" fmla="*/ 58 w 96"/>
                <a:gd name="T3" fmla="*/ 0 h 12"/>
                <a:gd name="T4" fmla="*/ 56 w 96"/>
                <a:gd name="T5" fmla="*/ 2 h 12"/>
                <a:gd name="T6" fmla="*/ 56 w 96"/>
                <a:gd name="T7" fmla="*/ 4 h 12"/>
                <a:gd name="T8" fmla="*/ 40 w 96"/>
                <a:gd name="T9" fmla="*/ 4 h 12"/>
                <a:gd name="T10" fmla="*/ 40 w 96"/>
                <a:gd name="T11" fmla="*/ 2 h 12"/>
                <a:gd name="T12" fmla="*/ 38 w 96"/>
                <a:gd name="T13" fmla="*/ 0 h 12"/>
                <a:gd name="T14" fmla="*/ 2 w 96"/>
                <a:gd name="T15" fmla="*/ 0 h 12"/>
                <a:gd name="T16" fmla="*/ 0 w 96"/>
                <a:gd name="T17" fmla="*/ 2 h 12"/>
                <a:gd name="T18" fmla="*/ 0 w 96"/>
                <a:gd name="T19" fmla="*/ 6 h 12"/>
                <a:gd name="T20" fmla="*/ 6 w 96"/>
                <a:gd name="T21" fmla="*/ 12 h 12"/>
                <a:gd name="T22" fmla="*/ 90 w 96"/>
                <a:gd name="T23" fmla="*/ 12 h 12"/>
                <a:gd name="T24" fmla="*/ 96 w 96"/>
                <a:gd name="T25" fmla="*/ 6 h 12"/>
                <a:gd name="T26" fmla="*/ 96 w 96"/>
                <a:gd name="T27" fmla="*/ 2 h 12"/>
                <a:gd name="T28" fmla="*/ 94 w 96"/>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2">
                  <a:moveTo>
                    <a:pt x="94" y="0"/>
                  </a:moveTo>
                  <a:cubicBezTo>
                    <a:pt x="58" y="0"/>
                    <a:pt x="58" y="0"/>
                    <a:pt x="58" y="0"/>
                  </a:cubicBezTo>
                  <a:cubicBezTo>
                    <a:pt x="57" y="0"/>
                    <a:pt x="56" y="1"/>
                    <a:pt x="56" y="2"/>
                  </a:cubicBezTo>
                  <a:cubicBezTo>
                    <a:pt x="56" y="4"/>
                    <a:pt x="56" y="4"/>
                    <a:pt x="56" y="4"/>
                  </a:cubicBezTo>
                  <a:cubicBezTo>
                    <a:pt x="40" y="4"/>
                    <a:pt x="40" y="4"/>
                    <a:pt x="40" y="4"/>
                  </a:cubicBezTo>
                  <a:cubicBezTo>
                    <a:pt x="40" y="2"/>
                    <a:pt x="40" y="2"/>
                    <a:pt x="40" y="2"/>
                  </a:cubicBezTo>
                  <a:cubicBezTo>
                    <a:pt x="40" y="1"/>
                    <a:pt x="39" y="0"/>
                    <a:pt x="38" y="0"/>
                  </a:cubicBezTo>
                  <a:cubicBezTo>
                    <a:pt x="2" y="0"/>
                    <a:pt x="2" y="0"/>
                    <a:pt x="2" y="0"/>
                  </a:cubicBezTo>
                  <a:cubicBezTo>
                    <a:pt x="1" y="0"/>
                    <a:pt x="0" y="1"/>
                    <a:pt x="0" y="2"/>
                  </a:cubicBezTo>
                  <a:cubicBezTo>
                    <a:pt x="0" y="6"/>
                    <a:pt x="0" y="6"/>
                    <a:pt x="0" y="6"/>
                  </a:cubicBezTo>
                  <a:cubicBezTo>
                    <a:pt x="0" y="9"/>
                    <a:pt x="3" y="12"/>
                    <a:pt x="6" y="12"/>
                  </a:cubicBezTo>
                  <a:cubicBezTo>
                    <a:pt x="90" y="12"/>
                    <a:pt x="90" y="12"/>
                    <a:pt x="90" y="12"/>
                  </a:cubicBezTo>
                  <a:cubicBezTo>
                    <a:pt x="93" y="12"/>
                    <a:pt x="96" y="9"/>
                    <a:pt x="96" y="6"/>
                  </a:cubicBezTo>
                  <a:cubicBezTo>
                    <a:pt x="96" y="2"/>
                    <a:pt x="96" y="2"/>
                    <a:pt x="96" y="2"/>
                  </a:cubicBezTo>
                  <a:cubicBezTo>
                    <a:pt x="96" y="1"/>
                    <a:pt x="95" y="0"/>
                    <a:pt x="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33" name="Group 32">
            <a:extLst>
              <a:ext uri="{FF2B5EF4-FFF2-40B4-BE49-F238E27FC236}">
                <a16:creationId xmlns:a16="http://schemas.microsoft.com/office/drawing/2014/main" id="{BD396062-E6AF-48FB-94A9-A98062EEFFAF}"/>
              </a:ext>
            </a:extLst>
          </p:cNvPr>
          <p:cNvGrpSpPr/>
          <p:nvPr/>
        </p:nvGrpSpPr>
        <p:grpSpPr>
          <a:xfrm>
            <a:off x="2505543" y="2428875"/>
            <a:ext cx="211138" cy="361950"/>
            <a:chOff x="2755901" y="2163763"/>
            <a:chExt cx="211138" cy="361950"/>
          </a:xfrm>
          <a:solidFill>
            <a:schemeClr val="bg1"/>
          </a:solidFill>
          <a:effectLst>
            <a:outerShdw blurRad="50800" dist="38100" dir="2700000" algn="tl" rotWithShape="0">
              <a:prstClr val="black">
                <a:alpha val="40000"/>
              </a:prstClr>
            </a:outerShdw>
          </a:effectLst>
        </p:grpSpPr>
        <p:sp>
          <p:nvSpPr>
            <p:cNvPr id="34" name="Rectangle 87">
              <a:extLst>
                <a:ext uri="{FF2B5EF4-FFF2-40B4-BE49-F238E27FC236}">
                  <a16:creationId xmlns:a16="http://schemas.microsoft.com/office/drawing/2014/main" id="{F9349326-49D9-4DC6-A5A5-01EF4CBE9447}"/>
                </a:ext>
              </a:extLst>
            </p:cNvPr>
            <p:cNvSpPr>
              <a:spLocks noChangeArrowheads="1"/>
            </p:cNvSpPr>
            <p:nvPr/>
          </p:nvSpPr>
          <p:spPr bwMode="auto">
            <a:xfrm>
              <a:off x="2755901" y="2239963"/>
              <a:ext cx="211138" cy="209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8">
              <a:extLst>
                <a:ext uri="{FF2B5EF4-FFF2-40B4-BE49-F238E27FC236}">
                  <a16:creationId xmlns:a16="http://schemas.microsoft.com/office/drawing/2014/main" id="{B0BF1C1E-42A3-4E56-A885-599345E8C049}"/>
                </a:ext>
              </a:extLst>
            </p:cNvPr>
            <p:cNvSpPr>
              <a:spLocks noEditPoints="1"/>
            </p:cNvSpPr>
            <p:nvPr/>
          </p:nvSpPr>
          <p:spPr bwMode="auto">
            <a:xfrm>
              <a:off x="2755901" y="2163763"/>
              <a:ext cx="211138" cy="60325"/>
            </a:xfrm>
            <a:custGeom>
              <a:avLst/>
              <a:gdLst>
                <a:gd name="T0" fmla="*/ 56 w 56"/>
                <a:gd name="T1" fmla="*/ 16 h 16"/>
                <a:gd name="T2" fmla="*/ 56 w 56"/>
                <a:gd name="T3" fmla="*/ 10 h 16"/>
                <a:gd name="T4" fmla="*/ 46 w 56"/>
                <a:gd name="T5" fmla="*/ 0 h 16"/>
                <a:gd name="T6" fmla="*/ 10 w 56"/>
                <a:gd name="T7" fmla="*/ 0 h 16"/>
                <a:gd name="T8" fmla="*/ 0 w 56"/>
                <a:gd name="T9" fmla="*/ 10 h 16"/>
                <a:gd name="T10" fmla="*/ 0 w 56"/>
                <a:gd name="T11" fmla="*/ 16 h 16"/>
                <a:gd name="T12" fmla="*/ 56 w 56"/>
                <a:gd name="T13" fmla="*/ 16 h 16"/>
                <a:gd name="T14" fmla="*/ 28 w 56"/>
                <a:gd name="T15" fmla="*/ 6 h 16"/>
                <a:gd name="T16" fmla="*/ 32 w 56"/>
                <a:gd name="T17" fmla="*/ 10 h 16"/>
                <a:gd name="T18" fmla="*/ 28 w 56"/>
                <a:gd name="T19" fmla="*/ 14 h 16"/>
                <a:gd name="T20" fmla="*/ 24 w 56"/>
                <a:gd name="T21" fmla="*/ 10 h 16"/>
                <a:gd name="T22" fmla="*/ 28 w 56"/>
                <a:gd name="T2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6">
                  <a:moveTo>
                    <a:pt x="56" y="16"/>
                  </a:moveTo>
                  <a:cubicBezTo>
                    <a:pt x="56" y="10"/>
                    <a:pt x="56" y="10"/>
                    <a:pt x="56" y="10"/>
                  </a:cubicBezTo>
                  <a:cubicBezTo>
                    <a:pt x="56" y="4"/>
                    <a:pt x="52" y="0"/>
                    <a:pt x="46" y="0"/>
                  </a:cubicBezTo>
                  <a:cubicBezTo>
                    <a:pt x="10" y="0"/>
                    <a:pt x="10" y="0"/>
                    <a:pt x="10" y="0"/>
                  </a:cubicBezTo>
                  <a:cubicBezTo>
                    <a:pt x="4" y="0"/>
                    <a:pt x="0" y="4"/>
                    <a:pt x="0" y="10"/>
                  </a:cubicBezTo>
                  <a:cubicBezTo>
                    <a:pt x="0" y="16"/>
                    <a:pt x="0" y="16"/>
                    <a:pt x="0" y="16"/>
                  </a:cubicBezTo>
                  <a:lnTo>
                    <a:pt x="56" y="16"/>
                  </a:lnTo>
                  <a:close/>
                  <a:moveTo>
                    <a:pt x="28" y="6"/>
                  </a:moveTo>
                  <a:cubicBezTo>
                    <a:pt x="30" y="6"/>
                    <a:pt x="32" y="8"/>
                    <a:pt x="32" y="10"/>
                  </a:cubicBezTo>
                  <a:cubicBezTo>
                    <a:pt x="32" y="12"/>
                    <a:pt x="30" y="14"/>
                    <a:pt x="28" y="14"/>
                  </a:cubicBezTo>
                  <a:cubicBezTo>
                    <a:pt x="26" y="14"/>
                    <a:pt x="24" y="12"/>
                    <a:pt x="24" y="10"/>
                  </a:cubicBezTo>
                  <a:cubicBezTo>
                    <a:pt x="24" y="8"/>
                    <a:pt x="26" y="6"/>
                    <a:pt x="28"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9">
              <a:extLst>
                <a:ext uri="{FF2B5EF4-FFF2-40B4-BE49-F238E27FC236}">
                  <a16:creationId xmlns:a16="http://schemas.microsoft.com/office/drawing/2014/main" id="{00D6B1C8-1A3C-4D5F-94A6-1BF1DBB29939}"/>
                </a:ext>
              </a:extLst>
            </p:cNvPr>
            <p:cNvSpPr>
              <a:spLocks noEditPoints="1"/>
            </p:cNvSpPr>
            <p:nvPr/>
          </p:nvSpPr>
          <p:spPr bwMode="auto">
            <a:xfrm>
              <a:off x="2755901" y="2465388"/>
              <a:ext cx="211138" cy="60325"/>
            </a:xfrm>
            <a:custGeom>
              <a:avLst/>
              <a:gdLst>
                <a:gd name="T0" fmla="*/ 0 w 56"/>
                <a:gd name="T1" fmla="*/ 0 h 16"/>
                <a:gd name="T2" fmla="*/ 0 w 56"/>
                <a:gd name="T3" fmla="*/ 6 h 16"/>
                <a:gd name="T4" fmla="*/ 10 w 56"/>
                <a:gd name="T5" fmla="*/ 16 h 16"/>
                <a:gd name="T6" fmla="*/ 46 w 56"/>
                <a:gd name="T7" fmla="*/ 16 h 16"/>
                <a:gd name="T8" fmla="*/ 56 w 56"/>
                <a:gd name="T9" fmla="*/ 6 h 16"/>
                <a:gd name="T10" fmla="*/ 56 w 56"/>
                <a:gd name="T11" fmla="*/ 0 h 16"/>
                <a:gd name="T12" fmla="*/ 0 w 56"/>
                <a:gd name="T13" fmla="*/ 0 h 16"/>
                <a:gd name="T14" fmla="*/ 38 w 56"/>
                <a:gd name="T15" fmla="*/ 8 h 16"/>
                <a:gd name="T16" fmla="*/ 18 w 56"/>
                <a:gd name="T17" fmla="*/ 8 h 16"/>
                <a:gd name="T18" fmla="*/ 16 w 56"/>
                <a:gd name="T19" fmla="*/ 6 h 16"/>
                <a:gd name="T20" fmla="*/ 18 w 56"/>
                <a:gd name="T21" fmla="*/ 4 h 16"/>
                <a:gd name="T22" fmla="*/ 38 w 56"/>
                <a:gd name="T23" fmla="*/ 4 h 16"/>
                <a:gd name="T24" fmla="*/ 40 w 56"/>
                <a:gd name="T25" fmla="*/ 6 h 16"/>
                <a:gd name="T26" fmla="*/ 38 w 56"/>
                <a:gd name="T2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16">
                  <a:moveTo>
                    <a:pt x="0" y="0"/>
                  </a:moveTo>
                  <a:cubicBezTo>
                    <a:pt x="0" y="6"/>
                    <a:pt x="0" y="6"/>
                    <a:pt x="0" y="6"/>
                  </a:cubicBezTo>
                  <a:cubicBezTo>
                    <a:pt x="0" y="12"/>
                    <a:pt x="4" y="16"/>
                    <a:pt x="10" y="16"/>
                  </a:cubicBezTo>
                  <a:cubicBezTo>
                    <a:pt x="46" y="16"/>
                    <a:pt x="46" y="16"/>
                    <a:pt x="46" y="16"/>
                  </a:cubicBezTo>
                  <a:cubicBezTo>
                    <a:pt x="52" y="16"/>
                    <a:pt x="56" y="12"/>
                    <a:pt x="56" y="6"/>
                  </a:cubicBezTo>
                  <a:cubicBezTo>
                    <a:pt x="56" y="0"/>
                    <a:pt x="56" y="0"/>
                    <a:pt x="56" y="0"/>
                  </a:cubicBezTo>
                  <a:lnTo>
                    <a:pt x="0" y="0"/>
                  </a:lnTo>
                  <a:close/>
                  <a:moveTo>
                    <a:pt x="38" y="8"/>
                  </a:moveTo>
                  <a:cubicBezTo>
                    <a:pt x="18" y="8"/>
                    <a:pt x="18" y="8"/>
                    <a:pt x="18" y="8"/>
                  </a:cubicBezTo>
                  <a:cubicBezTo>
                    <a:pt x="17" y="8"/>
                    <a:pt x="16" y="7"/>
                    <a:pt x="16" y="6"/>
                  </a:cubicBezTo>
                  <a:cubicBezTo>
                    <a:pt x="16" y="5"/>
                    <a:pt x="17" y="4"/>
                    <a:pt x="18" y="4"/>
                  </a:cubicBezTo>
                  <a:cubicBezTo>
                    <a:pt x="38" y="4"/>
                    <a:pt x="38" y="4"/>
                    <a:pt x="38" y="4"/>
                  </a:cubicBezTo>
                  <a:cubicBezTo>
                    <a:pt x="39" y="4"/>
                    <a:pt x="40" y="5"/>
                    <a:pt x="40" y="6"/>
                  </a:cubicBezTo>
                  <a:cubicBezTo>
                    <a:pt x="40" y="7"/>
                    <a:pt x="39" y="8"/>
                    <a:pt x="3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37" name="Group 36">
            <a:extLst>
              <a:ext uri="{FF2B5EF4-FFF2-40B4-BE49-F238E27FC236}">
                <a16:creationId xmlns:a16="http://schemas.microsoft.com/office/drawing/2014/main" id="{F118FF66-5010-4484-BB7F-3F590D7E3FE5}"/>
              </a:ext>
            </a:extLst>
          </p:cNvPr>
          <p:cNvGrpSpPr/>
          <p:nvPr/>
        </p:nvGrpSpPr>
        <p:grpSpPr>
          <a:xfrm>
            <a:off x="9788799" y="2445327"/>
            <a:ext cx="329046" cy="329046"/>
            <a:chOff x="3390900" y="1803400"/>
            <a:chExt cx="361951" cy="361951"/>
          </a:xfrm>
          <a:solidFill>
            <a:schemeClr val="bg1"/>
          </a:solidFill>
          <a:effectLst>
            <a:outerShdw blurRad="50800" dist="38100" dir="2700000" algn="tl" rotWithShape="0">
              <a:prstClr val="black">
                <a:alpha val="40000"/>
              </a:prstClr>
            </a:outerShdw>
          </a:effectLst>
        </p:grpSpPr>
        <p:sp>
          <p:nvSpPr>
            <p:cNvPr id="38" name="Freeform 5">
              <a:extLst>
                <a:ext uri="{FF2B5EF4-FFF2-40B4-BE49-F238E27FC236}">
                  <a16:creationId xmlns:a16="http://schemas.microsoft.com/office/drawing/2014/main" id="{309D4E11-61DA-4142-B10A-9A2FC10235FF}"/>
                </a:ext>
              </a:extLst>
            </p:cNvPr>
            <p:cNvSpPr>
              <a:spLocks/>
            </p:cNvSpPr>
            <p:nvPr/>
          </p:nvSpPr>
          <p:spPr bwMode="auto">
            <a:xfrm>
              <a:off x="3706813" y="1878013"/>
              <a:ext cx="41275" cy="87313"/>
            </a:xfrm>
            <a:custGeom>
              <a:avLst/>
              <a:gdLst>
                <a:gd name="T0" fmla="*/ 0 w 11"/>
                <a:gd name="T1" fmla="*/ 17 h 23"/>
                <a:gd name="T2" fmla="*/ 4 w 11"/>
                <a:gd name="T3" fmla="*/ 23 h 23"/>
                <a:gd name="T4" fmla="*/ 9 w 11"/>
                <a:gd name="T5" fmla="*/ 22 h 23"/>
                <a:gd name="T6" fmla="*/ 11 w 11"/>
                <a:gd name="T7" fmla="*/ 21 h 23"/>
                <a:gd name="T8" fmla="*/ 3 w 11"/>
                <a:gd name="T9" fmla="*/ 0 h 23"/>
                <a:gd name="T10" fmla="*/ 3 w 11"/>
                <a:gd name="T11" fmla="*/ 1 h 23"/>
                <a:gd name="T12" fmla="*/ 0 w 11"/>
                <a:gd name="T13" fmla="*/ 17 h 23"/>
              </a:gdLst>
              <a:ahLst/>
              <a:cxnLst>
                <a:cxn ang="0">
                  <a:pos x="T0" y="T1"/>
                </a:cxn>
                <a:cxn ang="0">
                  <a:pos x="T2" y="T3"/>
                </a:cxn>
                <a:cxn ang="0">
                  <a:pos x="T4" y="T5"/>
                </a:cxn>
                <a:cxn ang="0">
                  <a:pos x="T6" y="T7"/>
                </a:cxn>
                <a:cxn ang="0">
                  <a:pos x="T8" y="T9"/>
                </a:cxn>
                <a:cxn ang="0">
                  <a:pos x="T10" y="T11"/>
                </a:cxn>
                <a:cxn ang="0">
                  <a:pos x="T12" y="T13"/>
                </a:cxn>
              </a:cxnLst>
              <a:rect l="0" t="0" r="r" b="b"/>
              <a:pathLst>
                <a:path w="11" h="23">
                  <a:moveTo>
                    <a:pt x="0" y="17"/>
                  </a:moveTo>
                  <a:cubicBezTo>
                    <a:pt x="2" y="18"/>
                    <a:pt x="4" y="21"/>
                    <a:pt x="4" y="23"/>
                  </a:cubicBezTo>
                  <a:cubicBezTo>
                    <a:pt x="6" y="23"/>
                    <a:pt x="8" y="22"/>
                    <a:pt x="9" y="22"/>
                  </a:cubicBezTo>
                  <a:cubicBezTo>
                    <a:pt x="9" y="22"/>
                    <a:pt x="10" y="21"/>
                    <a:pt x="11" y="21"/>
                  </a:cubicBezTo>
                  <a:cubicBezTo>
                    <a:pt x="10" y="13"/>
                    <a:pt x="7" y="6"/>
                    <a:pt x="3" y="0"/>
                  </a:cubicBezTo>
                  <a:cubicBezTo>
                    <a:pt x="3" y="1"/>
                    <a:pt x="3" y="1"/>
                    <a:pt x="3" y="1"/>
                  </a:cubicBezTo>
                  <a:cubicBezTo>
                    <a:pt x="2" y="7"/>
                    <a:pt x="1" y="12"/>
                    <a:pt x="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6">
              <a:extLst>
                <a:ext uri="{FF2B5EF4-FFF2-40B4-BE49-F238E27FC236}">
                  <a16:creationId xmlns:a16="http://schemas.microsoft.com/office/drawing/2014/main" id="{503D17CE-D9CF-4CC1-91E3-C9124D588AE4}"/>
                </a:ext>
              </a:extLst>
            </p:cNvPr>
            <p:cNvSpPr>
              <a:spLocks/>
            </p:cNvSpPr>
            <p:nvPr/>
          </p:nvSpPr>
          <p:spPr bwMode="auto">
            <a:xfrm>
              <a:off x="3436938" y="1855788"/>
              <a:ext cx="228600" cy="203200"/>
            </a:xfrm>
            <a:custGeom>
              <a:avLst/>
              <a:gdLst>
                <a:gd name="T0" fmla="*/ 0 w 61"/>
                <a:gd name="T1" fmla="*/ 2 h 54"/>
                <a:gd name="T2" fmla="*/ 2 w 61"/>
                <a:gd name="T3" fmla="*/ 4 h 54"/>
                <a:gd name="T4" fmla="*/ 12 w 61"/>
                <a:gd name="T5" fmla="*/ 26 h 54"/>
                <a:gd name="T6" fmla="*/ 21 w 61"/>
                <a:gd name="T7" fmla="*/ 36 h 54"/>
                <a:gd name="T8" fmla="*/ 20 w 61"/>
                <a:gd name="T9" fmla="*/ 39 h 54"/>
                <a:gd name="T10" fmla="*/ 32 w 61"/>
                <a:gd name="T11" fmla="*/ 49 h 54"/>
                <a:gd name="T12" fmla="*/ 36 w 61"/>
                <a:gd name="T13" fmla="*/ 48 h 54"/>
                <a:gd name="T14" fmla="*/ 44 w 61"/>
                <a:gd name="T15" fmla="*/ 54 h 54"/>
                <a:gd name="T16" fmla="*/ 46 w 61"/>
                <a:gd name="T17" fmla="*/ 54 h 54"/>
                <a:gd name="T18" fmla="*/ 54 w 61"/>
                <a:gd name="T19" fmla="*/ 46 h 54"/>
                <a:gd name="T20" fmla="*/ 57 w 61"/>
                <a:gd name="T21" fmla="*/ 47 h 54"/>
                <a:gd name="T22" fmla="*/ 61 w 61"/>
                <a:gd name="T23" fmla="*/ 40 h 54"/>
                <a:gd name="T24" fmla="*/ 57 w 61"/>
                <a:gd name="T25" fmla="*/ 33 h 54"/>
                <a:gd name="T26" fmla="*/ 30 w 61"/>
                <a:gd name="T27" fmla="*/ 16 h 54"/>
                <a:gd name="T28" fmla="*/ 27 w 61"/>
                <a:gd name="T29" fmla="*/ 17 h 54"/>
                <a:gd name="T30" fmla="*/ 17 w 61"/>
                <a:gd name="T31" fmla="*/ 7 h 54"/>
                <a:gd name="T32" fmla="*/ 17 w 61"/>
                <a:gd name="T33" fmla="*/ 7 h 54"/>
                <a:gd name="T34" fmla="*/ 4 w 61"/>
                <a:gd name="T35" fmla="*/ 1 h 54"/>
                <a:gd name="T36" fmla="*/ 2 w 61"/>
                <a:gd name="T37" fmla="*/ 0 h 54"/>
                <a:gd name="T38" fmla="*/ 0 w 61"/>
                <a:gd name="T39"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54">
                  <a:moveTo>
                    <a:pt x="0" y="2"/>
                  </a:moveTo>
                  <a:cubicBezTo>
                    <a:pt x="1" y="3"/>
                    <a:pt x="2" y="4"/>
                    <a:pt x="2" y="4"/>
                  </a:cubicBezTo>
                  <a:cubicBezTo>
                    <a:pt x="7" y="10"/>
                    <a:pt x="10" y="18"/>
                    <a:pt x="12" y="26"/>
                  </a:cubicBezTo>
                  <a:cubicBezTo>
                    <a:pt x="17" y="26"/>
                    <a:pt x="21" y="30"/>
                    <a:pt x="21" y="36"/>
                  </a:cubicBezTo>
                  <a:cubicBezTo>
                    <a:pt x="21" y="37"/>
                    <a:pt x="21" y="38"/>
                    <a:pt x="20" y="39"/>
                  </a:cubicBezTo>
                  <a:cubicBezTo>
                    <a:pt x="25" y="42"/>
                    <a:pt x="30" y="46"/>
                    <a:pt x="32" y="49"/>
                  </a:cubicBezTo>
                  <a:cubicBezTo>
                    <a:pt x="34" y="48"/>
                    <a:pt x="35" y="48"/>
                    <a:pt x="36" y="48"/>
                  </a:cubicBezTo>
                  <a:cubicBezTo>
                    <a:pt x="40" y="48"/>
                    <a:pt x="43" y="50"/>
                    <a:pt x="44" y="54"/>
                  </a:cubicBezTo>
                  <a:cubicBezTo>
                    <a:pt x="44" y="54"/>
                    <a:pt x="45" y="54"/>
                    <a:pt x="46" y="54"/>
                  </a:cubicBezTo>
                  <a:cubicBezTo>
                    <a:pt x="46" y="50"/>
                    <a:pt x="49" y="46"/>
                    <a:pt x="54" y="46"/>
                  </a:cubicBezTo>
                  <a:cubicBezTo>
                    <a:pt x="55" y="46"/>
                    <a:pt x="56" y="46"/>
                    <a:pt x="57" y="47"/>
                  </a:cubicBezTo>
                  <a:cubicBezTo>
                    <a:pt x="58" y="44"/>
                    <a:pt x="60" y="42"/>
                    <a:pt x="61" y="40"/>
                  </a:cubicBezTo>
                  <a:cubicBezTo>
                    <a:pt x="59" y="38"/>
                    <a:pt x="57" y="35"/>
                    <a:pt x="57" y="33"/>
                  </a:cubicBezTo>
                  <a:cubicBezTo>
                    <a:pt x="46" y="30"/>
                    <a:pt x="37" y="24"/>
                    <a:pt x="30" y="16"/>
                  </a:cubicBezTo>
                  <a:cubicBezTo>
                    <a:pt x="29" y="16"/>
                    <a:pt x="28" y="17"/>
                    <a:pt x="27" y="17"/>
                  </a:cubicBezTo>
                  <a:cubicBezTo>
                    <a:pt x="21" y="17"/>
                    <a:pt x="17" y="12"/>
                    <a:pt x="17" y="7"/>
                  </a:cubicBezTo>
                  <a:cubicBezTo>
                    <a:pt x="17" y="7"/>
                    <a:pt x="17" y="7"/>
                    <a:pt x="17" y="7"/>
                  </a:cubicBezTo>
                  <a:cubicBezTo>
                    <a:pt x="12" y="6"/>
                    <a:pt x="8" y="4"/>
                    <a:pt x="4" y="1"/>
                  </a:cubicBezTo>
                  <a:cubicBezTo>
                    <a:pt x="4" y="1"/>
                    <a:pt x="3" y="1"/>
                    <a:pt x="2" y="0"/>
                  </a:cubicBezTo>
                  <a:cubicBezTo>
                    <a:pt x="1" y="1"/>
                    <a:pt x="1"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7">
              <a:extLst>
                <a:ext uri="{FF2B5EF4-FFF2-40B4-BE49-F238E27FC236}">
                  <a16:creationId xmlns:a16="http://schemas.microsoft.com/office/drawing/2014/main" id="{C934E06B-7E73-4558-99EE-3AB07137B12E}"/>
                </a:ext>
              </a:extLst>
            </p:cNvPr>
            <p:cNvSpPr>
              <a:spLocks/>
            </p:cNvSpPr>
            <p:nvPr/>
          </p:nvSpPr>
          <p:spPr bwMode="auto">
            <a:xfrm>
              <a:off x="3440113" y="2066925"/>
              <a:ext cx="146050" cy="85725"/>
            </a:xfrm>
            <a:custGeom>
              <a:avLst/>
              <a:gdLst>
                <a:gd name="T0" fmla="*/ 38 w 39"/>
                <a:gd name="T1" fmla="*/ 7 h 23"/>
                <a:gd name="T2" fmla="*/ 35 w 39"/>
                <a:gd name="T3" fmla="*/ 8 h 23"/>
                <a:gd name="T4" fmla="*/ 27 w 39"/>
                <a:gd name="T5" fmla="*/ 2 h 23"/>
                <a:gd name="T6" fmla="*/ 11 w 39"/>
                <a:gd name="T7" fmla="*/ 0 h 23"/>
                <a:gd name="T8" fmla="*/ 6 w 39"/>
                <a:gd name="T9" fmla="*/ 4 h 23"/>
                <a:gd name="T10" fmla="*/ 5 w 39"/>
                <a:gd name="T11" fmla="*/ 4 h 23"/>
                <a:gd name="T12" fmla="*/ 2 w 39"/>
                <a:gd name="T13" fmla="*/ 9 h 23"/>
                <a:gd name="T14" fmla="*/ 0 w 39"/>
                <a:gd name="T15" fmla="*/ 11 h 23"/>
                <a:gd name="T16" fmla="*/ 19 w 39"/>
                <a:gd name="T17" fmla="*/ 23 h 23"/>
                <a:gd name="T18" fmla="*/ 23 w 39"/>
                <a:gd name="T19" fmla="*/ 21 h 23"/>
                <a:gd name="T20" fmla="*/ 39 w 39"/>
                <a:gd name="T21" fmla="*/ 10 h 23"/>
                <a:gd name="T22" fmla="*/ 38 w 39"/>
                <a:gd name="T23"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23">
                  <a:moveTo>
                    <a:pt x="38" y="7"/>
                  </a:moveTo>
                  <a:cubicBezTo>
                    <a:pt x="37" y="8"/>
                    <a:pt x="36" y="8"/>
                    <a:pt x="35" y="8"/>
                  </a:cubicBezTo>
                  <a:cubicBezTo>
                    <a:pt x="31" y="8"/>
                    <a:pt x="28" y="5"/>
                    <a:pt x="27" y="2"/>
                  </a:cubicBezTo>
                  <a:cubicBezTo>
                    <a:pt x="22" y="2"/>
                    <a:pt x="17" y="1"/>
                    <a:pt x="11" y="0"/>
                  </a:cubicBezTo>
                  <a:cubicBezTo>
                    <a:pt x="11" y="2"/>
                    <a:pt x="8" y="4"/>
                    <a:pt x="6" y="4"/>
                  </a:cubicBezTo>
                  <a:cubicBezTo>
                    <a:pt x="6" y="4"/>
                    <a:pt x="6" y="4"/>
                    <a:pt x="5" y="4"/>
                  </a:cubicBezTo>
                  <a:cubicBezTo>
                    <a:pt x="4" y="6"/>
                    <a:pt x="3" y="8"/>
                    <a:pt x="2" y="9"/>
                  </a:cubicBezTo>
                  <a:cubicBezTo>
                    <a:pt x="2" y="10"/>
                    <a:pt x="1" y="10"/>
                    <a:pt x="0" y="11"/>
                  </a:cubicBezTo>
                  <a:cubicBezTo>
                    <a:pt x="6" y="17"/>
                    <a:pt x="12" y="21"/>
                    <a:pt x="19" y="23"/>
                  </a:cubicBezTo>
                  <a:cubicBezTo>
                    <a:pt x="21" y="23"/>
                    <a:pt x="22" y="22"/>
                    <a:pt x="23" y="21"/>
                  </a:cubicBezTo>
                  <a:cubicBezTo>
                    <a:pt x="29" y="18"/>
                    <a:pt x="34" y="14"/>
                    <a:pt x="39" y="10"/>
                  </a:cubicBezTo>
                  <a:cubicBezTo>
                    <a:pt x="39" y="9"/>
                    <a:pt x="38" y="8"/>
                    <a:pt x="3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8">
              <a:extLst>
                <a:ext uri="{FF2B5EF4-FFF2-40B4-BE49-F238E27FC236}">
                  <a16:creationId xmlns:a16="http://schemas.microsoft.com/office/drawing/2014/main" id="{F8EE6C4A-B12F-401A-B1BD-EF401D2F44FA}"/>
                </a:ext>
              </a:extLst>
            </p:cNvPr>
            <p:cNvSpPr>
              <a:spLocks/>
            </p:cNvSpPr>
            <p:nvPr/>
          </p:nvSpPr>
          <p:spPr bwMode="auto">
            <a:xfrm>
              <a:off x="3662363" y="1973263"/>
              <a:ext cx="90488" cy="77788"/>
            </a:xfrm>
            <a:custGeom>
              <a:avLst/>
              <a:gdLst>
                <a:gd name="T0" fmla="*/ 22 w 24"/>
                <a:gd name="T1" fmla="*/ 17 h 21"/>
                <a:gd name="T2" fmla="*/ 24 w 24"/>
                <a:gd name="T3" fmla="*/ 3 h 21"/>
                <a:gd name="T4" fmla="*/ 24 w 24"/>
                <a:gd name="T5" fmla="*/ 0 h 21"/>
                <a:gd name="T6" fmla="*/ 23 w 24"/>
                <a:gd name="T7" fmla="*/ 1 h 21"/>
                <a:gd name="T8" fmla="*/ 17 w 24"/>
                <a:gd name="T9" fmla="*/ 2 h 21"/>
                <a:gd name="T10" fmla="*/ 7 w 24"/>
                <a:gd name="T11" fmla="*/ 11 h 21"/>
                <a:gd name="T12" fmla="*/ 4 w 24"/>
                <a:gd name="T13" fmla="*/ 10 h 21"/>
                <a:gd name="T14" fmla="*/ 0 w 24"/>
                <a:gd name="T15" fmla="*/ 18 h 21"/>
                <a:gd name="T16" fmla="*/ 1 w 24"/>
                <a:gd name="T17" fmla="*/ 21 h 21"/>
                <a:gd name="T18" fmla="*/ 18 w 24"/>
                <a:gd name="T19" fmla="*/ 18 h 21"/>
                <a:gd name="T20" fmla="*/ 22 w 24"/>
                <a:gd name="T21"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1">
                  <a:moveTo>
                    <a:pt x="22" y="17"/>
                  </a:moveTo>
                  <a:cubicBezTo>
                    <a:pt x="23" y="12"/>
                    <a:pt x="24" y="8"/>
                    <a:pt x="24" y="3"/>
                  </a:cubicBezTo>
                  <a:cubicBezTo>
                    <a:pt x="24" y="2"/>
                    <a:pt x="24" y="1"/>
                    <a:pt x="24" y="0"/>
                  </a:cubicBezTo>
                  <a:cubicBezTo>
                    <a:pt x="23" y="0"/>
                    <a:pt x="23" y="1"/>
                    <a:pt x="23" y="1"/>
                  </a:cubicBezTo>
                  <a:cubicBezTo>
                    <a:pt x="21" y="1"/>
                    <a:pt x="19" y="2"/>
                    <a:pt x="17" y="2"/>
                  </a:cubicBezTo>
                  <a:cubicBezTo>
                    <a:pt x="16" y="7"/>
                    <a:pt x="12" y="11"/>
                    <a:pt x="7" y="11"/>
                  </a:cubicBezTo>
                  <a:cubicBezTo>
                    <a:pt x="6" y="11"/>
                    <a:pt x="5" y="11"/>
                    <a:pt x="4" y="10"/>
                  </a:cubicBezTo>
                  <a:cubicBezTo>
                    <a:pt x="3" y="13"/>
                    <a:pt x="2" y="16"/>
                    <a:pt x="0" y="18"/>
                  </a:cubicBezTo>
                  <a:cubicBezTo>
                    <a:pt x="1" y="19"/>
                    <a:pt x="1" y="20"/>
                    <a:pt x="1" y="21"/>
                  </a:cubicBezTo>
                  <a:cubicBezTo>
                    <a:pt x="7" y="20"/>
                    <a:pt x="12" y="19"/>
                    <a:pt x="18" y="18"/>
                  </a:cubicBezTo>
                  <a:cubicBezTo>
                    <a:pt x="19" y="17"/>
                    <a:pt x="21" y="17"/>
                    <a:pt x="2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9">
              <a:extLst>
                <a:ext uri="{FF2B5EF4-FFF2-40B4-BE49-F238E27FC236}">
                  <a16:creationId xmlns:a16="http://schemas.microsoft.com/office/drawing/2014/main" id="{ECB46559-C208-4895-822D-9FE2F78ACB26}"/>
                </a:ext>
              </a:extLst>
            </p:cNvPr>
            <p:cNvSpPr>
              <a:spLocks/>
            </p:cNvSpPr>
            <p:nvPr/>
          </p:nvSpPr>
          <p:spPr bwMode="auto">
            <a:xfrm>
              <a:off x="3455988" y="1814513"/>
              <a:ext cx="63500" cy="52388"/>
            </a:xfrm>
            <a:custGeom>
              <a:avLst/>
              <a:gdLst>
                <a:gd name="T0" fmla="*/ 1 w 17"/>
                <a:gd name="T1" fmla="*/ 9 h 14"/>
                <a:gd name="T2" fmla="*/ 12 w 17"/>
                <a:gd name="T3" fmla="*/ 14 h 14"/>
                <a:gd name="T4" fmla="*/ 17 w 17"/>
                <a:gd name="T5" fmla="*/ 9 h 14"/>
                <a:gd name="T6" fmla="*/ 15 w 17"/>
                <a:gd name="T7" fmla="*/ 1 h 14"/>
                <a:gd name="T8" fmla="*/ 15 w 17"/>
                <a:gd name="T9" fmla="*/ 0 h 14"/>
                <a:gd name="T10" fmla="*/ 0 w 17"/>
                <a:gd name="T11" fmla="*/ 8 h 14"/>
                <a:gd name="T12" fmla="*/ 1 w 17"/>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1" y="9"/>
                  </a:moveTo>
                  <a:cubicBezTo>
                    <a:pt x="5" y="11"/>
                    <a:pt x="9" y="13"/>
                    <a:pt x="12" y="14"/>
                  </a:cubicBezTo>
                  <a:cubicBezTo>
                    <a:pt x="13" y="12"/>
                    <a:pt x="15" y="10"/>
                    <a:pt x="17" y="9"/>
                  </a:cubicBezTo>
                  <a:cubicBezTo>
                    <a:pt x="16" y="6"/>
                    <a:pt x="15" y="4"/>
                    <a:pt x="15" y="1"/>
                  </a:cubicBezTo>
                  <a:cubicBezTo>
                    <a:pt x="15" y="1"/>
                    <a:pt x="15" y="0"/>
                    <a:pt x="15" y="0"/>
                  </a:cubicBezTo>
                  <a:cubicBezTo>
                    <a:pt x="10" y="2"/>
                    <a:pt x="5" y="5"/>
                    <a:pt x="0" y="8"/>
                  </a:cubicBezTo>
                  <a:cubicBezTo>
                    <a:pt x="1" y="8"/>
                    <a:pt x="1" y="9"/>
                    <a:pt x="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10">
              <a:extLst>
                <a:ext uri="{FF2B5EF4-FFF2-40B4-BE49-F238E27FC236}">
                  <a16:creationId xmlns:a16="http://schemas.microsoft.com/office/drawing/2014/main" id="{A5D80B96-BF37-4F1B-AA6B-A381CC9E9F15}"/>
                </a:ext>
              </a:extLst>
            </p:cNvPr>
            <p:cNvSpPr>
              <a:spLocks/>
            </p:cNvSpPr>
            <p:nvPr/>
          </p:nvSpPr>
          <p:spPr bwMode="auto">
            <a:xfrm>
              <a:off x="3478213" y="2014538"/>
              <a:ext cx="66675" cy="44450"/>
            </a:xfrm>
            <a:custGeom>
              <a:avLst/>
              <a:gdLst>
                <a:gd name="T0" fmla="*/ 1 w 18"/>
                <a:gd name="T1" fmla="*/ 4 h 12"/>
                <a:gd name="T2" fmla="*/ 0 w 18"/>
                <a:gd name="T3" fmla="*/ 7 h 12"/>
                <a:gd name="T4" fmla="*/ 2 w 18"/>
                <a:gd name="T5" fmla="*/ 10 h 12"/>
                <a:gd name="T6" fmla="*/ 17 w 18"/>
                <a:gd name="T7" fmla="*/ 12 h 12"/>
                <a:gd name="T8" fmla="*/ 18 w 18"/>
                <a:gd name="T9" fmla="*/ 9 h 12"/>
                <a:gd name="T10" fmla="*/ 7 w 18"/>
                <a:gd name="T11" fmla="*/ 0 h 12"/>
                <a:gd name="T12" fmla="*/ 1 w 18"/>
                <a:gd name="T13" fmla="*/ 4 h 12"/>
              </a:gdLst>
              <a:ahLst/>
              <a:cxnLst>
                <a:cxn ang="0">
                  <a:pos x="T0" y="T1"/>
                </a:cxn>
                <a:cxn ang="0">
                  <a:pos x="T2" y="T3"/>
                </a:cxn>
                <a:cxn ang="0">
                  <a:pos x="T4" y="T5"/>
                </a:cxn>
                <a:cxn ang="0">
                  <a:pos x="T6" y="T7"/>
                </a:cxn>
                <a:cxn ang="0">
                  <a:pos x="T8" y="T9"/>
                </a:cxn>
                <a:cxn ang="0">
                  <a:pos x="T10" y="T11"/>
                </a:cxn>
                <a:cxn ang="0">
                  <a:pos x="T12" y="T13"/>
                </a:cxn>
              </a:cxnLst>
              <a:rect l="0" t="0" r="r" b="b"/>
              <a:pathLst>
                <a:path w="18" h="12">
                  <a:moveTo>
                    <a:pt x="1" y="4"/>
                  </a:moveTo>
                  <a:cubicBezTo>
                    <a:pt x="0" y="5"/>
                    <a:pt x="0" y="6"/>
                    <a:pt x="0" y="7"/>
                  </a:cubicBezTo>
                  <a:cubicBezTo>
                    <a:pt x="1" y="8"/>
                    <a:pt x="1" y="9"/>
                    <a:pt x="2" y="10"/>
                  </a:cubicBezTo>
                  <a:cubicBezTo>
                    <a:pt x="7" y="11"/>
                    <a:pt x="12" y="12"/>
                    <a:pt x="17" y="12"/>
                  </a:cubicBezTo>
                  <a:cubicBezTo>
                    <a:pt x="17" y="11"/>
                    <a:pt x="18" y="10"/>
                    <a:pt x="18" y="9"/>
                  </a:cubicBezTo>
                  <a:cubicBezTo>
                    <a:pt x="15" y="6"/>
                    <a:pt x="11" y="3"/>
                    <a:pt x="7" y="0"/>
                  </a:cubicBezTo>
                  <a:cubicBezTo>
                    <a:pt x="6" y="2"/>
                    <a:pt x="3"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11">
              <a:extLst>
                <a:ext uri="{FF2B5EF4-FFF2-40B4-BE49-F238E27FC236}">
                  <a16:creationId xmlns:a16="http://schemas.microsoft.com/office/drawing/2014/main" id="{97222170-5DC1-4289-920B-44A702A206E9}"/>
                </a:ext>
              </a:extLst>
            </p:cNvPr>
            <p:cNvSpPr>
              <a:spLocks/>
            </p:cNvSpPr>
            <p:nvPr/>
          </p:nvSpPr>
          <p:spPr bwMode="auto">
            <a:xfrm>
              <a:off x="3563938" y="1836738"/>
              <a:ext cx="139700" cy="128588"/>
            </a:xfrm>
            <a:custGeom>
              <a:avLst/>
              <a:gdLst>
                <a:gd name="T0" fmla="*/ 0 w 37"/>
                <a:gd name="T1" fmla="*/ 19 h 34"/>
                <a:gd name="T2" fmla="*/ 23 w 37"/>
                <a:gd name="T3" fmla="*/ 34 h 34"/>
                <a:gd name="T4" fmla="*/ 33 w 37"/>
                <a:gd name="T5" fmla="*/ 27 h 34"/>
                <a:gd name="T6" fmla="*/ 34 w 37"/>
                <a:gd name="T7" fmla="*/ 27 h 34"/>
                <a:gd name="T8" fmla="*/ 37 w 37"/>
                <a:gd name="T9" fmla="*/ 12 h 34"/>
                <a:gd name="T10" fmla="*/ 37 w 37"/>
                <a:gd name="T11" fmla="*/ 7 h 34"/>
                <a:gd name="T12" fmla="*/ 29 w 37"/>
                <a:gd name="T13" fmla="*/ 0 h 34"/>
                <a:gd name="T14" fmla="*/ 28 w 37"/>
                <a:gd name="T15" fmla="*/ 1 h 34"/>
                <a:gd name="T16" fmla="*/ 3 w 37"/>
                <a:gd name="T17" fmla="*/ 13 h 34"/>
                <a:gd name="T18" fmla="*/ 0 w 37"/>
                <a:gd name="T19" fmla="*/ 1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4">
                  <a:moveTo>
                    <a:pt x="0" y="19"/>
                  </a:moveTo>
                  <a:cubicBezTo>
                    <a:pt x="6" y="26"/>
                    <a:pt x="14" y="31"/>
                    <a:pt x="23" y="34"/>
                  </a:cubicBezTo>
                  <a:cubicBezTo>
                    <a:pt x="25" y="30"/>
                    <a:pt x="28" y="27"/>
                    <a:pt x="33" y="27"/>
                  </a:cubicBezTo>
                  <a:cubicBezTo>
                    <a:pt x="33" y="27"/>
                    <a:pt x="34" y="27"/>
                    <a:pt x="34" y="27"/>
                  </a:cubicBezTo>
                  <a:cubicBezTo>
                    <a:pt x="35" y="22"/>
                    <a:pt x="37" y="17"/>
                    <a:pt x="37" y="12"/>
                  </a:cubicBezTo>
                  <a:cubicBezTo>
                    <a:pt x="37" y="10"/>
                    <a:pt x="37" y="9"/>
                    <a:pt x="37" y="7"/>
                  </a:cubicBezTo>
                  <a:cubicBezTo>
                    <a:pt x="35" y="4"/>
                    <a:pt x="32" y="2"/>
                    <a:pt x="29" y="0"/>
                  </a:cubicBezTo>
                  <a:cubicBezTo>
                    <a:pt x="29" y="1"/>
                    <a:pt x="28" y="1"/>
                    <a:pt x="28" y="1"/>
                  </a:cubicBezTo>
                  <a:cubicBezTo>
                    <a:pt x="21" y="8"/>
                    <a:pt x="12" y="12"/>
                    <a:pt x="3" y="13"/>
                  </a:cubicBezTo>
                  <a:cubicBezTo>
                    <a:pt x="2" y="15"/>
                    <a:pt x="1" y="17"/>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12">
              <a:extLst>
                <a:ext uri="{FF2B5EF4-FFF2-40B4-BE49-F238E27FC236}">
                  <a16:creationId xmlns:a16="http://schemas.microsoft.com/office/drawing/2014/main" id="{2834E003-EC1A-4E73-B4AD-06D19FD26B70}"/>
                </a:ext>
              </a:extLst>
            </p:cNvPr>
            <p:cNvSpPr>
              <a:spLocks/>
            </p:cNvSpPr>
            <p:nvPr/>
          </p:nvSpPr>
          <p:spPr bwMode="auto">
            <a:xfrm>
              <a:off x="3527425" y="1803400"/>
              <a:ext cx="134938" cy="68263"/>
            </a:xfrm>
            <a:custGeom>
              <a:avLst/>
              <a:gdLst>
                <a:gd name="T0" fmla="*/ 0 w 36"/>
                <a:gd name="T1" fmla="*/ 4 h 18"/>
                <a:gd name="T2" fmla="*/ 1 w 36"/>
                <a:gd name="T3" fmla="*/ 11 h 18"/>
                <a:gd name="T4" fmla="*/ 3 w 36"/>
                <a:gd name="T5" fmla="*/ 11 h 18"/>
                <a:gd name="T6" fmla="*/ 12 w 36"/>
                <a:gd name="T7" fmla="*/ 18 h 18"/>
                <a:gd name="T8" fmla="*/ 35 w 36"/>
                <a:gd name="T9" fmla="*/ 7 h 18"/>
                <a:gd name="T10" fmla="*/ 36 w 36"/>
                <a:gd name="T11" fmla="*/ 6 h 18"/>
                <a:gd name="T12" fmla="*/ 12 w 36"/>
                <a:gd name="T13" fmla="*/ 0 h 18"/>
                <a:gd name="T14" fmla="*/ 0 w 36"/>
                <a:gd name="T15" fmla="*/ 2 h 18"/>
                <a:gd name="T16" fmla="*/ 0 w 36"/>
                <a:gd name="T1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8">
                  <a:moveTo>
                    <a:pt x="0" y="4"/>
                  </a:moveTo>
                  <a:cubicBezTo>
                    <a:pt x="0" y="6"/>
                    <a:pt x="1" y="8"/>
                    <a:pt x="1" y="11"/>
                  </a:cubicBezTo>
                  <a:cubicBezTo>
                    <a:pt x="2" y="11"/>
                    <a:pt x="2" y="11"/>
                    <a:pt x="3" y="11"/>
                  </a:cubicBezTo>
                  <a:cubicBezTo>
                    <a:pt x="7" y="11"/>
                    <a:pt x="11" y="14"/>
                    <a:pt x="12" y="18"/>
                  </a:cubicBezTo>
                  <a:cubicBezTo>
                    <a:pt x="21" y="17"/>
                    <a:pt x="29" y="13"/>
                    <a:pt x="35" y="7"/>
                  </a:cubicBezTo>
                  <a:cubicBezTo>
                    <a:pt x="35" y="7"/>
                    <a:pt x="36" y="7"/>
                    <a:pt x="36" y="6"/>
                  </a:cubicBezTo>
                  <a:cubicBezTo>
                    <a:pt x="29" y="2"/>
                    <a:pt x="21" y="0"/>
                    <a:pt x="12" y="0"/>
                  </a:cubicBezTo>
                  <a:cubicBezTo>
                    <a:pt x="8" y="0"/>
                    <a:pt x="4" y="1"/>
                    <a:pt x="0" y="2"/>
                  </a:cubicBezTo>
                  <a:cubicBezTo>
                    <a:pt x="0" y="2"/>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 name="Freeform 13">
              <a:extLst>
                <a:ext uri="{FF2B5EF4-FFF2-40B4-BE49-F238E27FC236}">
                  <a16:creationId xmlns:a16="http://schemas.microsoft.com/office/drawing/2014/main" id="{9569C4A7-BD21-4645-B356-43245CF22920}"/>
                </a:ext>
              </a:extLst>
            </p:cNvPr>
            <p:cNvSpPr>
              <a:spLocks/>
            </p:cNvSpPr>
            <p:nvPr/>
          </p:nvSpPr>
          <p:spPr bwMode="auto">
            <a:xfrm>
              <a:off x="3533775" y="2116138"/>
              <a:ext cx="79375" cy="49213"/>
            </a:xfrm>
            <a:custGeom>
              <a:avLst/>
              <a:gdLst>
                <a:gd name="T0" fmla="*/ 21 w 21"/>
                <a:gd name="T1" fmla="*/ 10 h 13"/>
                <a:gd name="T2" fmla="*/ 16 w 21"/>
                <a:gd name="T3" fmla="*/ 0 h 13"/>
                <a:gd name="T4" fmla="*/ 0 w 21"/>
                <a:gd name="T5" fmla="*/ 12 h 13"/>
                <a:gd name="T6" fmla="*/ 0 w 21"/>
                <a:gd name="T7" fmla="*/ 12 h 13"/>
                <a:gd name="T8" fmla="*/ 10 w 21"/>
                <a:gd name="T9" fmla="*/ 13 h 13"/>
                <a:gd name="T10" fmla="*/ 21 w 21"/>
                <a:gd name="T11" fmla="*/ 12 h 13"/>
                <a:gd name="T12" fmla="*/ 21 w 21"/>
                <a:gd name="T13" fmla="*/ 10 h 13"/>
              </a:gdLst>
              <a:ahLst/>
              <a:cxnLst>
                <a:cxn ang="0">
                  <a:pos x="T0" y="T1"/>
                </a:cxn>
                <a:cxn ang="0">
                  <a:pos x="T2" y="T3"/>
                </a:cxn>
                <a:cxn ang="0">
                  <a:pos x="T4" y="T5"/>
                </a:cxn>
                <a:cxn ang="0">
                  <a:pos x="T6" y="T7"/>
                </a:cxn>
                <a:cxn ang="0">
                  <a:pos x="T8" y="T9"/>
                </a:cxn>
                <a:cxn ang="0">
                  <a:pos x="T10" y="T11"/>
                </a:cxn>
                <a:cxn ang="0">
                  <a:pos x="T12" y="T13"/>
                </a:cxn>
              </a:cxnLst>
              <a:rect l="0" t="0" r="r" b="b"/>
              <a:pathLst>
                <a:path w="21" h="13">
                  <a:moveTo>
                    <a:pt x="21" y="10"/>
                  </a:moveTo>
                  <a:cubicBezTo>
                    <a:pt x="20" y="7"/>
                    <a:pt x="18" y="4"/>
                    <a:pt x="16" y="0"/>
                  </a:cubicBezTo>
                  <a:cubicBezTo>
                    <a:pt x="11" y="4"/>
                    <a:pt x="6" y="8"/>
                    <a:pt x="0" y="12"/>
                  </a:cubicBezTo>
                  <a:cubicBezTo>
                    <a:pt x="0" y="12"/>
                    <a:pt x="0" y="12"/>
                    <a:pt x="0" y="12"/>
                  </a:cubicBezTo>
                  <a:cubicBezTo>
                    <a:pt x="3" y="13"/>
                    <a:pt x="6" y="13"/>
                    <a:pt x="10" y="13"/>
                  </a:cubicBezTo>
                  <a:cubicBezTo>
                    <a:pt x="14" y="13"/>
                    <a:pt x="18" y="12"/>
                    <a:pt x="21" y="12"/>
                  </a:cubicBezTo>
                  <a:cubicBezTo>
                    <a:pt x="21" y="11"/>
                    <a:pt x="21" y="10"/>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 name="Freeform 14">
              <a:extLst>
                <a:ext uri="{FF2B5EF4-FFF2-40B4-BE49-F238E27FC236}">
                  <a16:creationId xmlns:a16="http://schemas.microsoft.com/office/drawing/2014/main" id="{9C12371E-F021-4A01-A26D-22006C1AEB7C}"/>
                </a:ext>
              </a:extLst>
            </p:cNvPr>
            <p:cNvSpPr>
              <a:spLocks/>
            </p:cNvSpPr>
            <p:nvPr/>
          </p:nvSpPr>
          <p:spPr bwMode="auto">
            <a:xfrm>
              <a:off x="3605213" y="2051050"/>
              <a:ext cx="131763" cy="101600"/>
            </a:xfrm>
            <a:custGeom>
              <a:avLst/>
              <a:gdLst>
                <a:gd name="T0" fmla="*/ 34 w 35"/>
                <a:gd name="T1" fmla="*/ 1 h 27"/>
                <a:gd name="T2" fmla="*/ 16 w 35"/>
                <a:gd name="T3" fmla="*/ 4 h 27"/>
                <a:gd name="T4" fmla="*/ 9 w 35"/>
                <a:gd name="T5" fmla="*/ 10 h 27"/>
                <a:gd name="T6" fmla="*/ 5 w 35"/>
                <a:gd name="T7" fmla="*/ 9 h 27"/>
                <a:gd name="T8" fmla="*/ 0 w 35"/>
                <a:gd name="T9" fmla="*/ 14 h 27"/>
                <a:gd name="T10" fmla="*/ 5 w 35"/>
                <a:gd name="T11" fmla="*/ 26 h 27"/>
                <a:gd name="T12" fmla="*/ 6 w 35"/>
                <a:gd name="T13" fmla="*/ 27 h 27"/>
                <a:gd name="T14" fmla="*/ 35 w 35"/>
                <a:gd name="T15" fmla="*/ 0 h 27"/>
                <a:gd name="T16" fmla="*/ 34 w 35"/>
                <a:gd name="T17"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34" y="1"/>
                  </a:moveTo>
                  <a:cubicBezTo>
                    <a:pt x="28" y="2"/>
                    <a:pt x="22" y="3"/>
                    <a:pt x="16" y="4"/>
                  </a:cubicBezTo>
                  <a:cubicBezTo>
                    <a:pt x="15" y="8"/>
                    <a:pt x="12" y="10"/>
                    <a:pt x="9" y="10"/>
                  </a:cubicBezTo>
                  <a:cubicBezTo>
                    <a:pt x="7" y="10"/>
                    <a:pt x="6" y="10"/>
                    <a:pt x="5" y="9"/>
                  </a:cubicBezTo>
                  <a:cubicBezTo>
                    <a:pt x="4" y="11"/>
                    <a:pt x="2" y="13"/>
                    <a:pt x="0" y="14"/>
                  </a:cubicBezTo>
                  <a:cubicBezTo>
                    <a:pt x="3" y="19"/>
                    <a:pt x="4" y="22"/>
                    <a:pt x="5" y="26"/>
                  </a:cubicBezTo>
                  <a:cubicBezTo>
                    <a:pt x="6" y="26"/>
                    <a:pt x="6" y="26"/>
                    <a:pt x="6" y="27"/>
                  </a:cubicBezTo>
                  <a:cubicBezTo>
                    <a:pt x="19" y="23"/>
                    <a:pt x="30" y="13"/>
                    <a:pt x="35" y="0"/>
                  </a:cubicBezTo>
                  <a:cubicBezTo>
                    <a:pt x="35" y="0"/>
                    <a:pt x="34" y="1"/>
                    <a:pt x="3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15">
              <a:extLst>
                <a:ext uri="{FF2B5EF4-FFF2-40B4-BE49-F238E27FC236}">
                  <a16:creationId xmlns:a16="http://schemas.microsoft.com/office/drawing/2014/main" id="{6A6BF308-C768-4442-9C64-D3D0210DD86E}"/>
                </a:ext>
              </a:extLst>
            </p:cNvPr>
            <p:cNvSpPr>
              <a:spLocks/>
            </p:cNvSpPr>
            <p:nvPr/>
          </p:nvSpPr>
          <p:spPr bwMode="auto">
            <a:xfrm>
              <a:off x="3395663" y="1874838"/>
              <a:ext cx="71438" cy="93663"/>
            </a:xfrm>
            <a:custGeom>
              <a:avLst/>
              <a:gdLst>
                <a:gd name="T0" fmla="*/ 2 w 19"/>
                <a:gd name="T1" fmla="*/ 22 h 25"/>
                <a:gd name="T2" fmla="*/ 14 w 19"/>
                <a:gd name="T3" fmla="*/ 25 h 25"/>
                <a:gd name="T4" fmla="*/ 19 w 19"/>
                <a:gd name="T5" fmla="*/ 21 h 25"/>
                <a:gd name="T6" fmla="*/ 10 w 19"/>
                <a:gd name="T7" fmla="*/ 1 h 25"/>
                <a:gd name="T8" fmla="*/ 9 w 19"/>
                <a:gd name="T9" fmla="*/ 0 h 25"/>
                <a:gd name="T10" fmla="*/ 0 w 19"/>
                <a:gd name="T11" fmla="*/ 22 h 25"/>
                <a:gd name="T12" fmla="*/ 2 w 19"/>
                <a:gd name="T13" fmla="*/ 22 h 25"/>
              </a:gdLst>
              <a:ahLst/>
              <a:cxnLst>
                <a:cxn ang="0">
                  <a:pos x="T0" y="T1"/>
                </a:cxn>
                <a:cxn ang="0">
                  <a:pos x="T2" y="T3"/>
                </a:cxn>
                <a:cxn ang="0">
                  <a:pos x="T4" y="T5"/>
                </a:cxn>
                <a:cxn ang="0">
                  <a:pos x="T6" y="T7"/>
                </a:cxn>
                <a:cxn ang="0">
                  <a:pos x="T8" y="T9"/>
                </a:cxn>
                <a:cxn ang="0">
                  <a:pos x="T10" y="T11"/>
                </a:cxn>
                <a:cxn ang="0">
                  <a:pos x="T12" y="T13"/>
                </a:cxn>
              </a:cxnLst>
              <a:rect l="0" t="0" r="r" b="b"/>
              <a:pathLst>
                <a:path w="19" h="25">
                  <a:moveTo>
                    <a:pt x="2" y="22"/>
                  </a:moveTo>
                  <a:cubicBezTo>
                    <a:pt x="6" y="23"/>
                    <a:pt x="9" y="24"/>
                    <a:pt x="14" y="25"/>
                  </a:cubicBezTo>
                  <a:cubicBezTo>
                    <a:pt x="15" y="23"/>
                    <a:pt x="17" y="22"/>
                    <a:pt x="19" y="21"/>
                  </a:cubicBezTo>
                  <a:cubicBezTo>
                    <a:pt x="17" y="14"/>
                    <a:pt x="14" y="7"/>
                    <a:pt x="10" y="1"/>
                  </a:cubicBezTo>
                  <a:cubicBezTo>
                    <a:pt x="10" y="1"/>
                    <a:pt x="9" y="1"/>
                    <a:pt x="9" y="0"/>
                  </a:cubicBezTo>
                  <a:cubicBezTo>
                    <a:pt x="4" y="7"/>
                    <a:pt x="1" y="14"/>
                    <a:pt x="0" y="22"/>
                  </a:cubicBezTo>
                  <a:cubicBezTo>
                    <a:pt x="0" y="22"/>
                    <a:pt x="1" y="22"/>
                    <a:pt x="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16">
              <a:extLst>
                <a:ext uri="{FF2B5EF4-FFF2-40B4-BE49-F238E27FC236}">
                  <a16:creationId xmlns:a16="http://schemas.microsoft.com/office/drawing/2014/main" id="{F3A9EA02-2CBD-4F59-A5A7-01B44B678736}"/>
                </a:ext>
              </a:extLst>
            </p:cNvPr>
            <p:cNvSpPr>
              <a:spLocks/>
            </p:cNvSpPr>
            <p:nvPr/>
          </p:nvSpPr>
          <p:spPr bwMode="auto">
            <a:xfrm>
              <a:off x="3390900" y="1973263"/>
              <a:ext cx="76200" cy="71438"/>
            </a:xfrm>
            <a:custGeom>
              <a:avLst/>
              <a:gdLst>
                <a:gd name="T0" fmla="*/ 2 w 20"/>
                <a:gd name="T1" fmla="*/ 16 h 19"/>
                <a:gd name="T2" fmla="*/ 5 w 20"/>
                <a:gd name="T3" fmla="*/ 17 h 19"/>
                <a:gd name="T4" fmla="*/ 14 w 20"/>
                <a:gd name="T5" fmla="*/ 19 h 19"/>
                <a:gd name="T6" fmla="*/ 14 w 20"/>
                <a:gd name="T7" fmla="*/ 19 h 19"/>
                <a:gd name="T8" fmla="*/ 19 w 20"/>
                <a:gd name="T9" fmla="*/ 17 h 19"/>
                <a:gd name="T10" fmla="*/ 19 w 20"/>
                <a:gd name="T11" fmla="*/ 17 h 19"/>
                <a:gd name="T12" fmla="*/ 20 w 20"/>
                <a:gd name="T13" fmla="*/ 14 h 19"/>
                <a:gd name="T14" fmla="*/ 13 w 20"/>
                <a:gd name="T15" fmla="*/ 5 h 19"/>
                <a:gd name="T16" fmla="*/ 13 w 20"/>
                <a:gd name="T17" fmla="*/ 3 h 19"/>
                <a:gd name="T18" fmla="*/ 2 w 20"/>
                <a:gd name="T19" fmla="*/ 0 h 19"/>
                <a:gd name="T20" fmla="*/ 0 w 20"/>
                <a:gd name="T21" fmla="*/ 0 h 19"/>
                <a:gd name="T22" fmla="*/ 0 w 20"/>
                <a:gd name="T23" fmla="*/ 3 h 19"/>
                <a:gd name="T24" fmla="*/ 2 w 20"/>
                <a:gd name="T25"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9">
                  <a:moveTo>
                    <a:pt x="2" y="16"/>
                  </a:moveTo>
                  <a:cubicBezTo>
                    <a:pt x="4" y="16"/>
                    <a:pt x="5" y="17"/>
                    <a:pt x="5" y="17"/>
                  </a:cubicBezTo>
                  <a:cubicBezTo>
                    <a:pt x="8" y="18"/>
                    <a:pt x="11" y="18"/>
                    <a:pt x="14" y="19"/>
                  </a:cubicBezTo>
                  <a:cubicBezTo>
                    <a:pt x="14" y="19"/>
                    <a:pt x="14" y="19"/>
                    <a:pt x="14" y="19"/>
                  </a:cubicBezTo>
                  <a:cubicBezTo>
                    <a:pt x="15" y="18"/>
                    <a:pt x="17" y="17"/>
                    <a:pt x="19" y="17"/>
                  </a:cubicBezTo>
                  <a:cubicBezTo>
                    <a:pt x="19" y="17"/>
                    <a:pt x="19" y="17"/>
                    <a:pt x="19" y="17"/>
                  </a:cubicBezTo>
                  <a:cubicBezTo>
                    <a:pt x="19" y="16"/>
                    <a:pt x="19" y="15"/>
                    <a:pt x="20" y="14"/>
                  </a:cubicBezTo>
                  <a:cubicBezTo>
                    <a:pt x="16" y="13"/>
                    <a:pt x="13" y="9"/>
                    <a:pt x="13" y="5"/>
                  </a:cubicBezTo>
                  <a:cubicBezTo>
                    <a:pt x="13" y="4"/>
                    <a:pt x="13" y="4"/>
                    <a:pt x="13" y="3"/>
                  </a:cubicBezTo>
                  <a:cubicBezTo>
                    <a:pt x="9" y="2"/>
                    <a:pt x="6" y="1"/>
                    <a:pt x="2" y="0"/>
                  </a:cubicBezTo>
                  <a:cubicBezTo>
                    <a:pt x="1" y="0"/>
                    <a:pt x="1" y="0"/>
                    <a:pt x="0" y="0"/>
                  </a:cubicBezTo>
                  <a:cubicBezTo>
                    <a:pt x="0" y="1"/>
                    <a:pt x="0" y="2"/>
                    <a:pt x="0" y="3"/>
                  </a:cubicBezTo>
                  <a:cubicBezTo>
                    <a:pt x="0" y="7"/>
                    <a:pt x="1" y="12"/>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17">
              <a:extLst>
                <a:ext uri="{FF2B5EF4-FFF2-40B4-BE49-F238E27FC236}">
                  <a16:creationId xmlns:a16="http://schemas.microsoft.com/office/drawing/2014/main" id="{A103BEC4-5451-4D03-82EC-F7B93A7809E3}"/>
                </a:ext>
              </a:extLst>
            </p:cNvPr>
            <p:cNvSpPr>
              <a:spLocks/>
            </p:cNvSpPr>
            <p:nvPr/>
          </p:nvSpPr>
          <p:spPr bwMode="auto">
            <a:xfrm>
              <a:off x="3594100" y="2074863"/>
              <a:ext cx="19050" cy="19050"/>
            </a:xfrm>
            <a:custGeom>
              <a:avLst/>
              <a:gdLst>
                <a:gd name="T0" fmla="*/ 5 w 5"/>
                <a:gd name="T1" fmla="*/ 0 h 5"/>
                <a:gd name="T2" fmla="*/ 2 w 5"/>
                <a:gd name="T3" fmla="*/ 0 h 5"/>
                <a:gd name="T4" fmla="*/ 0 w 5"/>
                <a:gd name="T5" fmla="*/ 3 h 5"/>
                <a:gd name="T6" fmla="*/ 1 w 5"/>
                <a:gd name="T7" fmla="*/ 5 h 5"/>
                <a:gd name="T8" fmla="*/ 5 w 5"/>
                <a:gd name="T9" fmla="*/ 1 h 5"/>
                <a:gd name="T10" fmla="*/ 5 w 5"/>
                <a:gd name="T11" fmla="*/ 0 h 5"/>
              </a:gdLst>
              <a:ahLst/>
              <a:cxnLst>
                <a:cxn ang="0">
                  <a:pos x="T0" y="T1"/>
                </a:cxn>
                <a:cxn ang="0">
                  <a:pos x="T2" y="T3"/>
                </a:cxn>
                <a:cxn ang="0">
                  <a:pos x="T4" y="T5"/>
                </a:cxn>
                <a:cxn ang="0">
                  <a:pos x="T6" y="T7"/>
                </a:cxn>
                <a:cxn ang="0">
                  <a:pos x="T8" y="T9"/>
                </a:cxn>
                <a:cxn ang="0">
                  <a:pos x="T10" y="T11"/>
                </a:cxn>
              </a:cxnLst>
              <a:rect l="0" t="0" r="r" b="b"/>
              <a:pathLst>
                <a:path w="5" h="5">
                  <a:moveTo>
                    <a:pt x="5" y="0"/>
                  </a:moveTo>
                  <a:cubicBezTo>
                    <a:pt x="4" y="0"/>
                    <a:pt x="3" y="0"/>
                    <a:pt x="2" y="0"/>
                  </a:cubicBezTo>
                  <a:cubicBezTo>
                    <a:pt x="1" y="1"/>
                    <a:pt x="1" y="2"/>
                    <a:pt x="0" y="3"/>
                  </a:cubicBezTo>
                  <a:cubicBezTo>
                    <a:pt x="0" y="4"/>
                    <a:pt x="1" y="4"/>
                    <a:pt x="1" y="5"/>
                  </a:cubicBezTo>
                  <a:cubicBezTo>
                    <a:pt x="3" y="3"/>
                    <a:pt x="4" y="2"/>
                    <a:pt x="5" y="1"/>
                  </a:cubicBezTo>
                  <a:cubicBezTo>
                    <a:pt x="5" y="0"/>
                    <a:pt x="5"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1" name="Freeform 18">
              <a:extLst>
                <a:ext uri="{FF2B5EF4-FFF2-40B4-BE49-F238E27FC236}">
                  <a16:creationId xmlns:a16="http://schemas.microsoft.com/office/drawing/2014/main" id="{DACAB3F9-6C30-4133-830F-A36F417134B4}"/>
                </a:ext>
              </a:extLst>
            </p:cNvPr>
            <p:cNvSpPr>
              <a:spLocks/>
            </p:cNvSpPr>
            <p:nvPr/>
          </p:nvSpPr>
          <p:spPr bwMode="auto">
            <a:xfrm>
              <a:off x="3403600" y="2047875"/>
              <a:ext cx="44450" cy="49213"/>
            </a:xfrm>
            <a:custGeom>
              <a:avLst/>
              <a:gdLst>
                <a:gd name="T0" fmla="*/ 9 w 12"/>
                <a:gd name="T1" fmla="*/ 12 h 13"/>
                <a:gd name="T2" fmla="*/ 12 w 12"/>
                <a:gd name="T3" fmla="*/ 7 h 13"/>
                <a:gd name="T4" fmla="*/ 10 w 12"/>
                <a:gd name="T5" fmla="*/ 3 h 13"/>
                <a:gd name="T6" fmla="*/ 10 w 12"/>
                <a:gd name="T7" fmla="*/ 3 h 13"/>
                <a:gd name="T8" fmla="*/ 1 w 12"/>
                <a:gd name="T9" fmla="*/ 1 h 13"/>
                <a:gd name="T10" fmla="*/ 0 w 12"/>
                <a:gd name="T11" fmla="*/ 0 h 13"/>
                <a:gd name="T12" fmla="*/ 8 w 12"/>
                <a:gd name="T13" fmla="*/ 13 h 13"/>
                <a:gd name="T14" fmla="*/ 9 w 12"/>
                <a:gd name="T15" fmla="*/ 12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3">
                  <a:moveTo>
                    <a:pt x="9" y="12"/>
                  </a:moveTo>
                  <a:cubicBezTo>
                    <a:pt x="10" y="11"/>
                    <a:pt x="11" y="9"/>
                    <a:pt x="12" y="7"/>
                  </a:cubicBezTo>
                  <a:cubicBezTo>
                    <a:pt x="11" y="6"/>
                    <a:pt x="10" y="5"/>
                    <a:pt x="10" y="3"/>
                  </a:cubicBezTo>
                  <a:cubicBezTo>
                    <a:pt x="10" y="3"/>
                    <a:pt x="10" y="3"/>
                    <a:pt x="10" y="3"/>
                  </a:cubicBezTo>
                  <a:cubicBezTo>
                    <a:pt x="7" y="2"/>
                    <a:pt x="4" y="2"/>
                    <a:pt x="1" y="1"/>
                  </a:cubicBezTo>
                  <a:cubicBezTo>
                    <a:pt x="1" y="1"/>
                    <a:pt x="1" y="1"/>
                    <a:pt x="0" y="0"/>
                  </a:cubicBezTo>
                  <a:cubicBezTo>
                    <a:pt x="2" y="5"/>
                    <a:pt x="5" y="9"/>
                    <a:pt x="8" y="13"/>
                  </a:cubicBezTo>
                  <a:cubicBezTo>
                    <a:pt x="8" y="13"/>
                    <a:pt x="9" y="12"/>
                    <a:pt x="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aphicFrame>
        <p:nvGraphicFramePr>
          <p:cNvPr id="54" name="Chart 53">
            <a:extLst>
              <a:ext uri="{FF2B5EF4-FFF2-40B4-BE49-F238E27FC236}">
                <a16:creationId xmlns:a16="http://schemas.microsoft.com/office/drawing/2014/main" id="{D0789028-AD63-4E91-B7D4-751D21BA1A21}"/>
              </a:ext>
            </a:extLst>
          </p:cNvPr>
          <p:cNvGraphicFramePr/>
          <p:nvPr>
            <p:extLst>
              <p:ext uri="{D42A27DB-BD31-4B8C-83A1-F6EECF244321}">
                <p14:modId xmlns:p14="http://schemas.microsoft.com/office/powerpoint/2010/main" val="157137633"/>
              </p:ext>
            </p:extLst>
          </p:nvPr>
        </p:nvGraphicFramePr>
        <p:xfrm>
          <a:off x="1084170" y="3202149"/>
          <a:ext cx="3092060" cy="158462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6" name="Chart 55">
            <a:extLst>
              <a:ext uri="{FF2B5EF4-FFF2-40B4-BE49-F238E27FC236}">
                <a16:creationId xmlns:a16="http://schemas.microsoft.com/office/drawing/2014/main" id="{A9DB9C0B-52A8-43BD-BA08-DF081F26FCB4}"/>
              </a:ext>
            </a:extLst>
          </p:cNvPr>
          <p:cNvGraphicFramePr/>
          <p:nvPr>
            <p:extLst>
              <p:ext uri="{D42A27DB-BD31-4B8C-83A1-F6EECF244321}">
                <p14:modId xmlns:p14="http://schemas.microsoft.com/office/powerpoint/2010/main" val="105681848"/>
              </p:ext>
            </p:extLst>
          </p:nvPr>
        </p:nvGraphicFramePr>
        <p:xfrm>
          <a:off x="4718387" y="3202149"/>
          <a:ext cx="3092060" cy="1584622"/>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57" name="Chart 56">
            <a:extLst>
              <a:ext uri="{FF2B5EF4-FFF2-40B4-BE49-F238E27FC236}">
                <a16:creationId xmlns:a16="http://schemas.microsoft.com/office/drawing/2014/main" id="{B529931B-1A8C-4B74-95A8-80F8DCD063E7}"/>
              </a:ext>
            </a:extLst>
          </p:cNvPr>
          <p:cNvGraphicFramePr/>
          <p:nvPr>
            <p:extLst>
              <p:ext uri="{D42A27DB-BD31-4B8C-83A1-F6EECF244321}">
                <p14:modId xmlns:p14="http://schemas.microsoft.com/office/powerpoint/2010/main" val="524783091"/>
              </p:ext>
            </p:extLst>
          </p:nvPr>
        </p:nvGraphicFramePr>
        <p:xfrm>
          <a:off x="8407292" y="3202149"/>
          <a:ext cx="3092060" cy="1584622"/>
        </p:xfrm>
        <a:graphic>
          <a:graphicData uri="http://schemas.openxmlformats.org/drawingml/2006/chart">
            <c:chart xmlns:c="http://schemas.openxmlformats.org/drawingml/2006/chart" xmlns:r="http://schemas.openxmlformats.org/officeDocument/2006/relationships" r:id="rId11"/>
          </a:graphicData>
        </a:graphic>
      </p:graphicFrame>
      <p:sp>
        <p:nvSpPr>
          <p:cNvPr id="58" name="Rectangle 57">
            <a:extLst>
              <a:ext uri="{FF2B5EF4-FFF2-40B4-BE49-F238E27FC236}">
                <a16:creationId xmlns:a16="http://schemas.microsoft.com/office/drawing/2014/main" id="{BCADFEC9-6F82-4789-96A0-00B68F2A8FE3}"/>
              </a:ext>
            </a:extLst>
          </p:cNvPr>
          <p:cNvSpPr/>
          <p:nvPr/>
        </p:nvSpPr>
        <p:spPr>
          <a:xfrm>
            <a:off x="642026" y="5126386"/>
            <a:ext cx="3635123" cy="923315"/>
          </a:xfrm>
          <a:prstGeom prst="rect">
            <a:avLst/>
          </a:prstGeom>
        </p:spPr>
        <p:txBody>
          <a:bodyPr wrap="square" lIns="0" tIns="0" rIns="0" bIns="0" anchor="t" anchorCtr="0">
            <a:noAutofit/>
          </a:bodyPr>
          <a:lstStyle/>
          <a:p>
            <a:pPr algn="l"/>
            <a:r>
              <a:rPr lang="en-US" sz="1400" b="1" i="0" dirty="0">
                <a:effectLst/>
                <a:latin typeface="Book Antiqua" panose="02040602050305030304" pitchFamily="18" charset="0"/>
              </a:rPr>
              <a:t>New Customers (0-6 months):</a:t>
            </a:r>
          </a:p>
          <a:p>
            <a:pPr algn="l"/>
            <a:r>
              <a:rPr lang="en-US" sz="1400" b="0" i="0" dirty="0">
                <a:effectLst/>
                <a:latin typeface="Book Antiqua" panose="02040602050305030304" pitchFamily="18" charset="0"/>
              </a:rPr>
              <a:t>Almost equal churn vs retention (~700 each).</a:t>
            </a:r>
          </a:p>
          <a:p>
            <a:pPr algn="l"/>
            <a:r>
              <a:rPr lang="en-US" sz="1400" b="0" i="0" dirty="0">
                <a:effectLst/>
                <a:latin typeface="Book Antiqua" panose="02040602050305030304" pitchFamily="18" charset="0"/>
              </a:rPr>
              <a:t>Highest churn rate among all groups (~50%).</a:t>
            </a:r>
          </a:p>
          <a:p>
            <a:pPr algn="l"/>
            <a:r>
              <a:rPr lang="en-US" sz="1400" b="0" i="0" dirty="0">
                <a:effectLst/>
                <a:latin typeface="Book Antiqua" panose="02040602050305030304" pitchFamily="18" charset="0"/>
              </a:rPr>
              <a:t>Most vulnerable customer segment.</a:t>
            </a:r>
          </a:p>
        </p:txBody>
      </p:sp>
      <p:sp>
        <p:nvSpPr>
          <p:cNvPr id="59" name="Rectangle 58">
            <a:extLst>
              <a:ext uri="{FF2B5EF4-FFF2-40B4-BE49-F238E27FC236}">
                <a16:creationId xmlns:a16="http://schemas.microsoft.com/office/drawing/2014/main" id="{F95A32CD-99FA-4B53-86B4-8DC5E0DA1295}"/>
              </a:ext>
            </a:extLst>
          </p:cNvPr>
          <p:cNvSpPr/>
          <p:nvPr/>
        </p:nvSpPr>
        <p:spPr>
          <a:xfrm>
            <a:off x="4643219" y="5126386"/>
            <a:ext cx="3347046" cy="923315"/>
          </a:xfrm>
          <a:prstGeom prst="rect">
            <a:avLst/>
          </a:prstGeom>
        </p:spPr>
        <p:txBody>
          <a:bodyPr wrap="square" lIns="0" tIns="0" rIns="0" bIns="0" anchor="t" anchorCtr="0">
            <a:noAutofit/>
          </a:bodyPr>
          <a:lstStyle/>
          <a:p>
            <a:pPr algn="l"/>
            <a:r>
              <a:rPr lang="en-US" sz="1400" b="1" i="0" dirty="0">
                <a:effectLst/>
                <a:latin typeface="Book Antiqua" panose="02040602050305030304" pitchFamily="18" charset="0"/>
              </a:rPr>
              <a:t>Active/Regular Customers (7-64 months):</a:t>
            </a:r>
          </a:p>
          <a:p>
            <a:pPr algn="l"/>
            <a:r>
              <a:rPr lang="en-US" sz="1400" b="0" i="0" dirty="0">
                <a:effectLst/>
                <a:latin typeface="Book Antiqua" panose="02040602050305030304" pitchFamily="18" charset="0"/>
              </a:rPr>
              <a:t>Significantly better retention (~3,300 retained vs ~1,000 churned).</a:t>
            </a:r>
          </a:p>
          <a:p>
            <a:pPr algn="l"/>
            <a:r>
              <a:rPr lang="en-US" sz="1400" b="0" i="0" dirty="0">
                <a:effectLst/>
                <a:latin typeface="Book Antiqua" panose="02040602050305030304" pitchFamily="18" charset="0"/>
              </a:rPr>
              <a:t>~23% churn rate.</a:t>
            </a:r>
          </a:p>
          <a:p>
            <a:pPr algn="l"/>
            <a:r>
              <a:rPr lang="en-US" sz="1400" b="0" i="0" dirty="0">
                <a:effectLst/>
                <a:latin typeface="Book Antiqua" panose="02040602050305030304" pitchFamily="18" charset="0"/>
              </a:rPr>
              <a:t>Largest customer segment overall.</a:t>
            </a:r>
          </a:p>
        </p:txBody>
      </p:sp>
      <p:sp>
        <p:nvSpPr>
          <p:cNvPr id="60" name="Rectangle 59">
            <a:extLst>
              <a:ext uri="{FF2B5EF4-FFF2-40B4-BE49-F238E27FC236}">
                <a16:creationId xmlns:a16="http://schemas.microsoft.com/office/drawing/2014/main" id="{EEF6A596-F53F-4762-8DAE-785218A8A939}"/>
              </a:ext>
            </a:extLst>
          </p:cNvPr>
          <p:cNvSpPr/>
          <p:nvPr/>
        </p:nvSpPr>
        <p:spPr>
          <a:xfrm>
            <a:off x="8287286" y="5126386"/>
            <a:ext cx="3347046" cy="923315"/>
          </a:xfrm>
          <a:prstGeom prst="rect">
            <a:avLst/>
          </a:prstGeom>
        </p:spPr>
        <p:txBody>
          <a:bodyPr wrap="square" lIns="0" tIns="0" rIns="0" bIns="0" anchor="t" anchorCtr="0">
            <a:noAutofit/>
          </a:bodyPr>
          <a:lstStyle/>
          <a:p>
            <a:pPr algn="l"/>
            <a:r>
              <a:rPr lang="en-US" sz="1400" b="1" i="0" dirty="0">
                <a:effectLst/>
                <a:latin typeface="Book Antiqua" panose="02040602050305030304" pitchFamily="18" charset="0"/>
              </a:rPr>
              <a:t>VIP/Premium Customers (65+ months):</a:t>
            </a:r>
          </a:p>
          <a:p>
            <a:pPr algn="l"/>
            <a:r>
              <a:rPr lang="en-US" sz="1400" b="0" i="0" dirty="0">
                <a:effectLst/>
                <a:latin typeface="Book Antiqua" panose="02040602050305030304" pitchFamily="18" charset="0"/>
              </a:rPr>
              <a:t>Best retention rates (~1,000 retained vs ~100 churned).</a:t>
            </a:r>
          </a:p>
          <a:p>
            <a:pPr algn="l"/>
            <a:r>
              <a:rPr lang="en-US" sz="1400" b="0" i="0" dirty="0">
                <a:effectLst/>
                <a:latin typeface="Book Antiqua" panose="02040602050305030304" pitchFamily="18" charset="0"/>
              </a:rPr>
              <a:t>Very low churn rate (~9%).</a:t>
            </a:r>
          </a:p>
          <a:p>
            <a:pPr algn="l"/>
            <a:r>
              <a:rPr lang="en-US" sz="1400" b="0" i="0" dirty="0">
                <a:effectLst/>
                <a:latin typeface="Book Antiqua" panose="02040602050305030304" pitchFamily="18" charset="0"/>
              </a:rPr>
              <a:t>Strong loyalty in this segment.</a:t>
            </a:r>
          </a:p>
        </p:txBody>
      </p:sp>
      <p:sp>
        <p:nvSpPr>
          <p:cNvPr id="52" name="Slide Number Placeholder 3">
            <a:extLst>
              <a:ext uri="{FF2B5EF4-FFF2-40B4-BE49-F238E27FC236}">
                <a16:creationId xmlns:a16="http://schemas.microsoft.com/office/drawing/2014/main" id="{B0A04BCD-646D-4533-96C2-09D56F8FEE78}"/>
              </a:ext>
            </a:extLst>
          </p:cNvPr>
          <p:cNvSpPr>
            <a:spLocks noGrp="1"/>
          </p:cNvSpPr>
          <p:nvPr>
            <p:ph type="sldNum" sz="quarter" idx="4"/>
          </p:nvPr>
        </p:nvSpPr>
        <p:spPr>
          <a:xfrm>
            <a:off x="11658612" y="6369817"/>
            <a:ext cx="367408" cy="27699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84D2E29-67F4-44D8-B0E3-F54815B4F123}"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98377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 name="Picture 91" descr="A picture containing indoor, table&#10;&#10;Description automatically generated">
            <a:extLst>
              <a:ext uri="{FF2B5EF4-FFF2-40B4-BE49-F238E27FC236}">
                <a16:creationId xmlns:a16="http://schemas.microsoft.com/office/drawing/2014/main" id="{53814D30-71E0-4017-8ABD-97C7A5018964}"/>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0" y="-1"/>
            <a:ext cx="12192000" cy="1355605"/>
          </a:xfrm>
          <a:prstGeom prst="rect">
            <a:avLst/>
          </a:prstGeom>
        </p:spPr>
      </p:pic>
      <p:sp>
        <p:nvSpPr>
          <p:cNvPr id="89" name="Rectangle 88">
            <a:extLst>
              <a:ext uri="{FF2B5EF4-FFF2-40B4-BE49-F238E27FC236}">
                <a16:creationId xmlns:a16="http://schemas.microsoft.com/office/drawing/2014/main" id="{203B2AA9-5954-4AEB-8D3A-8E4CAFCC7784}"/>
              </a:ext>
            </a:extLst>
          </p:cNvPr>
          <p:cNvSpPr/>
          <p:nvPr/>
        </p:nvSpPr>
        <p:spPr>
          <a:xfrm>
            <a:off x="16156" y="2859"/>
            <a:ext cx="12192000" cy="1355605"/>
          </a:xfrm>
          <a:prstGeom prst="rect">
            <a:avLst/>
          </a:pr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74495107-9902-4502-A538-A2E710DBD28A}"/>
              </a:ext>
            </a:extLst>
          </p:cNvPr>
          <p:cNvSpPr>
            <a:spLocks noGrp="1"/>
          </p:cNvSpPr>
          <p:nvPr>
            <p:ph type="title"/>
          </p:nvPr>
        </p:nvSpPr>
        <p:spPr>
          <a:xfrm>
            <a:off x="519983" y="236930"/>
            <a:ext cx="5343741" cy="775612"/>
          </a:xfrm>
        </p:spPr>
        <p:txBody>
          <a:bodyPr>
            <a:noAutofit/>
          </a:bodyPr>
          <a:lstStyle/>
          <a:p>
            <a:r>
              <a:rPr lang="en-US" sz="4800" dirty="0">
                <a:solidFill>
                  <a:schemeClr val="bg1"/>
                </a:solidFill>
                <a:latin typeface="Baskerville Old Face" panose="02020602080505020303" pitchFamily="18" charset="0"/>
              </a:rPr>
              <a:t>Payment Method</a:t>
            </a:r>
          </a:p>
        </p:txBody>
      </p:sp>
      <p:sp>
        <p:nvSpPr>
          <p:cNvPr id="4" name="Slide Number Placeholder 3">
            <a:extLst>
              <a:ext uri="{FF2B5EF4-FFF2-40B4-BE49-F238E27FC236}">
                <a16:creationId xmlns:a16="http://schemas.microsoft.com/office/drawing/2014/main" id="{207349B2-862C-48AC-BCAD-E05E40E4A431}"/>
              </a:ext>
            </a:extLst>
          </p:cNvPr>
          <p:cNvSpPr>
            <a:spLocks noGrp="1"/>
          </p:cNvSpPr>
          <p:nvPr>
            <p:ph type="sldNum" sz="quarter" idx="4"/>
          </p:nvPr>
        </p:nvSpPr>
        <p:spPr/>
        <p:txBody>
          <a:bodyPr/>
          <a:lstStyle/>
          <a:p>
            <a:fld id="{B84D2E29-67F4-44D8-B0E3-F54815B4F123}" type="slidenum">
              <a:rPr lang="en-US" smtClean="0"/>
              <a:pPr/>
              <a:t>12</a:t>
            </a:fld>
            <a:endParaRPr lang="en-US" dirty="0"/>
          </a:p>
        </p:txBody>
      </p:sp>
      <p:grpSp>
        <p:nvGrpSpPr>
          <p:cNvPr id="74" name="Group 73">
            <a:extLst>
              <a:ext uri="{FF2B5EF4-FFF2-40B4-BE49-F238E27FC236}">
                <a16:creationId xmlns:a16="http://schemas.microsoft.com/office/drawing/2014/main" id="{C3B9FE4F-1501-4E61-8835-914F6D97A73C}"/>
              </a:ext>
            </a:extLst>
          </p:cNvPr>
          <p:cNvGrpSpPr/>
          <p:nvPr/>
        </p:nvGrpSpPr>
        <p:grpSpPr>
          <a:xfrm>
            <a:off x="178714" y="2044625"/>
            <a:ext cx="458973" cy="441466"/>
            <a:chOff x="1601299" y="3556426"/>
            <a:chExt cx="565344" cy="565339"/>
          </a:xfrm>
        </p:grpSpPr>
        <p:sp>
          <p:nvSpPr>
            <p:cNvPr id="12" name="Oval 11">
              <a:extLst>
                <a:ext uri="{FF2B5EF4-FFF2-40B4-BE49-F238E27FC236}">
                  <a16:creationId xmlns:a16="http://schemas.microsoft.com/office/drawing/2014/main" id="{5E9A8E9A-5449-4F64-A238-7D426B54CD22}"/>
                </a:ext>
              </a:extLst>
            </p:cNvPr>
            <p:cNvSpPr/>
            <p:nvPr/>
          </p:nvSpPr>
          <p:spPr>
            <a:xfrm>
              <a:off x="1601299" y="3556426"/>
              <a:ext cx="565344" cy="565339"/>
            </a:xfrm>
            <a:prstGeom prst="ellipse">
              <a:avLst/>
            </a:prstGeom>
            <a:solidFill>
              <a:schemeClr val="accent2">
                <a:alpha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Oval 12">
              <a:extLst>
                <a:ext uri="{FF2B5EF4-FFF2-40B4-BE49-F238E27FC236}">
                  <a16:creationId xmlns:a16="http://schemas.microsoft.com/office/drawing/2014/main" id="{4C7201BE-F539-4E7C-9EF6-F92F03A1C4DA}"/>
                </a:ext>
              </a:extLst>
            </p:cNvPr>
            <p:cNvSpPr/>
            <p:nvPr/>
          </p:nvSpPr>
          <p:spPr>
            <a:xfrm>
              <a:off x="1718636" y="3673760"/>
              <a:ext cx="330671" cy="330671"/>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15000"/>
                </a:prstClr>
              </a:outerShd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F5858"/>
                  </a:solidFill>
                  <a:effectLst/>
                  <a:uLnTx/>
                  <a:uFillTx/>
                  <a:latin typeface="Century Gothic" panose="020B0502020202020204" pitchFamily="34" charset="0"/>
                  <a:ea typeface="+mn-ea"/>
                  <a:cs typeface="+mn-cs"/>
                </a:rPr>
                <a:t>1</a:t>
              </a:r>
            </a:p>
          </p:txBody>
        </p:sp>
      </p:grpSp>
      <p:grpSp>
        <p:nvGrpSpPr>
          <p:cNvPr id="75" name="Group 74">
            <a:extLst>
              <a:ext uri="{FF2B5EF4-FFF2-40B4-BE49-F238E27FC236}">
                <a16:creationId xmlns:a16="http://schemas.microsoft.com/office/drawing/2014/main" id="{E49F16CB-6A96-4441-96D2-0847B502518F}"/>
              </a:ext>
            </a:extLst>
          </p:cNvPr>
          <p:cNvGrpSpPr/>
          <p:nvPr/>
        </p:nvGrpSpPr>
        <p:grpSpPr>
          <a:xfrm>
            <a:off x="1470556" y="3700289"/>
            <a:ext cx="458973" cy="441466"/>
            <a:chOff x="3005102" y="3556427"/>
            <a:chExt cx="565344" cy="565339"/>
          </a:xfrm>
        </p:grpSpPr>
        <p:sp>
          <p:nvSpPr>
            <p:cNvPr id="14" name="Oval 13">
              <a:extLst>
                <a:ext uri="{FF2B5EF4-FFF2-40B4-BE49-F238E27FC236}">
                  <a16:creationId xmlns:a16="http://schemas.microsoft.com/office/drawing/2014/main" id="{F70BB886-9C0A-4ECC-8337-D8DEF6DC109C}"/>
                </a:ext>
              </a:extLst>
            </p:cNvPr>
            <p:cNvSpPr/>
            <p:nvPr/>
          </p:nvSpPr>
          <p:spPr>
            <a:xfrm>
              <a:off x="3005102" y="3556427"/>
              <a:ext cx="565344" cy="565339"/>
            </a:xfrm>
            <a:prstGeom prst="ellipse">
              <a:avLst/>
            </a:prstGeom>
            <a:solidFill>
              <a:schemeClr val="accent1">
                <a:lumMod val="20000"/>
                <a:lumOff val="80000"/>
                <a:alpha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1BFA58F6-04E8-4B61-8583-EC7A9B018F2D}"/>
                </a:ext>
              </a:extLst>
            </p:cNvPr>
            <p:cNvSpPr/>
            <p:nvPr/>
          </p:nvSpPr>
          <p:spPr>
            <a:xfrm>
              <a:off x="3122439" y="3673760"/>
              <a:ext cx="330671" cy="330671"/>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15000"/>
                </a:prstClr>
              </a:outerShd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F5858"/>
                  </a:solidFill>
                  <a:effectLst/>
                  <a:uLnTx/>
                  <a:uFillTx/>
                  <a:latin typeface="Century Gothic" panose="020B0502020202020204" pitchFamily="34" charset="0"/>
                  <a:ea typeface="+mn-ea"/>
                  <a:cs typeface="+mn-cs"/>
                </a:rPr>
                <a:t>2</a:t>
              </a:r>
            </a:p>
          </p:txBody>
        </p:sp>
      </p:grpSp>
      <p:grpSp>
        <p:nvGrpSpPr>
          <p:cNvPr id="76" name="Group 75">
            <a:extLst>
              <a:ext uri="{FF2B5EF4-FFF2-40B4-BE49-F238E27FC236}">
                <a16:creationId xmlns:a16="http://schemas.microsoft.com/office/drawing/2014/main" id="{E73AE651-764C-4495-A35B-0E7144E8144B}"/>
              </a:ext>
            </a:extLst>
          </p:cNvPr>
          <p:cNvGrpSpPr/>
          <p:nvPr/>
        </p:nvGrpSpPr>
        <p:grpSpPr>
          <a:xfrm>
            <a:off x="2676107" y="2152808"/>
            <a:ext cx="458973" cy="441466"/>
            <a:chOff x="4404126" y="3556426"/>
            <a:chExt cx="565344" cy="565339"/>
          </a:xfrm>
        </p:grpSpPr>
        <p:sp>
          <p:nvSpPr>
            <p:cNvPr id="16" name="Oval 15">
              <a:extLst>
                <a:ext uri="{FF2B5EF4-FFF2-40B4-BE49-F238E27FC236}">
                  <a16:creationId xmlns:a16="http://schemas.microsoft.com/office/drawing/2014/main" id="{159DEC6E-422F-4F0D-B04E-EF88EBF21AE8}"/>
                </a:ext>
              </a:extLst>
            </p:cNvPr>
            <p:cNvSpPr/>
            <p:nvPr/>
          </p:nvSpPr>
          <p:spPr>
            <a:xfrm>
              <a:off x="4404126" y="3556426"/>
              <a:ext cx="565344" cy="565339"/>
            </a:xfrm>
            <a:prstGeom prst="ellipse">
              <a:avLst/>
            </a:prstGeom>
            <a:solidFill>
              <a:schemeClr val="accent2">
                <a:alpha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7FC61B0B-3959-4810-AC42-354FED05F7BB}"/>
                </a:ext>
              </a:extLst>
            </p:cNvPr>
            <p:cNvSpPr/>
            <p:nvPr/>
          </p:nvSpPr>
          <p:spPr>
            <a:xfrm>
              <a:off x="4521463" y="3673760"/>
              <a:ext cx="330671" cy="330671"/>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15000"/>
                </a:prstClr>
              </a:outerShd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F5858"/>
                  </a:solidFill>
                  <a:effectLst/>
                  <a:uLnTx/>
                  <a:uFillTx/>
                  <a:latin typeface="Century Gothic" panose="020B0502020202020204" pitchFamily="34" charset="0"/>
                  <a:ea typeface="+mn-ea"/>
                  <a:cs typeface="+mn-cs"/>
                </a:rPr>
                <a:t>3</a:t>
              </a:r>
            </a:p>
          </p:txBody>
        </p:sp>
      </p:grpSp>
      <p:grpSp>
        <p:nvGrpSpPr>
          <p:cNvPr id="77" name="Group 76">
            <a:extLst>
              <a:ext uri="{FF2B5EF4-FFF2-40B4-BE49-F238E27FC236}">
                <a16:creationId xmlns:a16="http://schemas.microsoft.com/office/drawing/2014/main" id="{D497EBF3-A1BC-41A2-8FC3-00D8673913A0}"/>
              </a:ext>
            </a:extLst>
          </p:cNvPr>
          <p:cNvGrpSpPr/>
          <p:nvPr/>
        </p:nvGrpSpPr>
        <p:grpSpPr>
          <a:xfrm>
            <a:off x="3995939" y="3666985"/>
            <a:ext cx="458973" cy="441466"/>
            <a:chOff x="5812706" y="3556426"/>
            <a:chExt cx="565344" cy="565339"/>
          </a:xfrm>
        </p:grpSpPr>
        <p:sp>
          <p:nvSpPr>
            <p:cNvPr id="18" name="Oval 17">
              <a:extLst>
                <a:ext uri="{FF2B5EF4-FFF2-40B4-BE49-F238E27FC236}">
                  <a16:creationId xmlns:a16="http://schemas.microsoft.com/office/drawing/2014/main" id="{4F963940-EFFC-4CEA-A2B1-F7FE5A225BF6}"/>
                </a:ext>
              </a:extLst>
            </p:cNvPr>
            <p:cNvSpPr/>
            <p:nvPr/>
          </p:nvSpPr>
          <p:spPr>
            <a:xfrm>
              <a:off x="5812706" y="3556426"/>
              <a:ext cx="565344" cy="565339"/>
            </a:xfrm>
            <a:prstGeom prst="ellipse">
              <a:avLst/>
            </a:prstGeom>
            <a:solidFill>
              <a:schemeClr val="accent1">
                <a:lumMod val="20000"/>
                <a:lumOff val="80000"/>
                <a:alpha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Oval 18">
              <a:extLst>
                <a:ext uri="{FF2B5EF4-FFF2-40B4-BE49-F238E27FC236}">
                  <a16:creationId xmlns:a16="http://schemas.microsoft.com/office/drawing/2014/main" id="{28BCD415-1C93-47CF-87D6-D078DFF5522F}"/>
                </a:ext>
              </a:extLst>
            </p:cNvPr>
            <p:cNvSpPr/>
            <p:nvPr/>
          </p:nvSpPr>
          <p:spPr>
            <a:xfrm>
              <a:off x="5930043" y="3673760"/>
              <a:ext cx="330671" cy="330671"/>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15000"/>
                </a:prstClr>
              </a:outerShd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F5858"/>
                  </a:solidFill>
                  <a:effectLst/>
                  <a:uLnTx/>
                  <a:uFillTx/>
                  <a:latin typeface="Century Gothic" panose="020B0502020202020204" pitchFamily="34" charset="0"/>
                  <a:ea typeface="+mn-ea"/>
                  <a:cs typeface="+mn-cs"/>
                </a:rPr>
                <a:t>4</a:t>
              </a:r>
            </a:p>
          </p:txBody>
        </p:sp>
      </p:grpSp>
      <p:sp>
        <p:nvSpPr>
          <p:cNvPr id="33" name="Content Placeholder 2">
            <a:extLst>
              <a:ext uri="{FF2B5EF4-FFF2-40B4-BE49-F238E27FC236}">
                <a16:creationId xmlns:a16="http://schemas.microsoft.com/office/drawing/2014/main" id="{DBDAC750-0091-44D6-8F6B-43F2DF67A8F4}"/>
              </a:ext>
            </a:extLst>
          </p:cNvPr>
          <p:cNvSpPr txBox="1">
            <a:spLocks/>
          </p:cNvSpPr>
          <p:nvPr/>
        </p:nvSpPr>
        <p:spPr>
          <a:xfrm>
            <a:off x="265275" y="2038430"/>
            <a:ext cx="1736734" cy="441022"/>
          </a:xfrm>
          <a:prstGeom prst="rect">
            <a:avLst/>
          </a:prstGeom>
        </p:spPr>
        <p:txBody>
          <a:bodyPr wrap="square" lIns="0" tIns="0" rIns="0" bIns="0" anchor="t">
            <a:spAutoFit/>
          </a:bodyPr>
          <a:lstStyle>
            <a:defPPr>
              <a:defRPr lang="id-ID"/>
            </a:defPPr>
            <a:lvl1pPr algn="ctr">
              <a:defRPr sz="1400">
                <a:solidFill>
                  <a:schemeClr val="accent2"/>
                </a:solidFill>
                <a:latin typeface="Century Gothic"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300"/>
              </a:spcAft>
              <a:buClrTx/>
              <a:buSzTx/>
              <a:buFontTx/>
              <a:buNone/>
              <a:tabLst/>
              <a:defRPr/>
            </a:pPr>
            <a:r>
              <a:rPr lang="en-US" dirty="0">
                <a:solidFill>
                  <a:schemeClr val="tx1"/>
                </a:solidFill>
                <a:latin typeface="+mn-lt"/>
              </a:rPr>
              <a:t>Credit card </a:t>
            </a:r>
          </a:p>
          <a:p>
            <a:pPr marL="0" marR="0" lvl="0" indent="0" algn="ctr" defTabSz="914400" rtl="0" eaLnBrk="1" fontAlgn="auto" latinLnBrk="0" hangingPunct="1">
              <a:lnSpc>
                <a:spcPct val="90000"/>
              </a:lnSpc>
              <a:spcBef>
                <a:spcPts val="0"/>
              </a:spcBef>
              <a:spcAft>
                <a:spcPts val="300"/>
              </a:spcAft>
              <a:buClrTx/>
              <a:buSzTx/>
              <a:buFontTx/>
              <a:buNone/>
              <a:tabLst/>
              <a:defRPr/>
            </a:pPr>
            <a:r>
              <a:rPr kumimoji="0" lang="en-US" sz="2400" b="0" i="0" u="none" strike="noStrike" kern="1200" cap="none" spc="0" normalizeH="0" baseline="0" noProof="0" dirty="0">
                <a:ln>
                  <a:noFill/>
                </a:ln>
                <a:solidFill>
                  <a:schemeClr val="tx1"/>
                </a:solidFill>
                <a:effectLst/>
                <a:uLnTx/>
                <a:uFillTx/>
                <a:latin typeface="+mn-lt"/>
                <a:ea typeface="+mn-ea"/>
                <a:cs typeface="+mn-cs"/>
              </a:rPr>
              <a:t>21.6 %</a:t>
            </a:r>
          </a:p>
        </p:txBody>
      </p:sp>
      <p:grpSp>
        <p:nvGrpSpPr>
          <p:cNvPr id="44" name="Group 43">
            <a:extLst>
              <a:ext uri="{FF2B5EF4-FFF2-40B4-BE49-F238E27FC236}">
                <a16:creationId xmlns:a16="http://schemas.microsoft.com/office/drawing/2014/main" id="{46B7E22C-40BE-4D26-9440-E145F05713BC}"/>
              </a:ext>
            </a:extLst>
          </p:cNvPr>
          <p:cNvGrpSpPr/>
          <p:nvPr/>
        </p:nvGrpSpPr>
        <p:grpSpPr>
          <a:xfrm>
            <a:off x="979686" y="1538160"/>
            <a:ext cx="307911" cy="281442"/>
            <a:chOff x="5465763" y="1358900"/>
            <a:chExt cx="287337" cy="273050"/>
          </a:xfrm>
          <a:solidFill>
            <a:schemeClr val="accent1"/>
          </a:solidFill>
        </p:grpSpPr>
        <p:sp>
          <p:nvSpPr>
            <p:cNvPr id="70" name="Freeform 567">
              <a:extLst>
                <a:ext uri="{FF2B5EF4-FFF2-40B4-BE49-F238E27FC236}">
                  <a16:creationId xmlns:a16="http://schemas.microsoft.com/office/drawing/2014/main" id="{9FCD1C76-F33B-4CF0-A2F9-1AA257F10286}"/>
                </a:ext>
              </a:extLst>
            </p:cNvPr>
            <p:cNvSpPr>
              <a:spLocks noEditPoints="1"/>
            </p:cNvSpPr>
            <p:nvPr/>
          </p:nvSpPr>
          <p:spPr bwMode="auto">
            <a:xfrm>
              <a:off x="5586413" y="1446213"/>
              <a:ext cx="76200" cy="76200"/>
            </a:xfrm>
            <a:custGeom>
              <a:avLst/>
              <a:gdLst>
                <a:gd name="T0" fmla="*/ 106 w 241"/>
                <a:gd name="T1" fmla="*/ 72 h 241"/>
                <a:gd name="T2" fmla="*/ 108 w 241"/>
                <a:gd name="T3" fmla="*/ 66 h 241"/>
                <a:gd name="T4" fmla="*/ 112 w 241"/>
                <a:gd name="T5" fmla="*/ 63 h 241"/>
                <a:gd name="T6" fmla="*/ 117 w 241"/>
                <a:gd name="T7" fmla="*/ 61 h 241"/>
                <a:gd name="T8" fmla="*/ 124 w 241"/>
                <a:gd name="T9" fmla="*/ 60 h 241"/>
                <a:gd name="T10" fmla="*/ 129 w 241"/>
                <a:gd name="T11" fmla="*/ 63 h 241"/>
                <a:gd name="T12" fmla="*/ 133 w 241"/>
                <a:gd name="T13" fmla="*/ 66 h 241"/>
                <a:gd name="T14" fmla="*/ 136 w 241"/>
                <a:gd name="T15" fmla="*/ 72 h 241"/>
                <a:gd name="T16" fmla="*/ 136 w 241"/>
                <a:gd name="T17" fmla="*/ 165 h 241"/>
                <a:gd name="T18" fmla="*/ 134 w 241"/>
                <a:gd name="T19" fmla="*/ 171 h 241"/>
                <a:gd name="T20" fmla="*/ 131 w 241"/>
                <a:gd name="T21" fmla="*/ 176 h 241"/>
                <a:gd name="T22" fmla="*/ 126 w 241"/>
                <a:gd name="T23" fmla="*/ 179 h 241"/>
                <a:gd name="T24" fmla="*/ 121 w 241"/>
                <a:gd name="T25" fmla="*/ 180 h 241"/>
                <a:gd name="T26" fmla="*/ 115 w 241"/>
                <a:gd name="T27" fmla="*/ 179 h 241"/>
                <a:gd name="T28" fmla="*/ 110 w 241"/>
                <a:gd name="T29" fmla="*/ 176 h 241"/>
                <a:gd name="T30" fmla="*/ 107 w 241"/>
                <a:gd name="T31" fmla="*/ 171 h 241"/>
                <a:gd name="T32" fmla="*/ 106 w 241"/>
                <a:gd name="T33" fmla="*/ 165 h 241"/>
                <a:gd name="T34" fmla="*/ 121 w 241"/>
                <a:gd name="T35" fmla="*/ 241 h 241"/>
                <a:gd name="T36" fmla="*/ 145 w 241"/>
                <a:gd name="T37" fmla="*/ 238 h 241"/>
                <a:gd name="T38" fmla="*/ 168 w 241"/>
                <a:gd name="T39" fmla="*/ 232 h 241"/>
                <a:gd name="T40" fmla="*/ 188 w 241"/>
                <a:gd name="T41" fmla="*/ 220 h 241"/>
                <a:gd name="T42" fmla="*/ 205 w 241"/>
                <a:gd name="T43" fmla="*/ 206 h 241"/>
                <a:gd name="T44" fmla="*/ 220 w 241"/>
                <a:gd name="T45" fmla="*/ 188 h 241"/>
                <a:gd name="T46" fmla="*/ 231 w 241"/>
                <a:gd name="T47" fmla="*/ 167 h 241"/>
                <a:gd name="T48" fmla="*/ 238 w 241"/>
                <a:gd name="T49" fmla="*/ 145 h 241"/>
                <a:gd name="T50" fmla="*/ 241 w 241"/>
                <a:gd name="T51" fmla="*/ 120 h 241"/>
                <a:gd name="T52" fmla="*/ 238 w 241"/>
                <a:gd name="T53" fmla="*/ 96 h 241"/>
                <a:gd name="T54" fmla="*/ 231 w 241"/>
                <a:gd name="T55" fmla="*/ 74 h 241"/>
                <a:gd name="T56" fmla="*/ 220 w 241"/>
                <a:gd name="T57" fmla="*/ 53 h 241"/>
                <a:gd name="T58" fmla="*/ 205 w 241"/>
                <a:gd name="T59" fmla="*/ 35 h 241"/>
                <a:gd name="T60" fmla="*/ 188 w 241"/>
                <a:gd name="T61" fmla="*/ 20 h 241"/>
                <a:gd name="T62" fmla="*/ 168 w 241"/>
                <a:gd name="T63" fmla="*/ 9 h 241"/>
                <a:gd name="T64" fmla="*/ 145 w 241"/>
                <a:gd name="T65" fmla="*/ 2 h 241"/>
                <a:gd name="T66" fmla="*/ 121 w 241"/>
                <a:gd name="T67" fmla="*/ 0 h 241"/>
                <a:gd name="T68" fmla="*/ 96 w 241"/>
                <a:gd name="T69" fmla="*/ 2 h 241"/>
                <a:gd name="T70" fmla="*/ 73 w 241"/>
                <a:gd name="T71" fmla="*/ 9 h 241"/>
                <a:gd name="T72" fmla="*/ 53 w 241"/>
                <a:gd name="T73" fmla="*/ 20 h 241"/>
                <a:gd name="T74" fmla="*/ 36 w 241"/>
                <a:gd name="T75" fmla="*/ 35 h 241"/>
                <a:gd name="T76" fmla="*/ 21 w 241"/>
                <a:gd name="T77" fmla="*/ 53 h 241"/>
                <a:gd name="T78" fmla="*/ 10 w 241"/>
                <a:gd name="T79" fmla="*/ 74 h 241"/>
                <a:gd name="T80" fmla="*/ 3 w 241"/>
                <a:gd name="T81" fmla="*/ 96 h 241"/>
                <a:gd name="T82" fmla="*/ 0 w 241"/>
                <a:gd name="T83" fmla="*/ 120 h 241"/>
                <a:gd name="T84" fmla="*/ 3 w 241"/>
                <a:gd name="T85" fmla="*/ 145 h 241"/>
                <a:gd name="T86" fmla="*/ 10 w 241"/>
                <a:gd name="T87" fmla="*/ 167 h 241"/>
                <a:gd name="T88" fmla="*/ 21 w 241"/>
                <a:gd name="T89" fmla="*/ 188 h 241"/>
                <a:gd name="T90" fmla="*/ 36 w 241"/>
                <a:gd name="T91" fmla="*/ 206 h 241"/>
                <a:gd name="T92" fmla="*/ 53 w 241"/>
                <a:gd name="T93" fmla="*/ 220 h 241"/>
                <a:gd name="T94" fmla="*/ 73 w 241"/>
                <a:gd name="T95" fmla="*/ 232 h 241"/>
                <a:gd name="T96" fmla="*/ 96 w 241"/>
                <a:gd name="T97" fmla="*/ 238 h 241"/>
                <a:gd name="T98" fmla="*/ 121 w 241"/>
                <a:gd name="T9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1" h="241">
                  <a:moveTo>
                    <a:pt x="106" y="75"/>
                  </a:moveTo>
                  <a:lnTo>
                    <a:pt x="106" y="72"/>
                  </a:lnTo>
                  <a:lnTo>
                    <a:pt x="107" y="70"/>
                  </a:lnTo>
                  <a:lnTo>
                    <a:pt x="108" y="66"/>
                  </a:lnTo>
                  <a:lnTo>
                    <a:pt x="110" y="64"/>
                  </a:lnTo>
                  <a:lnTo>
                    <a:pt x="112" y="63"/>
                  </a:lnTo>
                  <a:lnTo>
                    <a:pt x="115" y="61"/>
                  </a:lnTo>
                  <a:lnTo>
                    <a:pt x="117" y="61"/>
                  </a:lnTo>
                  <a:lnTo>
                    <a:pt x="121" y="60"/>
                  </a:lnTo>
                  <a:lnTo>
                    <a:pt x="124" y="60"/>
                  </a:lnTo>
                  <a:lnTo>
                    <a:pt x="126" y="61"/>
                  </a:lnTo>
                  <a:lnTo>
                    <a:pt x="129" y="63"/>
                  </a:lnTo>
                  <a:lnTo>
                    <a:pt x="131" y="64"/>
                  </a:lnTo>
                  <a:lnTo>
                    <a:pt x="133" y="66"/>
                  </a:lnTo>
                  <a:lnTo>
                    <a:pt x="134" y="70"/>
                  </a:lnTo>
                  <a:lnTo>
                    <a:pt x="136" y="72"/>
                  </a:lnTo>
                  <a:lnTo>
                    <a:pt x="136" y="75"/>
                  </a:lnTo>
                  <a:lnTo>
                    <a:pt x="136" y="165"/>
                  </a:lnTo>
                  <a:lnTo>
                    <a:pt x="136" y="168"/>
                  </a:lnTo>
                  <a:lnTo>
                    <a:pt x="134" y="171"/>
                  </a:lnTo>
                  <a:lnTo>
                    <a:pt x="133" y="174"/>
                  </a:lnTo>
                  <a:lnTo>
                    <a:pt x="131" y="176"/>
                  </a:lnTo>
                  <a:lnTo>
                    <a:pt x="129" y="178"/>
                  </a:lnTo>
                  <a:lnTo>
                    <a:pt x="126" y="179"/>
                  </a:lnTo>
                  <a:lnTo>
                    <a:pt x="124" y="180"/>
                  </a:lnTo>
                  <a:lnTo>
                    <a:pt x="121" y="180"/>
                  </a:lnTo>
                  <a:lnTo>
                    <a:pt x="117" y="180"/>
                  </a:lnTo>
                  <a:lnTo>
                    <a:pt x="115" y="179"/>
                  </a:lnTo>
                  <a:lnTo>
                    <a:pt x="112" y="178"/>
                  </a:lnTo>
                  <a:lnTo>
                    <a:pt x="110" y="176"/>
                  </a:lnTo>
                  <a:lnTo>
                    <a:pt x="108" y="174"/>
                  </a:lnTo>
                  <a:lnTo>
                    <a:pt x="107" y="171"/>
                  </a:lnTo>
                  <a:lnTo>
                    <a:pt x="106" y="168"/>
                  </a:lnTo>
                  <a:lnTo>
                    <a:pt x="106" y="165"/>
                  </a:lnTo>
                  <a:lnTo>
                    <a:pt x="106" y="75"/>
                  </a:lnTo>
                  <a:close/>
                  <a:moveTo>
                    <a:pt x="121" y="241"/>
                  </a:moveTo>
                  <a:lnTo>
                    <a:pt x="132" y="240"/>
                  </a:lnTo>
                  <a:lnTo>
                    <a:pt x="145" y="238"/>
                  </a:lnTo>
                  <a:lnTo>
                    <a:pt x="156" y="236"/>
                  </a:lnTo>
                  <a:lnTo>
                    <a:pt x="168" y="232"/>
                  </a:lnTo>
                  <a:lnTo>
                    <a:pt x="177" y="226"/>
                  </a:lnTo>
                  <a:lnTo>
                    <a:pt x="188" y="220"/>
                  </a:lnTo>
                  <a:lnTo>
                    <a:pt x="197" y="213"/>
                  </a:lnTo>
                  <a:lnTo>
                    <a:pt x="205" y="206"/>
                  </a:lnTo>
                  <a:lnTo>
                    <a:pt x="214" y="197"/>
                  </a:lnTo>
                  <a:lnTo>
                    <a:pt x="220" y="188"/>
                  </a:lnTo>
                  <a:lnTo>
                    <a:pt x="227" y="178"/>
                  </a:lnTo>
                  <a:lnTo>
                    <a:pt x="231" y="167"/>
                  </a:lnTo>
                  <a:lnTo>
                    <a:pt x="235" y="156"/>
                  </a:lnTo>
                  <a:lnTo>
                    <a:pt x="238" y="145"/>
                  </a:lnTo>
                  <a:lnTo>
                    <a:pt x="241" y="133"/>
                  </a:lnTo>
                  <a:lnTo>
                    <a:pt x="241" y="120"/>
                  </a:lnTo>
                  <a:lnTo>
                    <a:pt x="241" y="108"/>
                  </a:lnTo>
                  <a:lnTo>
                    <a:pt x="238" y="96"/>
                  </a:lnTo>
                  <a:lnTo>
                    <a:pt x="235" y="85"/>
                  </a:lnTo>
                  <a:lnTo>
                    <a:pt x="231" y="74"/>
                  </a:lnTo>
                  <a:lnTo>
                    <a:pt x="227" y="63"/>
                  </a:lnTo>
                  <a:lnTo>
                    <a:pt x="220" y="53"/>
                  </a:lnTo>
                  <a:lnTo>
                    <a:pt x="214" y="44"/>
                  </a:lnTo>
                  <a:lnTo>
                    <a:pt x="205" y="35"/>
                  </a:lnTo>
                  <a:lnTo>
                    <a:pt x="197" y="28"/>
                  </a:lnTo>
                  <a:lnTo>
                    <a:pt x="188" y="20"/>
                  </a:lnTo>
                  <a:lnTo>
                    <a:pt x="177" y="15"/>
                  </a:lnTo>
                  <a:lnTo>
                    <a:pt x="168" y="9"/>
                  </a:lnTo>
                  <a:lnTo>
                    <a:pt x="156" y="5"/>
                  </a:lnTo>
                  <a:lnTo>
                    <a:pt x="145" y="2"/>
                  </a:lnTo>
                  <a:lnTo>
                    <a:pt x="132" y="1"/>
                  </a:lnTo>
                  <a:lnTo>
                    <a:pt x="121" y="0"/>
                  </a:lnTo>
                  <a:lnTo>
                    <a:pt x="109" y="1"/>
                  </a:lnTo>
                  <a:lnTo>
                    <a:pt x="96" y="2"/>
                  </a:lnTo>
                  <a:lnTo>
                    <a:pt x="85" y="5"/>
                  </a:lnTo>
                  <a:lnTo>
                    <a:pt x="73" y="9"/>
                  </a:lnTo>
                  <a:lnTo>
                    <a:pt x="64" y="15"/>
                  </a:lnTo>
                  <a:lnTo>
                    <a:pt x="53" y="20"/>
                  </a:lnTo>
                  <a:lnTo>
                    <a:pt x="44" y="28"/>
                  </a:lnTo>
                  <a:lnTo>
                    <a:pt x="36" y="35"/>
                  </a:lnTo>
                  <a:lnTo>
                    <a:pt x="27" y="44"/>
                  </a:lnTo>
                  <a:lnTo>
                    <a:pt x="21" y="53"/>
                  </a:lnTo>
                  <a:lnTo>
                    <a:pt x="14" y="63"/>
                  </a:lnTo>
                  <a:lnTo>
                    <a:pt x="10" y="74"/>
                  </a:lnTo>
                  <a:lnTo>
                    <a:pt x="6" y="85"/>
                  </a:lnTo>
                  <a:lnTo>
                    <a:pt x="3" y="96"/>
                  </a:lnTo>
                  <a:lnTo>
                    <a:pt x="0" y="108"/>
                  </a:lnTo>
                  <a:lnTo>
                    <a:pt x="0" y="120"/>
                  </a:lnTo>
                  <a:lnTo>
                    <a:pt x="0" y="133"/>
                  </a:lnTo>
                  <a:lnTo>
                    <a:pt x="3" y="145"/>
                  </a:lnTo>
                  <a:lnTo>
                    <a:pt x="6" y="156"/>
                  </a:lnTo>
                  <a:lnTo>
                    <a:pt x="10" y="167"/>
                  </a:lnTo>
                  <a:lnTo>
                    <a:pt x="14" y="178"/>
                  </a:lnTo>
                  <a:lnTo>
                    <a:pt x="21" y="188"/>
                  </a:lnTo>
                  <a:lnTo>
                    <a:pt x="27" y="197"/>
                  </a:lnTo>
                  <a:lnTo>
                    <a:pt x="36" y="206"/>
                  </a:lnTo>
                  <a:lnTo>
                    <a:pt x="44" y="213"/>
                  </a:lnTo>
                  <a:lnTo>
                    <a:pt x="53" y="220"/>
                  </a:lnTo>
                  <a:lnTo>
                    <a:pt x="64" y="226"/>
                  </a:lnTo>
                  <a:lnTo>
                    <a:pt x="73" y="232"/>
                  </a:lnTo>
                  <a:lnTo>
                    <a:pt x="85" y="236"/>
                  </a:lnTo>
                  <a:lnTo>
                    <a:pt x="96" y="238"/>
                  </a:lnTo>
                  <a:lnTo>
                    <a:pt x="109" y="240"/>
                  </a:lnTo>
                  <a:lnTo>
                    <a:pt x="121"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1" name="Freeform 568">
              <a:extLst>
                <a:ext uri="{FF2B5EF4-FFF2-40B4-BE49-F238E27FC236}">
                  <a16:creationId xmlns:a16="http://schemas.microsoft.com/office/drawing/2014/main" id="{EF6D8185-A903-4049-94AB-4E103EE87C22}"/>
                </a:ext>
              </a:extLst>
            </p:cNvPr>
            <p:cNvSpPr>
              <a:spLocks noEditPoints="1"/>
            </p:cNvSpPr>
            <p:nvPr/>
          </p:nvSpPr>
          <p:spPr bwMode="auto">
            <a:xfrm>
              <a:off x="5643563" y="1358900"/>
              <a:ext cx="76200" cy="77788"/>
            </a:xfrm>
            <a:custGeom>
              <a:avLst/>
              <a:gdLst>
                <a:gd name="T0" fmla="*/ 106 w 241"/>
                <a:gd name="T1" fmla="*/ 73 h 242"/>
                <a:gd name="T2" fmla="*/ 108 w 241"/>
                <a:gd name="T3" fmla="*/ 68 h 242"/>
                <a:gd name="T4" fmla="*/ 112 w 241"/>
                <a:gd name="T5" fmla="*/ 64 h 242"/>
                <a:gd name="T6" fmla="*/ 118 w 241"/>
                <a:gd name="T7" fmla="*/ 62 h 242"/>
                <a:gd name="T8" fmla="*/ 123 w 241"/>
                <a:gd name="T9" fmla="*/ 62 h 242"/>
                <a:gd name="T10" fmla="*/ 128 w 241"/>
                <a:gd name="T11" fmla="*/ 64 h 242"/>
                <a:gd name="T12" fmla="*/ 133 w 241"/>
                <a:gd name="T13" fmla="*/ 68 h 242"/>
                <a:gd name="T14" fmla="*/ 135 w 241"/>
                <a:gd name="T15" fmla="*/ 73 h 242"/>
                <a:gd name="T16" fmla="*/ 135 w 241"/>
                <a:gd name="T17" fmla="*/ 167 h 242"/>
                <a:gd name="T18" fmla="*/ 134 w 241"/>
                <a:gd name="T19" fmla="*/ 172 h 242"/>
                <a:gd name="T20" fmla="*/ 130 w 241"/>
                <a:gd name="T21" fmla="*/ 177 h 242"/>
                <a:gd name="T22" fmla="*/ 126 w 241"/>
                <a:gd name="T23" fmla="*/ 181 h 242"/>
                <a:gd name="T24" fmla="*/ 120 w 241"/>
                <a:gd name="T25" fmla="*/ 182 h 242"/>
                <a:gd name="T26" fmla="*/ 114 w 241"/>
                <a:gd name="T27" fmla="*/ 181 h 242"/>
                <a:gd name="T28" fmla="*/ 110 w 241"/>
                <a:gd name="T29" fmla="*/ 177 h 242"/>
                <a:gd name="T30" fmla="*/ 107 w 241"/>
                <a:gd name="T31" fmla="*/ 172 h 242"/>
                <a:gd name="T32" fmla="*/ 105 w 241"/>
                <a:gd name="T33" fmla="*/ 167 h 242"/>
                <a:gd name="T34" fmla="*/ 120 w 241"/>
                <a:gd name="T35" fmla="*/ 242 h 242"/>
                <a:gd name="T36" fmla="*/ 144 w 241"/>
                <a:gd name="T37" fmla="*/ 240 h 242"/>
                <a:gd name="T38" fmla="*/ 167 w 241"/>
                <a:gd name="T39" fmla="*/ 232 h 242"/>
                <a:gd name="T40" fmla="*/ 187 w 241"/>
                <a:gd name="T41" fmla="*/ 221 h 242"/>
                <a:gd name="T42" fmla="*/ 206 w 241"/>
                <a:gd name="T43" fmla="*/ 206 h 242"/>
                <a:gd name="T44" fmla="*/ 221 w 241"/>
                <a:gd name="T45" fmla="*/ 188 h 242"/>
                <a:gd name="T46" fmla="*/ 231 w 241"/>
                <a:gd name="T47" fmla="*/ 168 h 242"/>
                <a:gd name="T48" fmla="*/ 238 w 241"/>
                <a:gd name="T49" fmla="*/ 145 h 242"/>
                <a:gd name="T50" fmla="*/ 241 w 241"/>
                <a:gd name="T51" fmla="*/ 122 h 242"/>
                <a:gd name="T52" fmla="*/ 238 w 241"/>
                <a:gd name="T53" fmla="*/ 97 h 242"/>
                <a:gd name="T54" fmla="*/ 231 w 241"/>
                <a:gd name="T55" fmla="*/ 74 h 242"/>
                <a:gd name="T56" fmla="*/ 221 w 241"/>
                <a:gd name="T57" fmla="*/ 54 h 242"/>
                <a:gd name="T58" fmla="*/ 206 w 241"/>
                <a:gd name="T59" fmla="*/ 36 h 242"/>
                <a:gd name="T60" fmla="*/ 187 w 241"/>
                <a:gd name="T61" fmla="*/ 22 h 242"/>
                <a:gd name="T62" fmla="*/ 167 w 241"/>
                <a:gd name="T63" fmla="*/ 10 h 242"/>
                <a:gd name="T64" fmla="*/ 144 w 241"/>
                <a:gd name="T65" fmla="*/ 4 h 242"/>
                <a:gd name="T66" fmla="*/ 120 w 241"/>
                <a:gd name="T67" fmla="*/ 0 h 242"/>
                <a:gd name="T68" fmla="*/ 96 w 241"/>
                <a:gd name="T69" fmla="*/ 4 h 242"/>
                <a:gd name="T70" fmla="*/ 74 w 241"/>
                <a:gd name="T71" fmla="*/ 10 h 242"/>
                <a:gd name="T72" fmla="*/ 53 w 241"/>
                <a:gd name="T73" fmla="*/ 22 h 242"/>
                <a:gd name="T74" fmla="*/ 35 w 241"/>
                <a:gd name="T75" fmla="*/ 36 h 242"/>
                <a:gd name="T76" fmla="*/ 20 w 241"/>
                <a:gd name="T77" fmla="*/ 54 h 242"/>
                <a:gd name="T78" fmla="*/ 9 w 241"/>
                <a:gd name="T79" fmla="*/ 74 h 242"/>
                <a:gd name="T80" fmla="*/ 2 w 241"/>
                <a:gd name="T81" fmla="*/ 97 h 242"/>
                <a:gd name="T82" fmla="*/ 0 w 241"/>
                <a:gd name="T83" fmla="*/ 122 h 242"/>
                <a:gd name="T84" fmla="*/ 2 w 241"/>
                <a:gd name="T85" fmla="*/ 145 h 242"/>
                <a:gd name="T86" fmla="*/ 9 w 241"/>
                <a:gd name="T87" fmla="*/ 168 h 242"/>
                <a:gd name="T88" fmla="*/ 20 w 241"/>
                <a:gd name="T89" fmla="*/ 188 h 242"/>
                <a:gd name="T90" fmla="*/ 35 w 241"/>
                <a:gd name="T91" fmla="*/ 206 h 242"/>
                <a:gd name="T92" fmla="*/ 53 w 241"/>
                <a:gd name="T93" fmla="*/ 221 h 242"/>
                <a:gd name="T94" fmla="*/ 74 w 241"/>
                <a:gd name="T95" fmla="*/ 232 h 242"/>
                <a:gd name="T96" fmla="*/ 96 w 241"/>
                <a:gd name="T97" fmla="*/ 240 h 242"/>
                <a:gd name="T98" fmla="*/ 120 w 241"/>
                <a:gd name="T9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1" h="242">
                  <a:moveTo>
                    <a:pt x="105" y="77"/>
                  </a:moveTo>
                  <a:lnTo>
                    <a:pt x="106" y="73"/>
                  </a:lnTo>
                  <a:lnTo>
                    <a:pt x="107" y="70"/>
                  </a:lnTo>
                  <a:lnTo>
                    <a:pt x="108" y="68"/>
                  </a:lnTo>
                  <a:lnTo>
                    <a:pt x="110" y="66"/>
                  </a:lnTo>
                  <a:lnTo>
                    <a:pt x="112" y="64"/>
                  </a:lnTo>
                  <a:lnTo>
                    <a:pt x="114" y="63"/>
                  </a:lnTo>
                  <a:lnTo>
                    <a:pt x="118" y="62"/>
                  </a:lnTo>
                  <a:lnTo>
                    <a:pt x="120" y="62"/>
                  </a:lnTo>
                  <a:lnTo>
                    <a:pt x="123" y="62"/>
                  </a:lnTo>
                  <a:lnTo>
                    <a:pt x="126" y="63"/>
                  </a:lnTo>
                  <a:lnTo>
                    <a:pt x="128" y="64"/>
                  </a:lnTo>
                  <a:lnTo>
                    <a:pt x="130" y="66"/>
                  </a:lnTo>
                  <a:lnTo>
                    <a:pt x="133" y="68"/>
                  </a:lnTo>
                  <a:lnTo>
                    <a:pt x="134" y="70"/>
                  </a:lnTo>
                  <a:lnTo>
                    <a:pt x="135" y="73"/>
                  </a:lnTo>
                  <a:lnTo>
                    <a:pt x="135" y="77"/>
                  </a:lnTo>
                  <a:lnTo>
                    <a:pt x="135" y="167"/>
                  </a:lnTo>
                  <a:lnTo>
                    <a:pt x="135" y="170"/>
                  </a:lnTo>
                  <a:lnTo>
                    <a:pt x="134" y="172"/>
                  </a:lnTo>
                  <a:lnTo>
                    <a:pt x="133" y="175"/>
                  </a:lnTo>
                  <a:lnTo>
                    <a:pt x="130" y="177"/>
                  </a:lnTo>
                  <a:lnTo>
                    <a:pt x="128" y="178"/>
                  </a:lnTo>
                  <a:lnTo>
                    <a:pt x="126" y="181"/>
                  </a:lnTo>
                  <a:lnTo>
                    <a:pt x="123" y="182"/>
                  </a:lnTo>
                  <a:lnTo>
                    <a:pt x="120" y="182"/>
                  </a:lnTo>
                  <a:lnTo>
                    <a:pt x="118" y="182"/>
                  </a:lnTo>
                  <a:lnTo>
                    <a:pt x="114" y="181"/>
                  </a:lnTo>
                  <a:lnTo>
                    <a:pt x="112" y="178"/>
                  </a:lnTo>
                  <a:lnTo>
                    <a:pt x="110" y="177"/>
                  </a:lnTo>
                  <a:lnTo>
                    <a:pt x="108" y="175"/>
                  </a:lnTo>
                  <a:lnTo>
                    <a:pt x="107" y="172"/>
                  </a:lnTo>
                  <a:lnTo>
                    <a:pt x="106" y="170"/>
                  </a:lnTo>
                  <a:lnTo>
                    <a:pt x="105" y="167"/>
                  </a:lnTo>
                  <a:lnTo>
                    <a:pt x="105" y="77"/>
                  </a:lnTo>
                  <a:close/>
                  <a:moveTo>
                    <a:pt x="120" y="242"/>
                  </a:moveTo>
                  <a:lnTo>
                    <a:pt x="133" y="241"/>
                  </a:lnTo>
                  <a:lnTo>
                    <a:pt x="144" y="240"/>
                  </a:lnTo>
                  <a:lnTo>
                    <a:pt x="156" y="236"/>
                  </a:lnTo>
                  <a:lnTo>
                    <a:pt x="167" y="232"/>
                  </a:lnTo>
                  <a:lnTo>
                    <a:pt x="178" y="227"/>
                  </a:lnTo>
                  <a:lnTo>
                    <a:pt x="187" y="221"/>
                  </a:lnTo>
                  <a:lnTo>
                    <a:pt x="197" y="214"/>
                  </a:lnTo>
                  <a:lnTo>
                    <a:pt x="206" y="206"/>
                  </a:lnTo>
                  <a:lnTo>
                    <a:pt x="213" y="198"/>
                  </a:lnTo>
                  <a:lnTo>
                    <a:pt x="221" y="188"/>
                  </a:lnTo>
                  <a:lnTo>
                    <a:pt x="226" y="178"/>
                  </a:lnTo>
                  <a:lnTo>
                    <a:pt x="231" y="168"/>
                  </a:lnTo>
                  <a:lnTo>
                    <a:pt x="236" y="157"/>
                  </a:lnTo>
                  <a:lnTo>
                    <a:pt x="238" y="145"/>
                  </a:lnTo>
                  <a:lnTo>
                    <a:pt x="240" y="133"/>
                  </a:lnTo>
                  <a:lnTo>
                    <a:pt x="241" y="122"/>
                  </a:lnTo>
                  <a:lnTo>
                    <a:pt x="240" y="109"/>
                  </a:lnTo>
                  <a:lnTo>
                    <a:pt x="238" y="97"/>
                  </a:lnTo>
                  <a:lnTo>
                    <a:pt x="236" y="85"/>
                  </a:lnTo>
                  <a:lnTo>
                    <a:pt x="231" y="74"/>
                  </a:lnTo>
                  <a:lnTo>
                    <a:pt x="226" y="64"/>
                  </a:lnTo>
                  <a:lnTo>
                    <a:pt x="221" y="54"/>
                  </a:lnTo>
                  <a:lnTo>
                    <a:pt x="213" y="44"/>
                  </a:lnTo>
                  <a:lnTo>
                    <a:pt x="206" y="36"/>
                  </a:lnTo>
                  <a:lnTo>
                    <a:pt x="197" y="28"/>
                  </a:lnTo>
                  <a:lnTo>
                    <a:pt x="187" y="22"/>
                  </a:lnTo>
                  <a:lnTo>
                    <a:pt x="178" y="15"/>
                  </a:lnTo>
                  <a:lnTo>
                    <a:pt x="167" y="10"/>
                  </a:lnTo>
                  <a:lnTo>
                    <a:pt x="156" y="7"/>
                  </a:lnTo>
                  <a:lnTo>
                    <a:pt x="144" y="4"/>
                  </a:lnTo>
                  <a:lnTo>
                    <a:pt x="133" y="2"/>
                  </a:lnTo>
                  <a:lnTo>
                    <a:pt x="120" y="0"/>
                  </a:lnTo>
                  <a:lnTo>
                    <a:pt x="108" y="2"/>
                  </a:lnTo>
                  <a:lnTo>
                    <a:pt x="96" y="4"/>
                  </a:lnTo>
                  <a:lnTo>
                    <a:pt x="84" y="6"/>
                  </a:lnTo>
                  <a:lnTo>
                    <a:pt x="74" y="10"/>
                  </a:lnTo>
                  <a:lnTo>
                    <a:pt x="63" y="15"/>
                  </a:lnTo>
                  <a:lnTo>
                    <a:pt x="53" y="22"/>
                  </a:lnTo>
                  <a:lnTo>
                    <a:pt x="44" y="28"/>
                  </a:lnTo>
                  <a:lnTo>
                    <a:pt x="35" y="36"/>
                  </a:lnTo>
                  <a:lnTo>
                    <a:pt x="27" y="44"/>
                  </a:lnTo>
                  <a:lnTo>
                    <a:pt x="20" y="54"/>
                  </a:lnTo>
                  <a:lnTo>
                    <a:pt x="15" y="64"/>
                  </a:lnTo>
                  <a:lnTo>
                    <a:pt x="9" y="74"/>
                  </a:lnTo>
                  <a:lnTo>
                    <a:pt x="5" y="85"/>
                  </a:lnTo>
                  <a:lnTo>
                    <a:pt x="2" y="97"/>
                  </a:lnTo>
                  <a:lnTo>
                    <a:pt x="1" y="109"/>
                  </a:lnTo>
                  <a:lnTo>
                    <a:pt x="0" y="122"/>
                  </a:lnTo>
                  <a:lnTo>
                    <a:pt x="1" y="133"/>
                  </a:lnTo>
                  <a:lnTo>
                    <a:pt x="2" y="145"/>
                  </a:lnTo>
                  <a:lnTo>
                    <a:pt x="5" y="157"/>
                  </a:lnTo>
                  <a:lnTo>
                    <a:pt x="9" y="168"/>
                  </a:lnTo>
                  <a:lnTo>
                    <a:pt x="15" y="178"/>
                  </a:lnTo>
                  <a:lnTo>
                    <a:pt x="20" y="188"/>
                  </a:lnTo>
                  <a:lnTo>
                    <a:pt x="27" y="198"/>
                  </a:lnTo>
                  <a:lnTo>
                    <a:pt x="35" y="206"/>
                  </a:lnTo>
                  <a:lnTo>
                    <a:pt x="44" y="214"/>
                  </a:lnTo>
                  <a:lnTo>
                    <a:pt x="53" y="221"/>
                  </a:lnTo>
                  <a:lnTo>
                    <a:pt x="63" y="227"/>
                  </a:lnTo>
                  <a:lnTo>
                    <a:pt x="74" y="232"/>
                  </a:lnTo>
                  <a:lnTo>
                    <a:pt x="84" y="236"/>
                  </a:lnTo>
                  <a:lnTo>
                    <a:pt x="96" y="240"/>
                  </a:lnTo>
                  <a:lnTo>
                    <a:pt x="108" y="241"/>
                  </a:lnTo>
                  <a:lnTo>
                    <a:pt x="120"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2" name="Freeform 569">
              <a:extLst>
                <a:ext uri="{FF2B5EF4-FFF2-40B4-BE49-F238E27FC236}">
                  <a16:creationId xmlns:a16="http://schemas.microsoft.com/office/drawing/2014/main" id="{5446D7B6-8208-48C2-9958-A37755FFEAE0}"/>
                </a:ext>
              </a:extLst>
            </p:cNvPr>
            <p:cNvSpPr>
              <a:spLocks/>
            </p:cNvSpPr>
            <p:nvPr/>
          </p:nvSpPr>
          <p:spPr bwMode="auto">
            <a:xfrm>
              <a:off x="5465763" y="1517650"/>
              <a:ext cx="57150" cy="95250"/>
            </a:xfrm>
            <a:custGeom>
              <a:avLst/>
              <a:gdLst>
                <a:gd name="T0" fmla="*/ 165 w 180"/>
                <a:gd name="T1" fmla="*/ 0 h 302"/>
                <a:gd name="T2" fmla="*/ 15 w 180"/>
                <a:gd name="T3" fmla="*/ 0 h 302"/>
                <a:gd name="T4" fmla="*/ 12 w 180"/>
                <a:gd name="T5" fmla="*/ 0 h 302"/>
                <a:gd name="T6" fmla="*/ 9 w 180"/>
                <a:gd name="T7" fmla="*/ 1 h 302"/>
                <a:gd name="T8" fmla="*/ 6 w 180"/>
                <a:gd name="T9" fmla="*/ 2 h 302"/>
                <a:gd name="T10" fmla="*/ 4 w 180"/>
                <a:gd name="T11" fmla="*/ 4 h 302"/>
                <a:gd name="T12" fmla="*/ 2 w 180"/>
                <a:gd name="T13" fmla="*/ 7 h 302"/>
                <a:gd name="T14" fmla="*/ 1 w 180"/>
                <a:gd name="T15" fmla="*/ 9 h 302"/>
                <a:gd name="T16" fmla="*/ 0 w 180"/>
                <a:gd name="T17" fmla="*/ 12 h 302"/>
                <a:gd name="T18" fmla="*/ 0 w 180"/>
                <a:gd name="T19" fmla="*/ 15 h 302"/>
                <a:gd name="T20" fmla="*/ 0 w 180"/>
                <a:gd name="T21" fmla="*/ 287 h 302"/>
                <a:gd name="T22" fmla="*/ 0 w 180"/>
                <a:gd name="T23" fmla="*/ 289 h 302"/>
                <a:gd name="T24" fmla="*/ 1 w 180"/>
                <a:gd name="T25" fmla="*/ 292 h 302"/>
                <a:gd name="T26" fmla="*/ 2 w 180"/>
                <a:gd name="T27" fmla="*/ 294 h 302"/>
                <a:gd name="T28" fmla="*/ 4 w 180"/>
                <a:gd name="T29" fmla="*/ 296 h 302"/>
                <a:gd name="T30" fmla="*/ 6 w 180"/>
                <a:gd name="T31" fmla="*/ 298 h 302"/>
                <a:gd name="T32" fmla="*/ 9 w 180"/>
                <a:gd name="T33" fmla="*/ 299 h 302"/>
                <a:gd name="T34" fmla="*/ 12 w 180"/>
                <a:gd name="T35" fmla="*/ 301 h 302"/>
                <a:gd name="T36" fmla="*/ 15 w 180"/>
                <a:gd name="T37" fmla="*/ 302 h 302"/>
                <a:gd name="T38" fmla="*/ 165 w 180"/>
                <a:gd name="T39" fmla="*/ 302 h 302"/>
                <a:gd name="T40" fmla="*/ 168 w 180"/>
                <a:gd name="T41" fmla="*/ 301 h 302"/>
                <a:gd name="T42" fmla="*/ 172 w 180"/>
                <a:gd name="T43" fmla="*/ 299 h 302"/>
                <a:gd name="T44" fmla="*/ 174 w 180"/>
                <a:gd name="T45" fmla="*/ 298 h 302"/>
                <a:gd name="T46" fmla="*/ 176 w 180"/>
                <a:gd name="T47" fmla="*/ 296 h 302"/>
                <a:gd name="T48" fmla="*/ 178 w 180"/>
                <a:gd name="T49" fmla="*/ 294 h 302"/>
                <a:gd name="T50" fmla="*/ 179 w 180"/>
                <a:gd name="T51" fmla="*/ 292 h 302"/>
                <a:gd name="T52" fmla="*/ 180 w 180"/>
                <a:gd name="T53" fmla="*/ 289 h 302"/>
                <a:gd name="T54" fmla="*/ 180 w 180"/>
                <a:gd name="T55" fmla="*/ 287 h 302"/>
                <a:gd name="T56" fmla="*/ 180 w 180"/>
                <a:gd name="T57" fmla="*/ 15 h 302"/>
                <a:gd name="T58" fmla="*/ 180 w 180"/>
                <a:gd name="T59" fmla="*/ 12 h 302"/>
                <a:gd name="T60" fmla="*/ 179 w 180"/>
                <a:gd name="T61" fmla="*/ 9 h 302"/>
                <a:gd name="T62" fmla="*/ 178 w 180"/>
                <a:gd name="T63" fmla="*/ 7 h 302"/>
                <a:gd name="T64" fmla="*/ 176 w 180"/>
                <a:gd name="T65" fmla="*/ 4 h 302"/>
                <a:gd name="T66" fmla="*/ 174 w 180"/>
                <a:gd name="T67" fmla="*/ 2 h 302"/>
                <a:gd name="T68" fmla="*/ 172 w 180"/>
                <a:gd name="T69" fmla="*/ 1 h 302"/>
                <a:gd name="T70" fmla="*/ 168 w 180"/>
                <a:gd name="T71" fmla="*/ 0 h 302"/>
                <a:gd name="T72" fmla="*/ 165 w 180"/>
                <a:gd name="T73"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0" h="302">
                  <a:moveTo>
                    <a:pt x="165" y="0"/>
                  </a:moveTo>
                  <a:lnTo>
                    <a:pt x="15" y="0"/>
                  </a:lnTo>
                  <a:lnTo>
                    <a:pt x="12" y="0"/>
                  </a:lnTo>
                  <a:lnTo>
                    <a:pt x="9" y="1"/>
                  </a:lnTo>
                  <a:lnTo>
                    <a:pt x="6" y="2"/>
                  </a:lnTo>
                  <a:lnTo>
                    <a:pt x="4" y="4"/>
                  </a:lnTo>
                  <a:lnTo>
                    <a:pt x="2" y="7"/>
                  </a:lnTo>
                  <a:lnTo>
                    <a:pt x="1" y="9"/>
                  </a:lnTo>
                  <a:lnTo>
                    <a:pt x="0" y="12"/>
                  </a:lnTo>
                  <a:lnTo>
                    <a:pt x="0" y="15"/>
                  </a:lnTo>
                  <a:lnTo>
                    <a:pt x="0" y="287"/>
                  </a:lnTo>
                  <a:lnTo>
                    <a:pt x="0" y="289"/>
                  </a:lnTo>
                  <a:lnTo>
                    <a:pt x="1" y="292"/>
                  </a:lnTo>
                  <a:lnTo>
                    <a:pt x="2" y="294"/>
                  </a:lnTo>
                  <a:lnTo>
                    <a:pt x="4" y="296"/>
                  </a:lnTo>
                  <a:lnTo>
                    <a:pt x="6" y="298"/>
                  </a:lnTo>
                  <a:lnTo>
                    <a:pt x="9" y="299"/>
                  </a:lnTo>
                  <a:lnTo>
                    <a:pt x="12" y="301"/>
                  </a:lnTo>
                  <a:lnTo>
                    <a:pt x="15" y="302"/>
                  </a:lnTo>
                  <a:lnTo>
                    <a:pt x="165" y="302"/>
                  </a:lnTo>
                  <a:lnTo>
                    <a:pt x="168" y="301"/>
                  </a:lnTo>
                  <a:lnTo>
                    <a:pt x="172" y="299"/>
                  </a:lnTo>
                  <a:lnTo>
                    <a:pt x="174" y="298"/>
                  </a:lnTo>
                  <a:lnTo>
                    <a:pt x="176" y="296"/>
                  </a:lnTo>
                  <a:lnTo>
                    <a:pt x="178" y="294"/>
                  </a:lnTo>
                  <a:lnTo>
                    <a:pt x="179" y="292"/>
                  </a:lnTo>
                  <a:lnTo>
                    <a:pt x="180" y="289"/>
                  </a:lnTo>
                  <a:lnTo>
                    <a:pt x="180" y="287"/>
                  </a:lnTo>
                  <a:lnTo>
                    <a:pt x="180" y="15"/>
                  </a:lnTo>
                  <a:lnTo>
                    <a:pt x="180" y="12"/>
                  </a:lnTo>
                  <a:lnTo>
                    <a:pt x="179" y="9"/>
                  </a:lnTo>
                  <a:lnTo>
                    <a:pt x="178" y="7"/>
                  </a:lnTo>
                  <a:lnTo>
                    <a:pt x="176" y="4"/>
                  </a:lnTo>
                  <a:lnTo>
                    <a:pt x="174" y="2"/>
                  </a:lnTo>
                  <a:lnTo>
                    <a:pt x="172" y="1"/>
                  </a:lnTo>
                  <a:lnTo>
                    <a:pt x="168"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3" name="Freeform 570">
              <a:extLst>
                <a:ext uri="{FF2B5EF4-FFF2-40B4-BE49-F238E27FC236}">
                  <a16:creationId xmlns:a16="http://schemas.microsoft.com/office/drawing/2014/main" id="{B37A71C9-B99B-4829-84B1-46806FD3F05C}"/>
                </a:ext>
              </a:extLst>
            </p:cNvPr>
            <p:cNvSpPr>
              <a:spLocks/>
            </p:cNvSpPr>
            <p:nvPr/>
          </p:nvSpPr>
          <p:spPr bwMode="auto">
            <a:xfrm>
              <a:off x="5527675" y="1527175"/>
              <a:ext cx="225425" cy="104775"/>
            </a:xfrm>
            <a:custGeom>
              <a:avLst/>
              <a:gdLst>
                <a:gd name="T0" fmla="*/ 688 w 708"/>
                <a:gd name="T1" fmla="*/ 110 h 331"/>
                <a:gd name="T2" fmla="*/ 665 w 708"/>
                <a:gd name="T3" fmla="*/ 95 h 331"/>
                <a:gd name="T4" fmla="*/ 644 w 708"/>
                <a:gd name="T5" fmla="*/ 87 h 331"/>
                <a:gd name="T6" fmla="*/ 622 w 708"/>
                <a:gd name="T7" fmla="*/ 85 h 331"/>
                <a:gd name="T8" fmla="*/ 583 w 708"/>
                <a:gd name="T9" fmla="*/ 91 h 331"/>
                <a:gd name="T10" fmla="*/ 502 w 708"/>
                <a:gd name="T11" fmla="*/ 137 h 331"/>
                <a:gd name="T12" fmla="*/ 486 w 708"/>
                <a:gd name="T13" fmla="*/ 162 h 331"/>
                <a:gd name="T14" fmla="*/ 468 w 708"/>
                <a:gd name="T15" fmla="*/ 175 h 331"/>
                <a:gd name="T16" fmla="*/ 445 w 708"/>
                <a:gd name="T17" fmla="*/ 180 h 331"/>
                <a:gd name="T18" fmla="*/ 226 w 708"/>
                <a:gd name="T19" fmla="*/ 180 h 331"/>
                <a:gd name="T20" fmla="*/ 218 w 708"/>
                <a:gd name="T21" fmla="*/ 178 h 331"/>
                <a:gd name="T22" fmla="*/ 213 w 708"/>
                <a:gd name="T23" fmla="*/ 172 h 331"/>
                <a:gd name="T24" fmla="*/ 211 w 708"/>
                <a:gd name="T25" fmla="*/ 162 h 331"/>
                <a:gd name="T26" fmla="*/ 216 w 708"/>
                <a:gd name="T27" fmla="*/ 155 h 331"/>
                <a:gd name="T28" fmla="*/ 223 w 708"/>
                <a:gd name="T29" fmla="*/ 151 h 331"/>
                <a:gd name="T30" fmla="*/ 437 w 708"/>
                <a:gd name="T31" fmla="*/ 150 h 331"/>
                <a:gd name="T32" fmla="*/ 461 w 708"/>
                <a:gd name="T33" fmla="*/ 143 h 331"/>
                <a:gd name="T34" fmla="*/ 475 w 708"/>
                <a:gd name="T35" fmla="*/ 122 h 331"/>
                <a:gd name="T36" fmla="*/ 478 w 708"/>
                <a:gd name="T37" fmla="*/ 102 h 331"/>
                <a:gd name="T38" fmla="*/ 470 w 708"/>
                <a:gd name="T39" fmla="*/ 84 h 331"/>
                <a:gd name="T40" fmla="*/ 451 w 708"/>
                <a:gd name="T41" fmla="*/ 67 h 331"/>
                <a:gd name="T42" fmla="*/ 422 w 708"/>
                <a:gd name="T43" fmla="*/ 60 h 331"/>
                <a:gd name="T44" fmla="*/ 389 w 708"/>
                <a:gd name="T45" fmla="*/ 60 h 331"/>
                <a:gd name="T46" fmla="*/ 365 w 708"/>
                <a:gd name="T47" fmla="*/ 60 h 331"/>
                <a:gd name="T48" fmla="*/ 339 w 708"/>
                <a:gd name="T49" fmla="*/ 60 h 331"/>
                <a:gd name="T50" fmla="*/ 307 w 708"/>
                <a:gd name="T51" fmla="*/ 60 h 331"/>
                <a:gd name="T52" fmla="*/ 246 w 708"/>
                <a:gd name="T53" fmla="*/ 24 h 331"/>
                <a:gd name="T54" fmla="*/ 181 w 708"/>
                <a:gd name="T55" fmla="*/ 3 h 331"/>
                <a:gd name="T56" fmla="*/ 15 w 708"/>
                <a:gd name="T57" fmla="*/ 0 h 331"/>
                <a:gd name="T58" fmla="*/ 8 w 708"/>
                <a:gd name="T59" fmla="*/ 2 h 331"/>
                <a:gd name="T60" fmla="*/ 1 w 708"/>
                <a:gd name="T61" fmla="*/ 10 h 331"/>
                <a:gd name="T62" fmla="*/ 0 w 708"/>
                <a:gd name="T63" fmla="*/ 223 h 331"/>
                <a:gd name="T64" fmla="*/ 7 w 708"/>
                <a:gd name="T65" fmla="*/ 236 h 331"/>
                <a:gd name="T66" fmla="*/ 90 w 708"/>
                <a:gd name="T67" fmla="*/ 265 h 331"/>
                <a:gd name="T68" fmla="*/ 205 w 708"/>
                <a:gd name="T69" fmla="*/ 306 h 331"/>
                <a:gd name="T70" fmla="*/ 281 w 708"/>
                <a:gd name="T71" fmla="*/ 328 h 331"/>
                <a:gd name="T72" fmla="*/ 321 w 708"/>
                <a:gd name="T73" fmla="*/ 331 h 331"/>
                <a:gd name="T74" fmla="*/ 348 w 708"/>
                <a:gd name="T75" fmla="*/ 326 h 331"/>
                <a:gd name="T76" fmla="*/ 408 w 708"/>
                <a:gd name="T77" fmla="*/ 303 h 331"/>
                <a:gd name="T78" fmla="*/ 494 w 708"/>
                <a:gd name="T79" fmla="*/ 258 h 331"/>
                <a:gd name="T80" fmla="*/ 557 w 708"/>
                <a:gd name="T81" fmla="*/ 223 h 331"/>
                <a:gd name="T82" fmla="*/ 636 w 708"/>
                <a:gd name="T83" fmla="*/ 181 h 331"/>
                <a:gd name="T84" fmla="*/ 703 w 708"/>
                <a:gd name="T85" fmla="*/ 147 h 331"/>
                <a:gd name="T86" fmla="*/ 708 w 708"/>
                <a:gd name="T87" fmla="*/ 139 h 331"/>
                <a:gd name="T88" fmla="*/ 706 w 708"/>
                <a:gd name="T89" fmla="*/ 128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8" h="331">
                  <a:moveTo>
                    <a:pt x="704" y="125"/>
                  </a:moveTo>
                  <a:lnTo>
                    <a:pt x="695" y="117"/>
                  </a:lnTo>
                  <a:lnTo>
                    <a:pt x="688" y="110"/>
                  </a:lnTo>
                  <a:lnTo>
                    <a:pt x="680" y="104"/>
                  </a:lnTo>
                  <a:lnTo>
                    <a:pt x="673" y="99"/>
                  </a:lnTo>
                  <a:lnTo>
                    <a:pt x="665" y="95"/>
                  </a:lnTo>
                  <a:lnTo>
                    <a:pt x="658" y="91"/>
                  </a:lnTo>
                  <a:lnTo>
                    <a:pt x="650" y="89"/>
                  </a:lnTo>
                  <a:lnTo>
                    <a:pt x="644" y="87"/>
                  </a:lnTo>
                  <a:lnTo>
                    <a:pt x="636" y="85"/>
                  </a:lnTo>
                  <a:lnTo>
                    <a:pt x="629" y="85"/>
                  </a:lnTo>
                  <a:lnTo>
                    <a:pt x="622" y="85"/>
                  </a:lnTo>
                  <a:lnTo>
                    <a:pt x="615" y="85"/>
                  </a:lnTo>
                  <a:lnTo>
                    <a:pt x="599" y="88"/>
                  </a:lnTo>
                  <a:lnTo>
                    <a:pt x="583" y="91"/>
                  </a:lnTo>
                  <a:lnTo>
                    <a:pt x="507" y="115"/>
                  </a:lnTo>
                  <a:lnTo>
                    <a:pt x="505" y="127"/>
                  </a:lnTo>
                  <a:lnTo>
                    <a:pt x="502" y="137"/>
                  </a:lnTo>
                  <a:lnTo>
                    <a:pt x="497" y="147"/>
                  </a:lnTo>
                  <a:lnTo>
                    <a:pt x="491" y="157"/>
                  </a:lnTo>
                  <a:lnTo>
                    <a:pt x="486" y="162"/>
                  </a:lnTo>
                  <a:lnTo>
                    <a:pt x="480" y="166"/>
                  </a:lnTo>
                  <a:lnTo>
                    <a:pt x="474" y="171"/>
                  </a:lnTo>
                  <a:lnTo>
                    <a:pt x="468" y="175"/>
                  </a:lnTo>
                  <a:lnTo>
                    <a:pt x="460" y="177"/>
                  </a:lnTo>
                  <a:lnTo>
                    <a:pt x="453" y="179"/>
                  </a:lnTo>
                  <a:lnTo>
                    <a:pt x="445" y="180"/>
                  </a:lnTo>
                  <a:lnTo>
                    <a:pt x="437" y="180"/>
                  </a:lnTo>
                  <a:lnTo>
                    <a:pt x="422" y="180"/>
                  </a:lnTo>
                  <a:lnTo>
                    <a:pt x="226" y="180"/>
                  </a:lnTo>
                  <a:lnTo>
                    <a:pt x="223" y="180"/>
                  </a:lnTo>
                  <a:lnTo>
                    <a:pt x="220" y="179"/>
                  </a:lnTo>
                  <a:lnTo>
                    <a:pt x="218" y="178"/>
                  </a:lnTo>
                  <a:lnTo>
                    <a:pt x="216" y="176"/>
                  </a:lnTo>
                  <a:lnTo>
                    <a:pt x="214" y="174"/>
                  </a:lnTo>
                  <a:lnTo>
                    <a:pt x="213" y="172"/>
                  </a:lnTo>
                  <a:lnTo>
                    <a:pt x="211" y="169"/>
                  </a:lnTo>
                  <a:lnTo>
                    <a:pt x="211" y="165"/>
                  </a:lnTo>
                  <a:lnTo>
                    <a:pt x="211" y="162"/>
                  </a:lnTo>
                  <a:lnTo>
                    <a:pt x="213" y="160"/>
                  </a:lnTo>
                  <a:lnTo>
                    <a:pt x="214" y="157"/>
                  </a:lnTo>
                  <a:lnTo>
                    <a:pt x="216" y="155"/>
                  </a:lnTo>
                  <a:lnTo>
                    <a:pt x="218" y="154"/>
                  </a:lnTo>
                  <a:lnTo>
                    <a:pt x="220" y="151"/>
                  </a:lnTo>
                  <a:lnTo>
                    <a:pt x="223" y="151"/>
                  </a:lnTo>
                  <a:lnTo>
                    <a:pt x="226" y="150"/>
                  </a:lnTo>
                  <a:lnTo>
                    <a:pt x="422" y="150"/>
                  </a:lnTo>
                  <a:lnTo>
                    <a:pt x="437" y="150"/>
                  </a:lnTo>
                  <a:lnTo>
                    <a:pt x="446" y="149"/>
                  </a:lnTo>
                  <a:lnTo>
                    <a:pt x="455" y="147"/>
                  </a:lnTo>
                  <a:lnTo>
                    <a:pt x="461" y="143"/>
                  </a:lnTo>
                  <a:lnTo>
                    <a:pt x="468" y="137"/>
                  </a:lnTo>
                  <a:lnTo>
                    <a:pt x="472" y="130"/>
                  </a:lnTo>
                  <a:lnTo>
                    <a:pt x="475" y="122"/>
                  </a:lnTo>
                  <a:lnTo>
                    <a:pt x="477" y="114"/>
                  </a:lnTo>
                  <a:lnTo>
                    <a:pt x="478" y="105"/>
                  </a:lnTo>
                  <a:lnTo>
                    <a:pt x="478" y="102"/>
                  </a:lnTo>
                  <a:lnTo>
                    <a:pt x="478" y="98"/>
                  </a:lnTo>
                  <a:lnTo>
                    <a:pt x="474" y="90"/>
                  </a:lnTo>
                  <a:lnTo>
                    <a:pt x="470" y="84"/>
                  </a:lnTo>
                  <a:lnTo>
                    <a:pt x="465" y="76"/>
                  </a:lnTo>
                  <a:lnTo>
                    <a:pt x="458" y="71"/>
                  </a:lnTo>
                  <a:lnTo>
                    <a:pt x="451" y="67"/>
                  </a:lnTo>
                  <a:lnTo>
                    <a:pt x="442" y="63"/>
                  </a:lnTo>
                  <a:lnTo>
                    <a:pt x="432" y="61"/>
                  </a:lnTo>
                  <a:lnTo>
                    <a:pt x="422" y="60"/>
                  </a:lnTo>
                  <a:lnTo>
                    <a:pt x="410" y="60"/>
                  </a:lnTo>
                  <a:lnTo>
                    <a:pt x="399" y="60"/>
                  </a:lnTo>
                  <a:lnTo>
                    <a:pt x="389" y="60"/>
                  </a:lnTo>
                  <a:lnTo>
                    <a:pt x="381" y="60"/>
                  </a:lnTo>
                  <a:lnTo>
                    <a:pt x="373" y="60"/>
                  </a:lnTo>
                  <a:lnTo>
                    <a:pt x="365" y="60"/>
                  </a:lnTo>
                  <a:lnTo>
                    <a:pt x="356" y="60"/>
                  </a:lnTo>
                  <a:lnTo>
                    <a:pt x="349" y="60"/>
                  </a:lnTo>
                  <a:lnTo>
                    <a:pt x="339" y="60"/>
                  </a:lnTo>
                  <a:lnTo>
                    <a:pt x="330" y="60"/>
                  </a:lnTo>
                  <a:lnTo>
                    <a:pt x="320" y="60"/>
                  </a:lnTo>
                  <a:lnTo>
                    <a:pt x="307" y="60"/>
                  </a:lnTo>
                  <a:lnTo>
                    <a:pt x="288" y="46"/>
                  </a:lnTo>
                  <a:lnTo>
                    <a:pt x="267" y="33"/>
                  </a:lnTo>
                  <a:lnTo>
                    <a:pt x="246" y="24"/>
                  </a:lnTo>
                  <a:lnTo>
                    <a:pt x="225" y="15"/>
                  </a:lnTo>
                  <a:lnTo>
                    <a:pt x="204" y="9"/>
                  </a:lnTo>
                  <a:lnTo>
                    <a:pt x="181" y="3"/>
                  </a:lnTo>
                  <a:lnTo>
                    <a:pt x="159" y="1"/>
                  </a:lnTo>
                  <a:lnTo>
                    <a:pt x="136" y="0"/>
                  </a:lnTo>
                  <a:lnTo>
                    <a:pt x="15" y="0"/>
                  </a:lnTo>
                  <a:lnTo>
                    <a:pt x="13" y="0"/>
                  </a:lnTo>
                  <a:lnTo>
                    <a:pt x="10" y="1"/>
                  </a:lnTo>
                  <a:lnTo>
                    <a:pt x="8" y="2"/>
                  </a:lnTo>
                  <a:lnTo>
                    <a:pt x="4" y="4"/>
                  </a:lnTo>
                  <a:lnTo>
                    <a:pt x="3" y="7"/>
                  </a:lnTo>
                  <a:lnTo>
                    <a:pt x="1" y="10"/>
                  </a:lnTo>
                  <a:lnTo>
                    <a:pt x="1" y="12"/>
                  </a:lnTo>
                  <a:lnTo>
                    <a:pt x="0" y="15"/>
                  </a:lnTo>
                  <a:lnTo>
                    <a:pt x="0" y="223"/>
                  </a:lnTo>
                  <a:lnTo>
                    <a:pt x="1" y="229"/>
                  </a:lnTo>
                  <a:lnTo>
                    <a:pt x="3" y="232"/>
                  </a:lnTo>
                  <a:lnTo>
                    <a:pt x="7" y="236"/>
                  </a:lnTo>
                  <a:lnTo>
                    <a:pt x="11" y="238"/>
                  </a:lnTo>
                  <a:lnTo>
                    <a:pt x="53" y="252"/>
                  </a:lnTo>
                  <a:lnTo>
                    <a:pt x="90" y="265"/>
                  </a:lnTo>
                  <a:lnTo>
                    <a:pt x="123" y="277"/>
                  </a:lnTo>
                  <a:lnTo>
                    <a:pt x="154" y="288"/>
                  </a:lnTo>
                  <a:lnTo>
                    <a:pt x="205" y="306"/>
                  </a:lnTo>
                  <a:lnTo>
                    <a:pt x="247" y="320"/>
                  </a:lnTo>
                  <a:lnTo>
                    <a:pt x="264" y="325"/>
                  </a:lnTo>
                  <a:lnTo>
                    <a:pt x="281" y="328"/>
                  </a:lnTo>
                  <a:lnTo>
                    <a:pt x="296" y="331"/>
                  </a:lnTo>
                  <a:lnTo>
                    <a:pt x="311" y="331"/>
                  </a:lnTo>
                  <a:lnTo>
                    <a:pt x="321" y="331"/>
                  </a:lnTo>
                  <a:lnTo>
                    <a:pt x="329" y="329"/>
                  </a:lnTo>
                  <a:lnTo>
                    <a:pt x="338" y="328"/>
                  </a:lnTo>
                  <a:lnTo>
                    <a:pt x="348" y="326"/>
                  </a:lnTo>
                  <a:lnTo>
                    <a:pt x="366" y="321"/>
                  </a:lnTo>
                  <a:lnTo>
                    <a:pt x="386" y="313"/>
                  </a:lnTo>
                  <a:lnTo>
                    <a:pt x="408" y="303"/>
                  </a:lnTo>
                  <a:lnTo>
                    <a:pt x="433" y="291"/>
                  </a:lnTo>
                  <a:lnTo>
                    <a:pt x="461" y="276"/>
                  </a:lnTo>
                  <a:lnTo>
                    <a:pt x="494" y="258"/>
                  </a:lnTo>
                  <a:lnTo>
                    <a:pt x="513" y="247"/>
                  </a:lnTo>
                  <a:lnTo>
                    <a:pt x="533" y="236"/>
                  </a:lnTo>
                  <a:lnTo>
                    <a:pt x="557" y="223"/>
                  </a:lnTo>
                  <a:lnTo>
                    <a:pt x="581" y="210"/>
                  </a:lnTo>
                  <a:lnTo>
                    <a:pt x="607" y="196"/>
                  </a:lnTo>
                  <a:lnTo>
                    <a:pt x="636" y="181"/>
                  </a:lnTo>
                  <a:lnTo>
                    <a:pt x="667" y="165"/>
                  </a:lnTo>
                  <a:lnTo>
                    <a:pt x="699" y="149"/>
                  </a:lnTo>
                  <a:lnTo>
                    <a:pt x="703" y="147"/>
                  </a:lnTo>
                  <a:lnTo>
                    <a:pt x="705" y="145"/>
                  </a:lnTo>
                  <a:lnTo>
                    <a:pt x="707" y="142"/>
                  </a:lnTo>
                  <a:lnTo>
                    <a:pt x="708" y="139"/>
                  </a:lnTo>
                  <a:lnTo>
                    <a:pt x="708" y="134"/>
                  </a:lnTo>
                  <a:lnTo>
                    <a:pt x="707" y="131"/>
                  </a:lnTo>
                  <a:lnTo>
                    <a:pt x="706" y="128"/>
                  </a:lnTo>
                  <a:lnTo>
                    <a:pt x="704" y="125"/>
                  </a:lnTo>
                  <a:lnTo>
                    <a:pt x="704"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sp>
        <p:nvSpPr>
          <p:cNvPr id="34" name="Content Placeholder 2">
            <a:extLst>
              <a:ext uri="{FF2B5EF4-FFF2-40B4-BE49-F238E27FC236}">
                <a16:creationId xmlns:a16="http://schemas.microsoft.com/office/drawing/2014/main" id="{FC23BA1F-8C0E-4264-AF78-EA852D6E5236}"/>
              </a:ext>
            </a:extLst>
          </p:cNvPr>
          <p:cNvSpPr txBox="1">
            <a:spLocks/>
          </p:cNvSpPr>
          <p:nvPr/>
        </p:nvSpPr>
        <p:spPr>
          <a:xfrm>
            <a:off x="2861985" y="2038430"/>
            <a:ext cx="1736734" cy="441022"/>
          </a:xfrm>
          <a:prstGeom prst="rect">
            <a:avLst/>
          </a:prstGeom>
        </p:spPr>
        <p:txBody>
          <a:bodyPr wrap="square" lIns="0" tIns="0" rIns="0" bIns="0" anchor="t">
            <a:spAutoFit/>
          </a:bodyPr>
          <a:lstStyle>
            <a:defPPr>
              <a:defRPr lang="id-ID"/>
            </a:defPPr>
            <a:lvl1pPr algn="ctr">
              <a:defRPr sz="1400">
                <a:solidFill>
                  <a:schemeClr val="accent2"/>
                </a:solidFill>
                <a:latin typeface="Century Gothic"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300"/>
              </a:spcAft>
              <a:buClrTx/>
              <a:buSzTx/>
              <a:buFontTx/>
              <a:buNone/>
              <a:tabLst/>
              <a:defRPr/>
            </a:pPr>
            <a:r>
              <a:rPr lang="en-US" dirty="0">
                <a:solidFill>
                  <a:schemeClr val="tx1"/>
                </a:solidFill>
                <a:latin typeface="+mn-lt"/>
              </a:rPr>
              <a:t>Mailed check</a:t>
            </a:r>
          </a:p>
          <a:p>
            <a:pPr marL="0" marR="0" lvl="0" indent="0" algn="ctr" defTabSz="914400" rtl="0" eaLnBrk="1" fontAlgn="auto" latinLnBrk="0" hangingPunct="1">
              <a:lnSpc>
                <a:spcPct val="90000"/>
              </a:lnSpc>
              <a:spcBef>
                <a:spcPts val="0"/>
              </a:spcBef>
              <a:spcAft>
                <a:spcPts val="300"/>
              </a:spcAft>
              <a:buClrTx/>
              <a:buSzTx/>
              <a:buFontTx/>
              <a:buNone/>
              <a:tabLst/>
              <a:defRPr/>
            </a:pPr>
            <a:r>
              <a:rPr kumimoji="0" lang="en-US" sz="2400" b="0" i="0" u="none" strike="noStrike" kern="1200" cap="none" spc="0" normalizeH="0" baseline="0" noProof="0" dirty="0">
                <a:ln>
                  <a:noFill/>
                </a:ln>
                <a:solidFill>
                  <a:schemeClr val="tx1"/>
                </a:solidFill>
                <a:effectLst/>
                <a:uLnTx/>
                <a:uFillTx/>
                <a:latin typeface="+mn-lt"/>
                <a:ea typeface="+mn-ea"/>
                <a:cs typeface="+mn-cs"/>
              </a:rPr>
              <a:t>22,9 %</a:t>
            </a:r>
          </a:p>
        </p:txBody>
      </p:sp>
      <p:grpSp>
        <p:nvGrpSpPr>
          <p:cNvPr id="46" name="Group 45">
            <a:extLst>
              <a:ext uri="{FF2B5EF4-FFF2-40B4-BE49-F238E27FC236}">
                <a16:creationId xmlns:a16="http://schemas.microsoft.com/office/drawing/2014/main" id="{A6D33443-9BE1-44D8-A678-7FC835D7F0E0}"/>
              </a:ext>
            </a:extLst>
          </p:cNvPr>
          <p:cNvGrpSpPr/>
          <p:nvPr/>
        </p:nvGrpSpPr>
        <p:grpSpPr>
          <a:xfrm>
            <a:off x="3582350" y="1556159"/>
            <a:ext cx="296004" cy="245443"/>
            <a:chOff x="10456863" y="1954213"/>
            <a:chExt cx="276225" cy="238125"/>
          </a:xfrm>
          <a:solidFill>
            <a:schemeClr val="accent1"/>
          </a:solidFill>
        </p:grpSpPr>
        <p:sp>
          <p:nvSpPr>
            <p:cNvPr id="63" name="Freeform 3638">
              <a:extLst>
                <a:ext uri="{FF2B5EF4-FFF2-40B4-BE49-F238E27FC236}">
                  <a16:creationId xmlns:a16="http://schemas.microsoft.com/office/drawing/2014/main" id="{BB5C5835-418D-41D2-AC1A-9F74D8723843}"/>
                </a:ext>
              </a:extLst>
            </p:cNvPr>
            <p:cNvSpPr>
              <a:spLocks/>
            </p:cNvSpPr>
            <p:nvPr/>
          </p:nvSpPr>
          <p:spPr bwMode="auto">
            <a:xfrm>
              <a:off x="10467975" y="1954213"/>
              <a:ext cx="236537" cy="95250"/>
            </a:xfrm>
            <a:custGeom>
              <a:avLst/>
              <a:gdLst>
                <a:gd name="T0" fmla="*/ 599 w 599"/>
                <a:gd name="T1" fmla="*/ 11 h 241"/>
                <a:gd name="T2" fmla="*/ 591 w 599"/>
                <a:gd name="T3" fmla="*/ 6 h 241"/>
                <a:gd name="T4" fmla="*/ 582 w 599"/>
                <a:gd name="T5" fmla="*/ 2 h 241"/>
                <a:gd name="T6" fmla="*/ 572 w 599"/>
                <a:gd name="T7" fmla="*/ 0 h 241"/>
                <a:gd name="T8" fmla="*/ 560 w 599"/>
                <a:gd name="T9" fmla="*/ 0 h 241"/>
                <a:gd name="T10" fmla="*/ 46 w 599"/>
                <a:gd name="T11" fmla="*/ 0 h 241"/>
                <a:gd name="T12" fmla="*/ 33 w 599"/>
                <a:gd name="T13" fmla="*/ 1 h 241"/>
                <a:gd name="T14" fmla="*/ 21 w 599"/>
                <a:gd name="T15" fmla="*/ 3 h 241"/>
                <a:gd name="T16" fmla="*/ 9 w 599"/>
                <a:gd name="T17" fmla="*/ 7 h 241"/>
                <a:gd name="T18" fmla="*/ 0 w 599"/>
                <a:gd name="T19" fmla="*/ 14 h 241"/>
                <a:gd name="T20" fmla="*/ 315 w 599"/>
                <a:gd name="T21" fmla="*/ 241 h 241"/>
                <a:gd name="T22" fmla="*/ 599 w 599"/>
                <a:gd name="T23" fmla="*/ 1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9" h="241">
                  <a:moveTo>
                    <a:pt x="599" y="11"/>
                  </a:moveTo>
                  <a:lnTo>
                    <a:pt x="591" y="6"/>
                  </a:lnTo>
                  <a:lnTo>
                    <a:pt x="582" y="2"/>
                  </a:lnTo>
                  <a:lnTo>
                    <a:pt x="572" y="0"/>
                  </a:lnTo>
                  <a:lnTo>
                    <a:pt x="560" y="0"/>
                  </a:lnTo>
                  <a:lnTo>
                    <a:pt x="46" y="0"/>
                  </a:lnTo>
                  <a:lnTo>
                    <a:pt x="33" y="1"/>
                  </a:lnTo>
                  <a:lnTo>
                    <a:pt x="21" y="3"/>
                  </a:lnTo>
                  <a:lnTo>
                    <a:pt x="9" y="7"/>
                  </a:lnTo>
                  <a:lnTo>
                    <a:pt x="0" y="14"/>
                  </a:lnTo>
                  <a:lnTo>
                    <a:pt x="315" y="241"/>
                  </a:lnTo>
                  <a:lnTo>
                    <a:pt x="599"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64" name="Freeform 3639">
              <a:extLst>
                <a:ext uri="{FF2B5EF4-FFF2-40B4-BE49-F238E27FC236}">
                  <a16:creationId xmlns:a16="http://schemas.microsoft.com/office/drawing/2014/main" id="{B919657A-066C-4C64-B249-EF74942130F8}"/>
                </a:ext>
              </a:extLst>
            </p:cNvPr>
            <p:cNvSpPr>
              <a:spLocks/>
            </p:cNvSpPr>
            <p:nvPr/>
          </p:nvSpPr>
          <p:spPr bwMode="auto">
            <a:xfrm>
              <a:off x="10456863" y="1966913"/>
              <a:ext cx="257175" cy="158750"/>
            </a:xfrm>
            <a:custGeom>
              <a:avLst/>
              <a:gdLst>
                <a:gd name="T0" fmla="*/ 552 w 649"/>
                <a:gd name="T1" fmla="*/ 257 h 402"/>
                <a:gd name="T2" fmla="*/ 565 w 649"/>
                <a:gd name="T3" fmla="*/ 258 h 402"/>
                <a:gd name="T4" fmla="*/ 579 w 649"/>
                <a:gd name="T5" fmla="*/ 260 h 402"/>
                <a:gd name="T6" fmla="*/ 591 w 649"/>
                <a:gd name="T7" fmla="*/ 262 h 402"/>
                <a:gd name="T8" fmla="*/ 604 w 649"/>
                <a:gd name="T9" fmla="*/ 266 h 402"/>
                <a:gd name="T10" fmla="*/ 615 w 649"/>
                <a:gd name="T11" fmla="*/ 270 h 402"/>
                <a:gd name="T12" fmla="*/ 627 w 649"/>
                <a:gd name="T13" fmla="*/ 275 h 402"/>
                <a:gd name="T14" fmla="*/ 638 w 649"/>
                <a:gd name="T15" fmla="*/ 282 h 402"/>
                <a:gd name="T16" fmla="*/ 649 w 649"/>
                <a:gd name="T17" fmla="*/ 288 h 402"/>
                <a:gd name="T18" fmla="*/ 649 w 649"/>
                <a:gd name="T19" fmla="*/ 40 h 402"/>
                <a:gd name="T20" fmla="*/ 649 w 649"/>
                <a:gd name="T21" fmla="*/ 29 h 402"/>
                <a:gd name="T22" fmla="*/ 646 w 649"/>
                <a:gd name="T23" fmla="*/ 18 h 402"/>
                <a:gd name="T24" fmla="*/ 644 w 649"/>
                <a:gd name="T25" fmla="*/ 9 h 402"/>
                <a:gd name="T26" fmla="*/ 641 w 649"/>
                <a:gd name="T27" fmla="*/ 0 h 402"/>
                <a:gd name="T28" fmla="*/ 349 w 649"/>
                <a:gd name="T29" fmla="*/ 235 h 402"/>
                <a:gd name="T30" fmla="*/ 346 w 649"/>
                <a:gd name="T31" fmla="*/ 238 h 402"/>
                <a:gd name="T32" fmla="*/ 342 w 649"/>
                <a:gd name="T33" fmla="*/ 238 h 402"/>
                <a:gd name="T34" fmla="*/ 338 w 649"/>
                <a:gd name="T35" fmla="*/ 238 h 402"/>
                <a:gd name="T36" fmla="*/ 334 w 649"/>
                <a:gd name="T37" fmla="*/ 237 h 402"/>
                <a:gd name="T38" fmla="*/ 10 w 649"/>
                <a:gd name="T39" fmla="*/ 2 h 402"/>
                <a:gd name="T40" fmla="*/ 5 w 649"/>
                <a:gd name="T41" fmla="*/ 11 h 402"/>
                <a:gd name="T42" fmla="*/ 3 w 649"/>
                <a:gd name="T43" fmla="*/ 20 h 402"/>
                <a:gd name="T44" fmla="*/ 0 w 649"/>
                <a:gd name="T45" fmla="*/ 29 h 402"/>
                <a:gd name="T46" fmla="*/ 0 w 649"/>
                <a:gd name="T47" fmla="*/ 40 h 402"/>
                <a:gd name="T48" fmla="*/ 0 w 649"/>
                <a:gd name="T49" fmla="*/ 329 h 402"/>
                <a:gd name="T50" fmla="*/ 0 w 649"/>
                <a:gd name="T51" fmla="*/ 337 h 402"/>
                <a:gd name="T52" fmla="*/ 1 w 649"/>
                <a:gd name="T53" fmla="*/ 343 h 402"/>
                <a:gd name="T54" fmla="*/ 3 w 649"/>
                <a:gd name="T55" fmla="*/ 351 h 402"/>
                <a:gd name="T56" fmla="*/ 5 w 649"/>
                <a:gd name="T57" fmla="*/ 357 h 402"/>
                <a:gd name="T58" fmla="*/ 8 w 649"/>
                <a:gd name="T59" fmla="*/ 362 h 402"/>
                <a:gd name="T60" fmla="*/ 12 w 649"/>
                <a:gd name="T61" fmla="*/ 369 h 402"/>
                <a:gd name="T62" fmla="*/ 16 w 649"/>
                <a:gd name="T63" fmla="*/ 374 h 402"/>
                <a:gd name="T64" fmla="*/ 21 w 649"/>
                <a:gd name="T65" fmla="*/ 379 h 402"/>
                <a:gd name="T66" fmla="*/ 31 w 649"/>
                <a:gd name="T67" fmla="*/ 388 h 402"/>
                <a:gd name="T68" fmla="*/ 43 w 649"/>
                <a:gd name="T69" fmla="*/ 395 h 402"/>
                <a:gd name="T70" fmla="*/ 49 w 649"/>
                <a:gd name="T71" fmla="*/ 397 h 402"/>
                <a:gd name="T72" fmla="*/ 57 w 649"/>
                <a:gd name="T73" fmla="*/ 400 h 402"/>
                <a:gd name="T74" fmla="*/ 63 w 649"/>
                <a:gd name="T75" fmla="*/ 401 h 402"/>
                <a:gd name="T76" fmla="*/ 71 w 649"/>
                <a:gd name="T77" fmla="*/ 402 h 402"/>
                <a:gd name="T78" fmla="*/ 387 w 649"/>
                <a:gd name="T79" fmla="*/ 402 h 402"/>
                <a:gd name="T80" fmla="*/ 389 w 649"/>
                <a:gd name="T81" fmla="*/ 387 h 402"/>
                <a:gd name="T82" fmla="*/ 393 w 649"/>
                <a:gd name="T83" fmla="*/ 373 h 402"/>
                <a:gd name="T84" fmla="*/ 398 w 649"/>
                <a:gd name="T85" fmla="*/ 359 h 402"/>
                <a:gd name="T86" fmla="*/ 405 w 649"/>
                <a:gd name="T87" fmla="*/ 345 h 402"/>
                <a:gd name="T88" fmla="*/ 412 w 649"/>
                <a:gd name="T89" fmla="*/ 332 h 402"/>
                <a:gd name="T90" fmla="*/ 421 w 649"/>
                <a:gd name="T91" fmla="*/ 320 h 402"/>
                <a:gd name="T92" fmla="*/ 432 w 649"/>
                <a:gd name="T93" fmla="*/ 310 h 402"/>
                <a:gd name="T94" fmla="*/ 442 w 649"/>
                <a:gd name="T95" fmla="*/ 300 h 402"/>
                <a:gd name="T96" fmla="*/ 453 w 649"/>
                <a:gd name="T97" fmla="*/ 291 h 402"/>
                <a:gd name="T98" fmla="*/ 466 w 649"/>
                <a:gd name="T99" fmla="*/ 282 h 402"/>
                <a:gd name="T100" fmla="*/ 479 w 649"/>
                <a:gd name="T101" fmla="*/ 275 h 402"/>
                <a:gd name="T102" fmla="*/ 492 w 649"/>
                <a:gd name="T103" fmla="*/ 269 h 402"/>
                <a:gd name="T104" fmla="*/ 506 w 649"/>
                <a:gd name="T105" fmla="*/ 264 h 402"/>
                <a:gd name="T106" fmla="*/ 522 w 649"/>
                <a:gd name="T107" fmla="*/ 261 h 402"/>
                <a:gd name="T108" fmla="*/ 537 w 649"/>
                <a:gd name="T109" fmla="*/ 258 h 402"/>
                <a:gd name="T110" fmla="*/ 552 w 649"/>
                <a:gd name="T111" fmla="*/ 257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9" h="402">
                  <a:moveTo>
                    <a:pt x="552" y="257"/>
                  </a:moveTo>
                  <a:lnTo>
                    <a:pt x="565" y="258"/>
                  </a:lnTo>
                  <a:lnTo>
                    <a:pt x="579" y="260"/>
                  </a:lnTo>
                  <a:lnTo>
                    <a:pt x="591" y="262"/>
                  </a:lnTo>
                  <a:lnTo>
                    <a:pt x="604" y="266"/>
                  </a:lnTo>
                  <a:lnTo>
                    <a:pt x="615" y="270"/>
                  </a:lnTo>
                  <a:lnTo>
                    <a:pt x="627" y="275"/>
                  </a:lnTo>
                  <a:lnTo>
                    <a:pt x="638" y="282"/>
                  </a:lnTo>
                  <a:lnTo>
                    <a:pt x="649" y="288"/>
                  </a:lnTo>
                  <a:lnTo>
                    <a:pt x="649" y="40"/>
                  </a:lnTo>
                  <a:lnTo>
                    <a:pt x="649" y="29"/>
                  </a:lnTo>
                  <a:lnTo>
                    <a:pt x="646" y="18"/>
                  </a:lnTo>
                  <a:lnTo>
                    <a:pt x="644" y="9"/>
                  </a:lnTo>
                  <a:lnTo>
                    <a:pt x="641" y="0"/>
                  </a:lnTo>
                  <a:lnTo>
                    <a:pt x="349" y="235"/>
                  </a:lnTo>
                  <a:lnTo>
                    <a:pt x="346" y="238"/>
                  </a:lnTo>
                  <a:lnTo>
                    <a:pt x="342" y="238"/>
                  </a:lnTo>
                  <a:lnTo>
                    <a:pt x="338" y="238"/>
                  </a:lnTo>
                  <a:lnTo>
                    <a:pt x="334" y="237"/>
                  </a:lnTo>
                  <a:lnTo>
                    <a:pt x="10" y="2"/>
                  </a:lnTo>
                  <a:lnTo>
                    <a:pt x="5" y="11"/>
                  </a:lnTo>
                  <a:lnTo>
                    <a:pt x="3" y="20"/>
                  </a:lnTo>
                  <a:lnTo>
                    <a:pt x="0" y="29"/>
                  </a:lnTo>
                  <a:lnTo>
                    <a:pt x="0" y="40"/>
                  </a:lnTo>
                  <a:lnTo>
                    <a:pt x="0" y="329"/>
                  </a:lnTo>
                  <a:lnTo>
                    <a:pt x="0" y="337"/>
                  </a:lnTo>
                  <a:lnTo>
                    <a:pt x="1" y="343"/>
                  </a:lnTo>
                  <a:lnTo>
                    <a:pt x="3" y="351"/>
                  </a:lnTo>
                  <a:lnTo>
                    <a:pt x="5" y="357"/>
                  </a:lnTo>
                  <a:lnTo>
                    <a:pt x="8" y="362"/>
                  </a:lnTo>
                  <a:lnTo>
                    <a:pt x="12" y="369"/>
                  </a:lnTo>
                  <a:lnTo>
                    <a:pt x="16" y="374"/>
                  </a:lnTo>
                  <a:lnTo>
                    <a:pt x="21" y="379"/>
                  </a:lnTo>
                  <a:lnTo>
                    <a:pt x="31" y="388"/>
                  </a:lnTo>
                  <a:lnTo>
                    <a:pt x="43" y="395"/>
                  </a:lnTo>
                  <a:lnTo>
                    <a:pt x="49" y="397"/>
                  </a:lnTo>
                  <a:lnTo>
                    <a:pt x="57" y="400"/>
                  </a:lnTo>
                  <a:lnTo>
                    <a:pt x="63" y="401"/>
                  </a:lnTo>
                  <a:lnTo>
                    <a:pt x="71" y="402"/>
                  </a:lnTo>
                  <a:lnTo>
                    <a:pt x="387" y="402"/>
                  </a:lnTo>
                  <a:lnTo>
                    <a:pt x="389" y="387"/>
                  </a:lnTo>
                  <a:lnTo>
                    <a:pt x="393" y="373"/>
                  </a:lnTo>
                  <a:lnTo>
                    <a:pt x="398" y="359"/>
                  </a:lnTo>
                  <a:lnTo>
                    <a:pt x="405" y="345"/>
                  </a:lnTo>
                  <a:lnTo>
                    <a:pt x="412" y="332"/>
                  </a:lnTo>
                  <a:lnTo>
                    <a:pt x="421" y="320"/>
                  </a:lnTo>
                  <a:lnTo>
                    <a:pt x="432" y="310"/>
                  </a:lnTo>
                  <a:lnTo>
                    <a:pt x="442" y="300"/>
                  </a:lnTo>
                  <a:lnTo>
                    <a:pt x="453" y="291"/>
                  </a:lnTo>
                  <a:lnTo>
                    <a:pt x="466" y="282"/>
                  </a:lnTo>
                  <a:lnTo>
                    <a:pt x="479" y="275"/>
                  </a:lnTo>
                  <a:lnTo>
                    <a:pt x="492" y="269"/>
                  </a:lnTo>
                  <a:lnTo>
                    <a:pt x="506" y="264"/>
                  </a:lnTo>
                  <a:lnTo>
                    <a:pt x="522" y="261"/>
                  </a:lnTo>
                  <a:lnTo>
                    <a:pt x="537" y="258"/>
                  </a:lnTo>
                  <a:lnTo>
                    <a:pt x="552" y="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65" name="Freeform 3640">
              <a:extLst>
                <a:ext uri="{FF2B5EF4-FFF2-40B4-BE49-F238E27FC236}">
                  <a16:creationId xmlns:a16="http://schemas.microsoft.com/office/drawing/2014/main" id="{DB0B9B61-59AB-4F7E-BE43-6AEC4B8698BF}"/>
                </a:ext>
              </a:extLst>
            </p:cNvPr>
            <p:cNvSpPr>
              <a:spLocks noEditPoints="1"/>
            </p:cNvSpPr>
            <p:nvPr/>
          </p:nvSpPr>
          <p:spPr bwMode="auto">
            <a:xfrm>
              <a:off x="10618788" y="2078038"/>
              <a:ext cx="114300" cy="114300"/>
            </a:xfrm>
            <a:custGeom>
              <a:avLst/>
              <a:gdLst>
                <a:gd name="T0" fmla="*/ 111 w 287"/>
                <a:gd name="T1" fmla="*/ 253 h 289"/>
                <a:gd name="T2" fmla="*/ 77 w 287"/>
                <a:gd name="T3" fmla="*/ 235 h 289"/>
                <a:gd name="T4" fmla="*/ 66 w 287"/>
                <a:gd name="T5" fmla="*/ 242 h 289"/>
                <a:gd name="T6" fmla="*/ 48 w 287"/>
                <a:gd name="T7" fmla="*/ 242 h 289"/>
                <a:gd name="T8" fmla="*/ 107 w 287"/>
                <a:gd name="T9" fmla="*/ 181 h 289"/>
                <a:gd name="T10" fmla="*/ 119 w 287"/>
                <a:gd name="T11" fmla="*/ 192 h 289"/>
                <a:gd name="T12" fmla="*/ 107 w 287"/>
                <a:gd name="T13" fmla="*/ 204 h 289"/>
                <a:gd name="T14" fmla="*/ 100 w 287"/>
                <a:gd name="T15" fmla="*/ 220 h 289"/>
                <a:gd name="T16" fmla="*/ 133 w 287"/>
                <a:gd name="T17" fmla="*/ 232 h 289"/>
                <a:gd name="T18" fmla="*/ 165 w 287"/>
                <a:gd name="T19" fmla="*/ 228 h 289"/>
                <a:gd name="T20" fmla="*/ 193 w 287"/>
                <a:gd name="T21" fmla="*/ 214 h 289"/>
                <a:gd name="T22" fmla="*/ 214 w 287"/>
                <a:gd name="T23" fmla="*/ 190 h 289"/>
                <a:gd name="T24" fmla="*/ 223 w 287"/>
                <a:gd name="T25" fmla="*/ 159 h 289"/>
                <a:gd name="T26" fmla="*/ 245 w 287"/>
                <a:gd name="T27" fmla="*/ 172 h 289"/>
                <a:gd name="T28" fmla="*/ 229 w 287"/>
                <a:gd name="T29" fmla="*/ 210 h 289"/>
                <a:gd name="T30" fmla="*/ 201 w 287"/>
                <a:gd name="T31" fmla="*/ 238 h 289"/>
                <a:gd name="T32" fmla="*/ 163 w 287"/>
                <a:gd name="T33" fmla="*/ 254 h 289"/>
                <a:gd name="T34" fmla="*/ 39 w 287"/>
                <a:gd name="T35" fmla="*/ 138 h 289"/>
                <a:gd name="T36" fmla="*/ 52 w 287"/>
                <a:gd name="T37" fmla="*/ 98 h 289"/>
                <a:gd name="T38" fmla="*/ 78 w 287"/>
                <a:gd name="T39" fmla="*/ 66 h 289"/>
                <a:gd name="T40" fmla="*/ 114 w 287"/>
                <a:gd name="T41" fmla="*/ 47 h 289"/>
                <a:gd name="T42" fmla="*/ 155 w 287"/>
                <a:gd name="T43" fmla="*/ 43 h 289"/>
                <a:gd name="T44" fmla="*/ 188 w 287"/>
                <a:gd name="T45" fmla="*/ 54 h 289"/>
                <a:gd name="T46" fmla="*/ 211 w 287"/>
                <a:gd name="T47" fmla="*/ 51 h 289"/>
                <a:gd name="T48" fmla="*/ 223 w 287"/>
                <a:gd name="T49" fmla="*/ 39 h 289"/>
                <a:gd name="T50" fmla="*/ 235 w 287"/>
                <a:gd name="T51" fmla="*/ 51 h 289"/>
                <a:gd name="T52" fmla="*/ 165 w 287"/>
                <a:gd name="T53" fmla="*/ 118 h 289"/>
                <a:gd name="T54" fmla="*/ 165 w 287"/>
                <a:gd name="T55" fmla="*/ 101 h 289"/>
                <a:gd name="T56" fmla="*/ 197 w 287"/>
                <a:gd name="T57" fmla="*/ 91 h 289"/>
                <a:gd name="T58" fmla="*/ 172 w 287"/>
                <a:gd name="T59" fmla="*/ 72 h 289"/>
                <a:gd name="T60" fmla="*/ 137 w 287"/>
                <a:gd name="T61" fmla="*/ 66 h 289"/>
                <a:gd name="T62" fmla="*/ 106 w 287"/>
                <a:gd name="T63" fmla="*/ 77 h 289"/>
                <a:gd name="T64" fmla="*/ 82 w 287"/>
                <a:gd name="T65" fmla="*/ 96 h 289"/>
                <a:gd name="T66" fmla="*/ 68 w 287"/>
                <a:gd name="T67" fmla="*/ 124 h 289"/>
                <a:gd name="T68" fmla="*/ 39 w 287"/>
                <a:gd name="T69" fmla="*/ 149 h 289"/>
                <a:gd name="T70" fmla="*/ 101 w 287"/>
                <a:gd name="T71" fmla="*/ 6 h 289"/>
                <a:gd name="T72" fmla="*/ 52 w 287"/>
                <a:gd name="T73" fmla="*/ 33 h 289"/>
                <a:gd name="T74" fmla="*/ 16 w 287"/>
                <a:gd name="T75" fmla="*/ 75 h 289"/>
                <a:gd name="T76" fmla="*/ 0 w 287"/>
                <a:gd name="T77" fmla="*/ 129 h 289"/>
                <a:gd name="T78" fmla="*/ 6 w 287"/>
                <a:gd name="T79" fmla="*/ 187 h 289"/>
                <a:gd name="T80" fmla="*/ 32 w 287"/>
                <a:gd name="T81" fmla="*/ 236 h 289"/>
                <a:gd name="T82" fmla="*/ 75 w 287"/>
                <a:gd name="T83" fmla="*/ 271 h 289"/>
                <a:gd name="T84" fmla="*/ 129 w 287"/>
                <a:gd name="T85" fmla="*/ 287 h 289"/>
                <a:gd name="T86" fmla="*/ 186 w 287"/>
                <a:gd name="T87" fmla="*/ 282 h 289"/>
                <a:gd name="T88" fmla="*/ 235 w 287"/>
                <a:gd name="T89" fmla="*/ 255 h 289"/>
                <a:gd name="T90" fmla="*/ 270 w 287"/>
                <a:gd name="T91" fmla="*/ 213 h 289"/>
                <a:gd name="T92" fmla="*/ 287 w 287"/>
                <a:gd name="T93" fmla="*/ 159 h 289"/>
                <a:gd name="T94" fmla="*/ 281 w 287"/>
                <a:gd name="T95" fmla="*/ 101 h 289"/>
                <a:gd name="T96" fmla="*/ 255 w 287"/>
                <a:gd name="T97" fmla="*/ 52 h 289"/>
                <a:gd name="T98" fmla="*/ 213 w 287"/>
                <a:gd name="T99" fmla="*/ 18 h 289"/>
                <a:gd name="T100" fmla="*/ 159 w 287"/>
                <a:gd name="T101" fmla="*/ 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7" h="289">
                  <a:moveTo>
                    <a:pt x="142" y="256"/>
                  </a:moveTo>
                  <a:lnTo>
                    <a:pt x="132" y="256"/>
                  </a:lnTo>
                  <a:lnTo>
                    <a:pt x="122" y="254"/>
                  </a:lnTo>
                  <a:lnTo>
                    <a:pt x="111" y="253"/>
                  </a:lnTo>
                  <a:lnTo>
                    <a:pt x="102" y="249"/>
                  </a:lnTo>
                  <a:lnTo>
                    <a:pt x="93" y="245"/>
                  </a:lnTo>
                  <a:lnTo>
                    <a:pt x="84" y="240"/>
                  </a:lnTo>
                  <a:lnTo>
                    <a:pt x="77" y="235"/>
                  </a:lnTo>
                  <a:lnTo>
                    <a:pt x="69" y="228"/>
                  </a:lnTo>
                  <a:lnTo>
                    <a:pt x="69" y="233"/>
                  </a:lnTo>
                  <a:lnTo>
                    <a:pt x="69" y="238"/>
                  </a:lnTo>
                  <a:lnTo>
                    <a:pt x="66" y="242"/>
                  </a:lnTo>
                  <a:lnTo>
                    <a:pt x="62" y="245"/>
                  </a:lnTo>
                  <a:lnTo>
                    <a:pt x="57" y="246"/>
                  </a:lnTo>
                  <a:lnTo>
                    <a:pt x="52" y="245"/>
                  </a:lnTo>
                  <a:lnTo>
                    <a:pt x="48" y="242"/>
                  </a:lnTo>
                  <a:lnTo>
                    <a:pt x="46" y="238"/>
                  </a:lnTo>
                  <a:lnTo>
                    <a:pt x="46" y="233"/>
                  </a:lnTo>
                  <a:lnTo>
                    <a:pt x="46" y="181"/>
                  </a:lnTo>
                  <a:lnTo>
                    <a:pt x="107" y="181"/>
                  </a:lnTo>
                  <a:lnTo>
                    <a:pt x="111" y="181"/>
                  </a:lnTo>
                  <a:lnTo>
                    <a:pt x="115" y="183"/>
                  </a:lnTo>
                  <a:lnTo>
                    <a:pt x="118" y="187"/>
                  </a:lnTo>
                  <a:lnTo>
                    <a:pt x="119" y="192"/>
                  </a:lnTo>
                  <a:lnTo>
                    <a:pt x="118" y="197"/>
                  </a:lnTo>
                  <a:lnTo>
                    <a:pt x="115" y="201"/>
                  </a:lnTo>
                  <a:lnTo>
                    <a:pt x="111" y="204"/>
                  </a:lnTo>
                  <a:lnTo>
                    <a:pt x="107" y="204"/>
                  </a:lnTo>
                  <a:lnTo>
                    <a:pt x="79" y="204"/>
                  </a:lnTo>
                  <a:lnTo>
                    <a:pt x="86" y="210"/>
                  </a:lnTo>
                  <a:lnTo>
                    <a:pt x="92" y="215"/>
                  </a:lnTo>
                  <a:lnTo>
                    <a:pt x="100" y="220"/>
                  </a:lnTo>
                  <a:lnTo>
                    <a:pt x="107" y="224"/>
                  </a:lnTo>
                  <a:lnTo>
                    <a:pt x="115" y="228"/>
                  </a:lnTo>
                  <a:lnTo>
                    <a:pt x="124" y="231"/>
                  </a:lnTo>
                  <a:lnTo>
                    <a:pt x="133" y="232"/>
                  </a:lnTo>
                  <a:lnTo>
                    <a:pt x="142" y="232"/>
                  </a:lnTo>
                  <a:lnTo>
                    <a:pt x="150" y="232"/>
                  </a:lnTo>
                  <a:lnTo>
                    <a:pt x="157" y="231"/>
                  </a:lnTo>
                  <a:lnTo>
                    <a:pt x="165" y="228"/>
                  </a:lnTo>
                  <a:lnTo>
                    <a:pt x="173" y="226"/>
                  </a:lnTo>
                  <a:lnTo>
                    <a:pt x="181" y="223"/>
                  </a:lnTo>
                  <a:lnTo>
                    <a:pt x="187" y="218"/>
                  </a:lnTo>
                  <a:lnTo>
                    <a:pt x="193" y="214"/>
                  </a:lnTo>
                  <a:lnTo>
                    <a:pt x="200" y="208"/>
                  </a:lnTo>
                  <a:lnTo>
                    <a:pt x="205" y="202"/>
                  </a:lnTo>
                  <a:lnTo>
                    <a:pt x="209" y="196"/>
                  </a:lnTo>
                  <a:lnTo>
                    <a:pt x="214" y="190"/>
                  </a:lnTo>
                  <a:lnTo>
                    <a:pt x="217" y="182"/>
                  </a:lnTo>
                  <a:lnTo>
                    <a:pt x="220" y="174"/>
                  </a:lnTo>
                  <a:lnTo>
                    <a:pt x="222" y="167"/>
                  </a:lnTo>
                  <a:lnTo>
                    <a:pt x="223" y="159"/>
                  </a:lnTo>
                  <a:lnTo>
                    <a:pt x="223" y="150"/>
                  </a:lnTo>
                  <a:lnTo>
                    <a:pt x="247" y="150"/>
                  </a:lnTo>
                  <a:lnTo>
                    <a:pt x="247" y="161"/>
                  </a:lnTo>
                  <a:lnTo>
                    <a:pt x="245" y="172"/>
                  </a:lnTo>
                  <a:lnTo>
                    <a:pt x="242" y="182"/>
                  </a:lnTo>
                  <a:lnTo>
                    <a:pt x="240" y="191"/>
                  </a:lnTo>
                  <a:lnTo>
                    <a:pt x="235" y="201"/>
                  </a:lnTo>
                  <a:lnTo>
                    <a:pt x="229" y="210"/>
                  </a:lnTo>
                  <a:lnTo>
                    <a:pt x="223" y="218"/>
                  </a:lnTo>
                  <a:lnTo>
                    <a:pt x="217" y="226"/>
                  </a:lnTo>
                  <a:lnTo>
                    <a:pt x="209" y="232"/>
                  </a:lnTo>
                  <a:lnTo>
                    <a:pt x="201" y="238"/>
                  </a:lnTo>
                  <a:lnTo>
                    <a:pt x="192" y="244"/>
                  </a:lnTo>
                  <a:lnTo>
                    <a:pt x="183" y="247"/>
                  </a:lnTo>
                  <a:lnTo>
                    <a:pt x="173" y="251"/>
                  </a:lnTo>
                  <a:lnTo>
                    <a:pt x="163" y="254"/>
                  </a:lnTo>
                  <a:lnTo>
                    <a:pt x="152" y="256"/>
                  </a:lnTo>
                  <a:lnTo>
                    <a:pt x="142" y="256"/>
                  </a:lnTo>
                  <a:close/>
                  <a:moveTo>
                    <a:pt x="39" y="149"/>
                  </a:moveTo>
                  <a:lnTo>
                    <a:pt x="39" y="138"/>
                  </a:lnTo>
                  <a:lnTo>
                    <a:pt x="42" y="127"/>
                  </a:lnTo>
                  <a:lnTo>
                    <a:pt x="44" y="116"/>
                  </a:lnTo>
                  <a:lnTo>
                    <a:pt x="48" y="107"/>
                  </a:lnTo>
                  <a:lnTo>
                    <a:pt x="52" y="98"/>
                  </a:lnTo>
                  <a:lnTo>
                    <a:pt x="57" y="89"/>
                  </a:lnTo>
                  <a:lnTo>
                    <a:pt x="64" y="80"/>
                  </a:lnTo>
                  <a:lnTo>
                    <a:pt x="70" y="74"/>
                  </a:lnTo>
                  <a:lnTo>
                    <a:pt x="78" y="66"/>
                  </a:lnTo>
                  <a:lnTo>
                    <a:pt x="87" y="61"/>
                  </a:lnTo>
                  <a:lnTo>
                    <a:pt x="95" y="55"/>
                  </a:lnTo>
                  <a:lnTo>
                    <a:pt x="105" y="51"/>
                  </a:lnTo>
                  <a:lnTo>
                    <a:pt x="114" y="47"/>
                  </a:lnTo>
                  <a:lnTo>
                    <a:pt x="124" y="45"/>
                  </a:lnTo>
                  <a:lnTo>
                    <a:pt x="134" y="43"/>
                  </a:lnTo>
                  <a:lnTo>
                    <a:pt x="146" y="42"/>
                  </a:lnTo>
                  <a:lnTo>
                    <a:pt x="155" y="43"/>
                  </a:lnTo>
                  <a:lnTo>
                    <a:pt x="164" y="45"/>
                  </a:lnTo>
                  <a:lnTo>
                    <a:pt x="173" y="47"/>
                  </a:lnTo>
                  <a:lnTo>
                    <a:pt x="181" y="50"/>
                  </a:lnTo>
                  <a:lnTo>
                    <a:pt x="188" y="54"/>
                  </a:lnTo>
                  <a:lnTo>
                    <a:pt x="196" y="59"/>
                  </a:lnTo>
                  <a:lnTo>
                    <a:pt x="204" y="65"/>
                  </a:lnTo>
                  <a:lnTo>
                    <a:pt x="211" y="72"/>
                  </a:lnTo>
                  <a:lnTo>
                    <a:pt x="211" y="51"/>
                  </a:lnTo>
                  <a:lnTo>
                    <a:pt x="211" y="47"/>
                  </a:lnTo>
                  <a:lnTo>
                    <a:pt x="214" y="43"/>
                  </a:lnTo>
                  <a:lnTo>
                    <a:pt x="218" y="41"/>
                  </a:lnTo>
                  <a:lnTo>
                    <a:pt x="223" y="39"/>
                  </a:lnTo>
                  <a:lnTo>
                    <a:pt x="228" y="41"/>
                  </a:lnTo>
                  <a:lnTo>
                    <a:pt x="232" y="43"/>
                  </a:lnTo>
                  <a:lnTo>
                    <a:pt x="235" y="47"/>
                  </a:lnTo>
                  <a:lnTo>
                    <a:pt x="235" y="51"/>
                  </a:lnTo>
                  <a:lnTo>
                    <a:pt x="235" y="122"/>
                  </a:lnTo>
                  <a:lnTo>
                    <a:pt x="173" y="122"/>
                  </a:lnTo>
                  <a:lnTo>
                    <a:pt x="169" y="120"/>
                  </a:lnTo>
                  <a:lnTo>
                    <a:pt x="165" y="118"/>
                  </a:lnTo>
                  <a:lnTo>
                    <a:pt x="163" y="114"/>
                  </a:lnTo>
                  <a:lnTo>
                    <a:pt x="161" y="109"/>
                  </a:lnTo>
                  <a:lnTo>
                    <a:pt x="163" y="105"/>
                  </a:lnTo>
                  <a:lnTo>
                    <a:pt x="165" y="101"/>
                  </a:lnTo>
                  <a:lnTo>
                    <a:pt x="169" y="98"/>
                  </a:lnTo>
                  <a:lnTo>
                    <a:pt x="173" y="97"/>
                  </a:lnTo>
                  <a:lnTo>
                    <a:pt x="201" y="97"/>
                  </a:lnTo>
                  <a:lnTo>
                    <a:pt x="197" y="91"/>
                  </a:lnTo>
                  <a:lnTo>
                    <a:pt x="191" y="86"/>
                  </a:lnTo>
                  <a:lnTo>
                    <a:pt x="186" y="80"/>
                  </a:lnTo>
                  <a:lnTo>
                    <a:pt x="179" y="75"/>
                  </a:lnTo>
                  <a:lnTo>
                    <a:pt x="172" y="72"/>
                  </a:lnTo>
                  <a:lnTo>
                    <a:pt x="164" y="69"/>
                  </a:lnTo>
                  <a:lnTo>
                    <a:pt x="155" y="68"/>
                  </a:lnTo>
                  <a:lnTo>
                    <a:pt x="146" y="66"/>
                  </a:lnTo>
                  <a:lnTo>
                    <a:pt x="137" y="66"/>
                  </a:lnTo>
                  <a:lnTo>
                    <a:pt x="129" y="68"/>
                  </a:lnTo>
                  <a:lnTo>
                    <a:pt x="122" y="70"/>
                  </a:lnTo>
                  <a:lnTo>
                    <a:pt x="114" y="73"/>
                  </a:lnTo>
                  <a:lnTo>
                    <a:pt x="106" y="77"/>
                  </a:lnTo>
                  <a:lnTo>
                    <a:pt x="100" y="80"/>
                  </a:lnTo>
                  <a:lnTo>
                    <a:pt x="93" y="86"/>
                  </a:lnTo>
                  <a:lnTo>
                    <a:pt x="88" y="91"/>
                  </a:lnTo>
                  <a:lnTo>
                    <a:pt x="82" y="96"/>
                  </a:lnTo>
                  <a:lnTo>
                    <a:pt x="78" y="102"/>
                  </a:lnTo>
                  <a:lnTo>
                    <a:pt x="74" y="110"/>
                  </a:lnTo>
                  <a:lnTo>
                    <a:pt x="70" y="116"/>
                  </a:lnTo>
                  <a:lnTo>
                    <a:pt x="68" y="124"/>
                  </a:lnTo>
                  <a:lnTo>
                    <a:pt x="65" y="132"/>
                  </a:lnTo>
                  <a:lnTo>
                    <a:pt x="64" y="141"/>
                  </a:lnTo>
                  <a:lnTo>
                    <a:pt x="64" y="149"/>
                  </a:lnTo>
                  <a:lnTo>
                    <a:pt x="39" y="149"/>
                  </a:lnTo>
                  <a:close/>
                  <a:moveTo>
                    <a:pt x="143" y="0"/>
                  </a:moveTo>
                  <a:lnTo>
                    <a:pt x="129" y="1"/>
                  </a:lnTo>
                  <a:lnTo>
                    <a:pt x="114" y="2"/>
                  </a:lnTo>
                  <a:lnTo>
                    <a:pt x="101" y="6"/>
                  </a:lnTo>
                  <a:lnTo>
                    <a:pt x="87" y="11"/>
                  </a:lnTo>
                  <a:lnTo>
                    <a:pt x="75" y="18"/>
                  </a:lnTo>
                  <a:lnTo>
                    <a:pt x="62" y="24"/>
                  </a:lnTo>
                  <a:lnTo>
                    <a:pt x="52" y="33"/>
                  </a:lnTo>
                  <a:lnTo>
                    <a:pt x="42" y="42"/>
                  </a:lnTo>
                  <a:lnTo>
                    <a:pt x="32" y="52"/>
                  </a:lnTo>
                  <a:lnTo>
                    <a:pt x="24" y="64"/>
                  </a:lnTo>
                  <a:lnTo>
                    <a:pt x="16" y="75"/>
                  </a:lnTo>
                  <a:lnTo>
                    <a:pt x="11" y="88"/>
                  </a:lnTo>
                  <a:lnTo>
                    <a:pt x="6" y="101"/>
                  </a:lnTo>
                  <a:lnTo>
                    <a:pt x="2" y="115"/>
                  </a:lnTo>
                  <a:lnTo>
                    <a:pt x="0" y="129"/>
                  </a:lnTo>
                  <a:lnTo>
                    <a:pt x="0" y="143"/>
                  </a:lnTo>
                  <a:lnTo>
                    <a:pt x="0" y="159"/>
                  </a:lnTo>
                  <a:lnTo>
                    <a:pt x="2" y="173"/>
                  </a:lnTo>
                  <a:lnTo>
                    <a:pt x="6" y="187"/>
                  </a:lnTo>
                  <a:lnTo>
                    <a:pt x="11" y="200"/>
                  </a:lnTo>
                  <a:lnTo>
                    <a:pt x="16" y="213"/>
                  </a:lnTo>
                  <a:lnTo>
                    <a:pt x="24" y="224"/>
                  </a:lnTo>
                  <a:lnTo>
                    <a:pt x="32" y="236"/>
                  </a:lnTo>
                  <a:lnTo>
                    <a:pt x="42" y="246"/>
                  </a:lnTo>
                  <a:lnTo>
                    <a:pt x="52" y="255"/>
                  </a:lnTo>
                  <a:lnTo>
                    <a:pt x="62" y="263"/>
                  </a:lnTo>
                  <a:lnTo>
                    <a:pt x="75" y="271"/>
                  </a:lnTo>
                  <a:lnTo>
                    <a:pt x="87" y="277"/>
                  </a:lnTo>
                  <a:lnTo>
                    <a:pt x="101" y="282"/>
                  </a:lnTo>
                  <a:lnTo>
                    <a:pt x="114" y="285"/>
                  </a:lnTo>
                  <a:lnTo>
                    <a:pt x="129" y="287"/>
                  </a:lnTo>
                  <a:lnTo>
                    <a:pt x="143" y="289"/>
                  </a:lnTo>
                  <a:lnTo>
                    <a:pt x="159" y="287"/>
                  </a:lnTo>
                  <a:lnTo>
                    <a:pt x="173" y="285"/>
                  </a:lnTo>
                  <a:lnTo>
                    <a:pt x="186" y="282"/>
                  </a:lnTo>
                  <a:lnTo>
                    <a:pt x="200" y="277"/>
                  </a:lnTo>
                  <a:lnTo>
                    <a:pt x="213" y="271"/>
                  </a:lnTo>
                  <a:lnTo>
                    <a:pt x="224" y="263"/>
                  </a:lnTo>
                  <a:lnTo>
                    <a:pt x="235" y="255"/>
                  </a:lnTo>
                  <a:lnTo>
                    <a:pt x="245" y="246"/>
                  </a:lnTo>
                  <a:lnTo>
                    <a:pt x="255" y="236"/>
                  </a:lnTo>
                  <a:lnTo>
                    <a:pt x="263" y="224"/>
                  </a:lnTo>
                  <a:lnTo>
                    <a:pt x="270" y="213"/>
                  </a:lnTo>
                  <a:lnTo>
                    <a:pt x="277" y="200"/>
                  </a:lnTo>
                  <a:lnTo>
                    <a:pt x="281" y="187"/>
                  </a:lnTo>
                  <a:lnTo>
                    <a:pt x="285" y="173"/>
                  </a:lnTo>
                  <a:lnTo>
                    <a:pt x="287" y="159"/>
                  </a:lnTo>
                  <a:lnTo>
                    <a:pt x="287" y="143"/>
                  </a:lnTo>
                  <a:lnTo>
                    <a:pt x="287" y="129"/>
                  </a:lnTo>
                  <a:lnTo>
                    <a:pt x="285" y="115"/>
                  </a:lnTo>
                  <a:lnTo>
                    <a:pt x="281" y="101"/>
                  </a:lnTo>
                  <a:lnTo>
                    <a:pt x="277" y="88"/>
                  </a:lnTo>
                  <a:lnTo>
                    <a:pt x="270" y="75"/>
                  </a:lnTo>
                  <a:lnTo>
                    <a:pt x="263" y="64"/>
                  </a:lnTo>
                  <a:lnTo>
                    <a:pt x="255" y="52"/>
                  </a:lnTo>
                  <a:lnTo>
                    <a:pt x="245" y="42"/>
                  </a:lnTo>
                  <a:lnTo>
                    <a:pt x="235" y="33"/>
                  </a:lnTo>
                  <a:lnTo>
                    <a:pt x="224" y="24"/>
                  </a:lnTo>
                  <a:lnTo>
                    <a:pt x="213" y="18"/>
                  </a:lnTo>
                  <a:lnTo>
                    <a:pt x="200" y="11"/>
                  </a:lnTo>
                  <a:lnTo>
                    <a:pt x="186" y="6"/>
                  </a:lnTo>
                  <a:lnTo>
                    <a:pt x="173" y="2"/>
                  </a:lnTo>
                  <a:lnTo>
                    <a:pt x="159" y="1"/>
                  </a:lnTo>
                  <a:lnTo>
                    <a:pt x="1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grpSp>
        <p:nvGrpSpPr>
          <p:cNvPr id="47" name="Group 46">
            <a:extLst>
              <a:ext uri="{FF2B5EF4-FFF2-40B4-BE49-F238E27FC236}">
                <a16:creationId xmlns:a16="http://schemas.microsoft.com/office/drawing/2014/main" id="{185CCA9F-C3F9-421D-B5BE-B8A3B9EFBAF5}"/>
              </a:ext>
            </a:extLst>
          </p:cNvPr>
          <p:cNvGrpSpPr/>
          <p:nvPr/>
        </p:nvGrpSpPr>
        <p:grpSpPr>
          <a:xfrm>
            <a:off x="4903633" y="3792720"/>
            <a:ext cx="294308" cy="229001"/>
            <a:chOff x="-2133851" y="2990615"/>
            <a:chExt cx="274643" cy="222173"/>
          </a:xfrm>
          <a:solidFill>
            <a:schemeClr val="accent1"/>
          </a:solidFill>
        </p:grpSpPr>
        <p:sp>
          <p:nvSpPr>
            <p:cNvPr id="61" name="Freeform 1682">
              <a:extLst>
                <a:ext uri="{FF2B5EF4-FFF2-40B4-BE49-F238E27FC236}">
                  <a16:creationId xmlns:a16="http://schemas.microsoft.com/office/drawing/2014/main" id="{379B1B10-4E3D-44F2-B133-F9759AFDDC60}"/>
                </a:ext>
              </a:extLst>
            </p:cNvPr>
            <p:cNvSpPr>
              <a:spLocks/>
            </p:cNvSpPr>
            <p:nvPr/>
          </p:nvSpPr>
          <p:spPr bwMode="auto">
            <a:xfrm>
              <a:off x="-2081458" y="3074675"/>
              <a:ext cx="222250" cy="138113"/>
            </a:xfrm>
            <a:custGeom>
              <a:avLst/>
              <a:gdLst>
                <a:gd name="T0" fmla="*/ 482 w 559"/>
                <a:gd name="T1" fmla="*/ 11 h 348"/>
                <a:gd name="T2" fmla="*/ 474 w 559"/>
                <a:gd name="T3" fmla="*/ 3 h 348"/>
                <a:gd name="T4" fmla="*/ 464 w 559"/>
                <a:gd name="T5" fmla="*/ 0 h 348"/>
                <a:gd name="T6" fmla="*/ 452 w 559"/>
                <a:gd name="T7" fmla="*/ 2 h 348"/>
                <a:gd name="T8" fmla="*/ 443 w 559"/>
                <a:gd name="T9" fmla="*/ 7 h 348"/>
                <a:gd name="T10" fmla="*/ 344 w 559"/>
                <a:gd name="T11" fmla="*/ 128 h 348"/>
                <a:gd name="T12" fmla="*/ 342 w 559"/>
                <a:gd name="T13" fmla="*/ 136 h 348"/>
                <a:gd name="T14" fmla="*/ 342 w 559"/>
                <a:gd name="T15" fmla="*/ 145 h 348"/>
                <a:gd name="T16" fmla="*/ 346 w 559"/>
                <a:gd name="T17" fmla="*/ 154 h 348"/>
                <a:gd name="T18" fmla="*/ 354 w 559"/>
                <a:gd name="T19" fmla="*/ 160 h 348"/>
                <a:gd name="T20" fmla="*/ 363 w 559"/>
                <a:gd name="T21" fmla="*/ 163 h 348"/>
                <a:gd name="T22" fmla="*/ 371 w 559"/>
                <a:gd name="T23" fmla="*/ 162 h 348"/>
                <a:gd name="T24" fmla="*/ 380 w 559"/>
                <a:gd name="T25" fmla="*/ 157 h 348"/>
                <a:gd name="T26" fmla="*/ 440 w 559"/>
                <a:gd name="T27" fmla="*/ 87 h 348"/>
                <a:gd name="T28" fmla="*/ 434 w 559"/>
                <a:gd name="T29" fmla="*/ 122 h 348"/>
                <a:gd name="T30" fmla="*/ 422 w 559"/>
                <a:gd name="T31" fmla="*/ 156 h 348"/>
                <a:gd name="T32" fmla="*/ 406 w 559"/>
                <a:gd name="T33" fmla="*/ 188 h 348"/>
                <a:gd name="T34" fmla="*/ 384 w 559"/>
                <a:gd name="T35" fmla="*/ 217 h 348"/>
                <a:gd name="T36" fmla="*/ 357 w 559"/>
                <a:gd name="T37" fmla="*/ 244 h 348"/>
                <a:gd name="T38" fmla="*/ 327 w 559"/>
                <a:gd name="T39" fmla="*/ 266 h 348"/>
                <a:gd name="T40" fmla="*/ 294 w 559"/>
                <a:gd name="T41" fmla="*/ 283 h 348"/>
                <a:gd name="T42" fmla="*/ 259 w 559"/>
                <a:gd name="T43" fmla="*/ 294 h 348"/>
                <a:gd name="T44" fmla="*/ 229 w 559"/>
                <a:gd name="T45" fmla="*/ 300 h 348"/>
                <a:gd name="T46" fmla="*/ 199 w 559"/>
                <a:gd name="T47" fmla="*/ 301 h 348"/>
                <a:gd name="T48" fmla="*/ 170 w 559"/>
                <a:gd name="T49" fmla="*/ 299 h 348"/>
                <a:gd name="T50" fmla="*/ 142 w 559"/>
                <a:gd name="T51" fmla="*/ 293 h 348"/>
                <a:gd name="T52" fmla="*/ 114 w 559"/>
                <a:gd name="T53" fmla="*/ 283 h 348"/>
                <a:gd name="T54" fmla="*/ 89 w 559"/>
                <a:gd name="T55" fmla="*/ 270 h 348"/>
                <a:gd name="T56" fmla="*/ 64 w 559"/>
                <a:gd name="T57" fmla="*/ 254 h 348"/>
                <a:gd name="T58" fmla="*/ 41 w 559"/>
                <a:gd name="T59" fmla="*/ 234 h 348"/>
                <a:gd name="T60" fmla="*/ 33 w 559"/>
                <a:gd name="T61" fmla="*/ 229 h 348"/>
                <a:gd name="T62" fmla="*/ 25 w 559"/>
                <a:gd name="T63" fmla="*/ 227 h 348"/>
                <a:gd name="T64" fmla="*/ 16 w 559"/>
                <a:gd name="T65" fmla="*/ 229 h 348"/>
                <a:gd name="T66" fmla="*/ 7 w 559"/>
                <a:gd name="T67" fmla="*/ 234 h 348"/>
                <a:gd name="T68" fmla="*/ 3 w 559"/>
                <a:gd name="T69" fmla="*/ 241 h 348"/>
                <a:gd name="T70" fmla="*/ 0 w 559"/>
                <a:gd name="T71" fmla="*/ 251 h 348"/>
                <a:gd name="T72" fmla="*/ 3 w 559"/>
                <a:gd name="T73" fmla="*/ 260 h 348"/>
                <a:gd name="T74" fmla="*/ 8 w 559"/>
                <a:gd name="T75" fmla="*/ 269 h 348"/>
                <a:gd name="T76" fmla="*/ 28 w 559"/>
                <a:gd name="T77" fmla="*/ 287 h 348"/>
                <a:gd name="T78" fmla="*/ 51 w 559"/>
                <a:gd name="T79" fmla="*/ 303 h 348"/>
                <a:gd name="T80" fmla="*/ 74 w 559"/>
                <a:gd name="T81" fmla="*/ 318 h 348"/>
                <a:gd name="T82" fmla="*/ 99 w 559"/>
                <a:gd name="T83" fmla="*/ 329 h 348"/>
                <a:gd name="T84" fmla="*/ 124 w 559"/>
                <a:gd name="T85" fmla="*/ 337 h 348"/>
                <a:gd name="T86" fmla="*/ 151 w 559"/>
                <a:gd name="T87" fmla="*/ 344 h 348"/>
                <a:gd name="T88" fmla="*/ 177 w 559"/>
                <a:gd name="T89" fmla="*/ 347 h 348"/>
                <a:gd name="T90" fmla="*/ 205 w 559"/>
                <a:gd name="T91" fmla="*/ 348 h 348"/>
                <a:gd name="T92" fmla="*/ 237 w 559"/>
                <a:gd name="T93" fmla="*/ 347 h 348"/>
                <a:gd name="T94" fmla="*/ 270 w 559"/>
                <a:gd name="T95" fmla="*/ 342 h 348"/>
                <a:gd name="T96" fmla="*/ 311 w 559"/>
                <a:gd name="T97" fmla="*/ 329 h 348"/>
                <a:gd name="T98" fmla="*/ 348 w 559"/>
                <a:gd name="T99" fmla="*/ 310 h 348"/>
                <a:gd name="T100" fmla="*/ 382 w 559"/>
                <a:gd name="T101" fmla="*/ 286 h 348"/>
                <a:gd name="T102" fmla="*/ 413 w 559"/>
                <a:gd name="T103" fmla="*/ 257 h 348"/>
                <a:gd name="T104" fmla="*/ 439 w 559"/>
                <a:gd name="T105" fmla="*/ 224 h 348"/>
                <a:gd name="T106" fmla="*/ 460 w 559"/>
                <a:gd name="T107" fmla="*/ 188 h 348"/>
                <a:gd name="T108" fmla="*/ 475 w 559"/>
                <a:gd name="T109" fmla="*/ 150 h 348"/>
                <a:gd name="T110" fmla="*/ 485 w 559"/>
                <a:gd name="T111" fmla="*/ 110 h 348"/>
                <a:gd name="T112" fmla="*/ 518 w 559"/>
                <a:gd name="T113" fmla="*/ 163 h 348"/>
                <a:gd name="T114" fmla="*/ 529 w 559"/>
                <a:gd name="T115" fmla="*/ 168 h 348"/>
                <a:gd name="T116" fmla="*/ 541 w 559"/>
                <a:gd name="T117" fmla="*/ 168 h 348"/>
                <a:gd name="T118" fmla="*/ 551 w 559"/>
                <a:gd name="T119" fmla="*/ 164 h 348"/>
                <a:gd name="T120" fmla="*/ 557 w 559"/>
                <a:gd name="T121" fmla="*/ 156 h 348"/>
                <a:gd name="T122" fmla="*/ 559 w 559"/>
                <a:gd name="T123" fmla="*/ 147 h 348"/>
                <a:gd name="T124" fmla="*/ 558 w 559"/>
                <a:gd name="T125" fmla="*/ 13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9" h="348">
                  <a:moveTo>
                    <a:pt x="556" y="133"/>
                  </a:moveTo>
                  <a:lnTo>
                    <a:pt x="482" y="11"/>
                  </a:lnTo>
                  <a:lnTo>
                    <a:pt x="478" y="6"/>
                  </a:lnTo>
                  <a:lnTo>
                    <a:pt x="474" y="3"/>
                  </a:lnTo>
                  <a:lnTo>
                    <a:pt x="470" y="1"/>
                  </a:lnTo>
                  <a:lnTo>
                    <a:pt x="464" y="0"/>
                  </a:lnTo>
                  <a:lnTo>
                    <a:pt x="458" y="0"/>
                  </a:lnTo>
                  <a:lnTo>
                    <a:pt x="452" y="2"/>
                  </a:lnTo>
                  <a:lnTo>
                    <a:pt x="448" y="4"/>
                  </a:lnTo>
                  <a:lnTo>
                    <a:pt x="443" y="7"/>
                  </a:lnTo>
                  <a:lnTo>
                    <a:pt x="346" y="123"/>
                  </a:lnTo>
                  <a:lnTo>
                    <a:pt x="344" y="128"/>
                  </a:lnTo>
                  <a:lnTo>
                    <a:pt x="342" y="132"/>
                  </a:lnTo>
                  <a:lnTo>
                    <a:pt x="342" y="136"/>
                  </a:lnTo>
                  <a:lnTo>
                    <a:pt x="342" y="141"/>
                  </a:lnTo>
                  <a:lnTo>
                    <a:pt x="342" y="145"/>
                  </a:lnTo>
                  <a:lnTo>
                    <a:pt x="344" y="150"/>
                  </a:lnTo>
                  <a:lnTo>
                    <a:pt x="346" y="154"/>
                  </a:lnTo>
                  <a:lnTo>
                    <a:pt x="349" y="157"/>
                  </a:lnTo>
                  <a:lnTo>
                    <a:pt x="354" y="160"/>
                  </a:lnTo>
                  <a:lnTo>
                    <a:pt x="358" y="162"/>
                  </a:lnTo>
                  <a:lnTo>
                    <a:pt x="363" y="163"/>
                  </a:lnTo>
                  <a:lnTo>
                    <a:pt x="367" y="163"/>
                  </a:lnTo>
                  <a:lnTo>
                    <a:pt x="371" y="162"/>
                  </a:lnTo>
                  <a:lnTo>
                    <a:pt x="376" y="161"/>
                  </a:lnTo>
                  <a:lnTo>
                    <a:pt x="380" y="157"/>
                  </a:lnTo>
                  <a:lnTo>
                    <a:pt x="384" y="155"/>
                  </a:lnTo>
                  <a:lnTo>
                    <a:pt x="440" y="87"/>
                  </a:lnTo>
                  <a:lnTo>
                    <a:pt x="438" y="104"/>
                  </a:lnTo>
                  <a:lnTo>
                    <a:pt x="434" y="122"/>
                  </a:lnTo>
                  <a:lnTo>
                    <a:pt x="429" y="139"/>
                  </a:lnTo>
                  <a:lnTo>
                    <a:pt x="422" y="156"/>
                  </a:lnTo>
                  <a:lnTo>
                    <a:pt x="414" y="173"/>
                  </a:lnTo>
                  <a:lnTo>
                    <a:pt x="406" y="188"/>
                  </a:lnTo>
                  <a:lnTo>
                    <a:pt x="395" y="204"/>
                  </a:lnTo>
                  <a:lnTo>
                    <a:pt x="384" y="217"/>
                  </a:lnTo>
                  <a:lnTo>
                    <a:pt x="371" y="231"/>
                  </a:lnTo>
                  <a:lnTo>
                    <a:pt x="357" y="244"/>
                  </a:lnTo>
                  <a:lnTo>
                    <a:pt x="343" y="256"/>
                  </a:lnTo>
                  <a:lnTo>
                    <a:pt x="327" y="266"/>
                  </a:lnTo>
                  <a:lnTo>
                    <a:pt x="312" y="274"/>
                  </a:lnTo>
                  <a:lnTo>
                    <a:pt x="294" y="283"/>
                  </a:lnTo>
                  <a:lnTo>
                    <a:pt x="276" y="290"/>
                  </a:lnTo>
                  <a:lnTo>
                    <a:pt x="259" y="294"/>
                  </a:lnTo>
                  <a:lnTo>
                    <a:pt x="243" y="298"/>
                  </a:lnTo>
                  <a:lnTo>
                    <a:pt x="229" y="300"/>
                  </a:lnTo>
                  <a:lnTo>
                    <a:pt x="215" y="301"/>
                  </a:lnTo>
                  <a:lnTo>
                    <a:pt x="199" y="301"/>
                  </a:lnTo>
                  <a:lnTo>
                    <a:pt x="185" y="301"/>
                  </a:lnTo>
                  <a:lnTo>
                    <a:pt x="170" y="299"/>
                  </a:lnTo>
                  <a:lnTo>
                    <a:pt x="156" y="297"/>
                  </a:lnTo>
                  <a:lnTo>
                    <a:pt x="142" y="293"/>
                  </a:lnTo>
                  <a:lnTo>
                    <a:pt x="128" y="289"/>
                  </a:lnTo>
                  <a:lnTo>
                    <a:pt x="114" y="283"/>
                  </a:lnTo>
                  <a:lnTo>
                    <a:pt x="101" y="278"/>
                  </a:lnTo>
                  <a:lnTo>
                    <a:pt x="89" y="270"/>
                  </a:lnTo>
                  <a:lnTo>
                    <a:pt x="75" y="262"/>
                  </a:lnTo>
                  <a:lnTo>
                    <a:pt x="64" y="254"/>
                  </a:lnTo>
                  <a:lnTo>
                    <a:pt x="52" y="245"/>
                  </a:lnTo>
                  <a:lnTo>
                    <a:pt x="41" y="234"/>
                  </a:lnTo>
                  <a:lnTo>
                    <a:pt x="38" y="231"/>
                  </a:lnTo>
                  <a:lnTo>
                    <a:pt x="33" y="229"/>
                  </a:lnTo>
                  <a:lnTo>
                    <a:pt x="29" y="228"/>
                  </a:lnTo>
                  <a:lnTo>
                    <a:pt x="25" y="227"/>
                  </a:lnTo>
                  <a:lnTo>
                    <a:pt x="20" y="228"/>
                  </a:lnTo>
                  <a:lnTo>
                    <a:pt x="16" y="229"/>
                  </a:lnTo>
                  <a:lnTo>
                    <a:pt x="11" y="231"/>
                  </a:lnTo>
                  <a:lnTo>
                    <a:pt x="7" y="234"/>
                  </a:lnTo>
                  <a:lnTo>
                    <a:pt x="5" y="238"/>
                  </a:lnTo>
                  <a:lnTo>
                    <a:pt x="3" y="241"/>
                  </a:lnTo>
                  <a:lnTo>
                    <a:pt x="1" y="247"/>
                  </a:lnTo>
                  <a:lnTo>
                    <a:pt x="0" y="251"/>
                  </a:lnTo>
                  <a:lnTo>
                    <a:pt x="1" y="256"/>
                  </a:lnTo>
                  <a:lnTo>
                    <a:pt x="3" y="260"/>
                  </a:lnTo>
                  <a:lnTo>
                    <a:pt x="5" y="265"/>
                  </a:lnTo>
                  <a:lnTo>
                    <a:pt x="8" y="269"/>
                  </a:lnTo>
                  <a:lnTo>
                    <a:pt x="18" y="278"/>
                  </a:lnTo>
                  <a:lnTo>
                    <a:pt x="28" y="287"/>
                  </a:lnTo>
                  <a:lnTo>
                    <a:pt x="39" y="295"/>
                  </a:lnTo>
                  <a:lnTo>
                    <a:pt x="51" y="303"/>
                  </a:lnTo>
                  <a:lnTo>
                    <a:pt x="62" y="311"/>
                  </a:lnTo>
                  <a:lnTo>
                    <a:pt x="74" y="318"/>
                  </a:lnTo>
                  <a:lnTo>
                    <a:pt x="86" y="323"/>
                  </a:lnTo>
                  <a:lnTo>
                    <a:pt x="99" y="329"/>
                  </a:lnTo>
                  <a:lnTo>
                    <a:pt x="112" y="333"/>
                  </a:lnTo>
                  <a:lnTo>
                    <a:pt x="124" y="337"/>
                  </a:lnTo>
                  <a:lnTo>
                    <a:pt x="137" y="341"/>
                  </a:lnTo>
                  <a:lnTo>
                    <a:pt x="151" y="344"/>
                  </a:lnTo>
                  <a:lnTo>
                    <a:pt x="164" y="346"/>
                  </a:lnTo>
                  <a:lnTo>
                    <a:pt x="177" y="347"/>
                  </a:lnTo>
                  <a:lnTo>
                    <a:pt x="190" y="348"/>
                  </a:lnTo>
                  <a:lnTo>
                    <a:pt x="205" y="348"/>
                  </a:lnTo>
                  <a:lnTo>
                    <a:pt x="220" y="348"/>
                  </a:lnTo>
                  <a:lnTo>
                    <a:pt x="237" y="347"/>
                  </a:lnTo>
                  <a:lnTo>
                    <a:pt x="253" y="345"/>
                  </a:lnTo>
                  <a:lnTo>
                    <a:pt x="270" y="342"/>
                  </a:lnTo>
                  <a:lnTo>
                    <a:pt x="291" y="336"/>
                  </a:lnTo>
                  <a:lnTo>
                    <a:pt x="311" y="329"/>
                  </a:lnTo>
                  <a:lnTo>
                    <a:pt x="329" y="320"/>
                  </a:lnTo>
                  <a:lnTo>
                    <a:pt x="348" y="310"/>
                  </a:lnTo>
                  <a:lnTo>
                    <a:pt x="366" y="298"/>
                  </a:lnTo>
                  <a:lnTo>
                    <a:pt x="382" y="286"/>
                  </a:lnTo>
                  <a:lnTo>
                    <a:pt x="398" y="271"/>
                  </a:lnTo>
                  <a:lnTo>
                    <a:pt x="413" y="257"/>
                  </a:lnTo>
                  <a:lnTo>
                    <a:pt x="427" y="240"/>
                  </a:lnTo>
                  <a:lnTo>
                    <a:pt x="439" y="224"/>
                  </a:lnTo>
                  <a:lnTo>
                    <a:pt x="450" y="206"/>
                  </a:lnTo>
                  <a:lnTo>
                    <a:pt x="460" y="188"/>
                  </a:lnTo>
                  <a:lnTo>
                    <a:pt x="469" y="170"/>
                  </a:lnTo>
                  <a:lnTo>
                    <a:pt x="475" y="150"/>
                  </a:lnTo>
                  <a:lnTo>
                    <a:pt x="482" y="131"/>
                  </a:lnTo>
                  <a:lnTo>
                    <a:pt x="485" y="110"/>
                  </a:lnTo>
                  <a:lnTo>
                    <a:pt x="514" y="159"/>
                  </a:lnTo>
                  <a:lnTo>
                    <a:pt x="518" y="163"/>
                  </a:lnTo>
                  <a:lnTo>
                    <a:pt x="523" y="166"/>
                  </a:lnTo>
                  <a:lnTo>
                    <a:pt x="529" y="168"/>
                  </a:lnTo>
                  <a:lnTo>
                    <a:pt x="535" y="170"/>
                  </a:lnTo>
                  <a:lnTo>
                    <a:pt x="541" y="168"/>
                  </a:lnTo>
                  <a:lnTo>
                    <a:pt x="547" y="166"/>
                  </a:lnTo>
                  <a:lnTo>
                    <a:pt x="551" y="164"/>
                  </a:lnTo>
                  <a:lnTo>
                    <a:pt x="555" y="160"/>
                  </a:lnTo>
                  <a:lnTo>
                    <a:pt x="557" y="156"/>
                  </a:lnTo>
                  <a:lnTo>
                    <a:pt x="558" y="152"/>
                  </a:lnTo>
                  <a:lnTo>
                    <a:pt x="559" y="147"/>
                  </a:lnTo>
                  <a:lnTo>
                    <a:pt x="559" y="142"/>
                  </a:lnTo>
                  <a:lnTo>
                    <a:pt x="558" y="138"/>
                  </a:lnTo>
                  <a:lnTo>
                    <a:pt x="55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62" name="Freeform 1683">
              <a:extLst>
                <a:ext uri="{FF2B5EF4-FFF2-40B4-BE49-F238E27FC236}">
                  <a16:creationId xmlns:a16="http://schemas.microsoft.com/office/drawing/2014/main" id="{4E996A5C-21B3-4907-A822-E65AACA3B37E}"/>
                </a:ext>
              </a:extLst>
            </p:cNvPr>
            <p:cNvSpPr>
              <a:spLocks/>
            </p:cNvSpPr>
            <p:nvPr/>
          </p:nvSpPr>
          <p:spPr bwMode="auto">
            <a:xfrm>
              <a:off x="-2133851" y="2990615"/>
              <a:ext cx="230188" cy="150813"/>
            </a:xfrm>
            <a:custGeom>
              <a:avLst/>
              <a:gdLst>
                <a:gd name="T0" fmla="*/ 212 w 581"/>
                <a:gd name="T1" fmla="*/ 217 h 379"/>
                <a:gd name="T2" fmla="*/ 198 w 581"/>
                <a:gd name="T3" fmla="*/ 217 h 379"/>
                <a:gd name="T4" fmla="*/ 187 w 581"/>
                <a:gd name="T5" fmla="*/ 226 h 379"/>
                <a:gd name="T6" fmla="*/ 124 w 581"/>
                <a:gd name="T7" fmla="*/ 267 h 379"/>
                <a:gd name="T8" fmla="*/ 135 w 581"/>
                <a:gd name="T9" fmla="*/ 216 h 379"/>
                <a:gd name="T10" fmla="*/ 157 w 581"/>
                <a:gd name="T11" fmla="*/ 167 h 379"/>
                <a:gd name="T12" fmla="*/ 178 w 581"/>
                <a:gd name="T13" fmla="*/ 138 h 379"/>
                <a:gd name="T14" fmla="*/ 203 w 581"/>
                <a:gd name="T15" fmla="*/ 110 h 379"/>
                <a:gd name="T16" fmla="*/ 233 w 581"/>
                <a:gd name="T17" fmla="*/ 88 h 379"/>
                <a:gd name="T18" fmla="*/ 265 w 581"/>
                <a:gd name="T19" fmla="*/ 70 h 379"/>
                <a:gd name="T20" fmla="*/ 299 w 581"/>
                <a:gd name="T21" fmla="*/ 57 h 379"/>
                <a:gd name="T22" fmla="*/ 343 w 581"/>
                <a:gd name="T23" fmla="*/ 49 h 379"/>
                <a:gd name="T24" fmla="*/ 390 w 581"/>
                <a:gd name="T25" fmla="*/ 49 h 379"/>
                <a:gd name="T26" fmla="*/ 435 w 581"/>
                <a:gd name="T27" fmla="*/ 58 h 379"/>
                <a:gd name="T28" fmla="*/ 478 w 581"/>
                <a:gd name="T29" fmla="*/ 77 h 379"/>
                <a:gd name="T30" fmla="*/ 517 w 581"/>
                <a:gd name="T31" fmla="*/ 103 h 379"/>
                <a:gd name="T32" fmla="*/ 542 w 581"/>
                <a:gd name="T33" fmla="*/ 130 h 379"/>
                <a:gd name="T34" fmla="*/ 556 w 581"/>
                <a:gd name="T35" fmla="*/ 134 h 379"/>
                <a:gd name="T36" fmla="*/ 569 w 581"/>
                <a:gd name="T37" fmla="*/ 131 h 379"/>
                <a:gd name="T38" fmla="*/ 579 w 581"/>
                <a:gd name="T39" fmla="*/ 121 h 379"/>
                <a:gd name="T40" fmla="*/ 581 w 581"/>
                <a:gd name="T41" fmla="*/ 108 h 379"/>
                <a:gd name="T42" fmla="*/ 576 w 581"/>
                <a:gd name="T43" fmla="*/ 94 h 379"/>
                <a:gd name="T44" fmla="*/ 532 w 581"/>
                <a:gd name="T45" fmla="*/ 56 h 379"/>
                <a:gd name="T46" fmla="*/ 485 w 581"/>
                <a:gd name="T47" fmla="*/ 27 h 379"/>
                <a:gd name="T48" fmla="*/ 432 w 581"/>
                <a:gd name="T49" fmla="*/ 8 h 379"/>
                <a:gd name="T50" fmla="*/ 376 w 581"/>
                <a:gd name="T51" fmla="*/ 0 h 379"/>
                <a:gd name="T52" fmla="*/ 319 w 581"/>
                <a:gd name="T53" fmla="*/ 4 h 379"/>
                <a:gd name="T54" fmla="*/ 272 w 581"/>
                <a:gd name="T55" fmla="*/ 16 h 379"/>
                <a:gd name="T56" fmla="*/ 232 w 581"/>
                <a:gd name="T57" fmla="*/ 34 h 379"/>
                <a:gd name="T58" fmla="*/ 195 w 581"/>
                <a:gd name="T59" fmla="*/ 57 h 379"/>
                <a:gd name="T60" fmla="*/ 161 w 581"/>
                <a:gd name="T61" fmla="*/ 86 h 379"/>
                <a:gd name="T62" fmla="*/ 132 w 581"/>
                <a:gd name="T63" fmla="*/ 119 h 379"/>
                <a:gd name="T64" fmla="*/ 107 w 581"/>
                <a:gd name="T65" fmla="*/ 159 h 379"/>
                <a:gd name="T66" fmla="*/ 89 w 581"/>
                <a:gd name="T67" fmla="*/ 203 h 379"/>
                <a:gd name="T68" fmla="*/ 78 w 581"/>
                <a:gd name="T69" fmla="*/ 249 h 379"/>
                <a:gd name="T70" fmla="*/ 41 w 581"/>
                <a:gd name="T71" fmla="*/ 214 h 379"/>
                <a:gd name="T72" fmla="*/ 29 w 581"/>
                <a:gd name="T73" fmla="*/ 207 h 379"/>
                <a:gd name="T74" fmla="*/ 15 w 581"/>
                <a:gd name="T75" fmla="*/ 208 h 379"/>
                <a:gd name="T76" fmla="*/ 4 w 581"/>
                <a:gd name="T77" fmla="*/ 218 h 379"/>
                <a:gd name="T78" fmla="*/ 0 w 581"/>
                <a:gd name="T79" fmla="*/ 231 h 379"/>
                <a:gd name="T80" fmla="*/ 5 w 581"/>
                <a:gd name="T81" fmla="*/ 245 h 379"/>
                <a:gd name="T82" fmla="*/ 96 w 581"/>
                <a:gd name="T83" fmla="*/ 377 h 379"/>
                <a:gd name="T84" fmla="*/ 107 w 581"/>
                <a:gd name="T85" fmla="*/ 379 h 379"/>
                <a:gd name="T86" fmla="*/ 118 w 581"/>
                <a:gd name="T87" fmla="*/ 378 h 379"/>
                <a:gd name="T88" fmla="*/ 223 w 581"/>
                <a:gd name="T89" fmla="*/ 256 h 379"/>
                <a:gd name="T90" fmla="*/ 229 w 581"/>
                <a:gd name="T91" fmla="*/ 242 h 379"/>
                <a:gd name="T92" fmla="*/ 227 w 581"/>
                <a:gd name="T93" fmla="*/ 22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1" h="379">
                  <a:moveTo>
                    <a:pt x="220" y="221"/>
                  </a:moveTo>
                  <a:lnTo>
                    <a:pt x="217" y="219"/>
                  </a:lnTo>
                  <a:lnTo>
                    <a:pt x="212" y="217"/>
                  </a:lnTo>
                  <a:lnTo>
                    <a:pt x="208" y="216"/>
                  </a:lnTo>
                  <a:lnTo>
                    <a:pt x="203" y="216"/>
                  </a:lnTo>
                  <a:lnTo>
                    <a:pt x="198" y="217"/>
                  </a:lnTo>
                  <a:lnTo>
                    <a:pt x="195" y="219"/>
                  </a:lnTo>
                  <a:lnTo>
                    <a:pt x="190" y="221"/>
                  </a:lnTo>
                  <a:lnTo>
                    <a:pt x="187" y="226"/>
                  </a:lnTo>
                  <a:lnTo>
                    <a:pt x="124" y="301"/>
                  </a:lnTo>
                  <a:lnTo>
                    <a:pt x="123" y="283"/>
                  </a:lnTo>
                  <a:lnTo>
                    <a:pt x="124" y="267"/>
                  </a:lnTo>
                  <a:lnTo>
                    <a:pt x="126" y="250"/>
                  </a:lnTo>
                  <a:lnTo>
                    <a:pt x="131" y="233"/>
                  </a:lnTo>
                  <a:lnTo>
                    <a:pt x="135" y="216"/>
                  </a:lnTo>
                  <a:lnTo>
                    <a:pt x="140" y="200"/>
                  </a:lnTo>
                  <a:lnTo>
                    <a:pt x="148" y="184"/>
                  </a:lnTo>
                  <a:lnTo>
                    <a:pt x="157" y="167"/>
                  </a:lnTo>
                  <a:lnTo>
                    <a:pt x="164" y="157"/>
                  </a:lnTo>
                  <a:lnTo>
                    <a:pt x="170" y="147"/>
                  </a:lnTo>
                  <a:lnTo>
                    <a:pt x="178" y="138"/>
                  </a:lnTo>
                  <a:lnTo>
                    <a:pt x="187" y="128"/>
                  </a:lnTo>
                  <a:lnTo>
                    <a:pt x="195" y="119"/>
                  </a:lnTo>
                  <a:lnTo>
                    <a:pt x="203" y="110"/>
                  </a:lnTo>
                  <a:lnTo>
                    <a:pt x="213" y="102"/>
                  </a:lnTo>
                  <a:lnTo>
                    <a:pt x="223" y="94"/>
                  </a:lnTo>
                  <a:lnTo>
                    <a:pt x="233" y="88"/>
                  </a:lnTo>
                  <a:lnTo>
                    <a:pt x="243" y="81"/>
                  </a:lnTo>
                  <a:lnTo>
                    <a:pt x="254" y="76"/>
                  </a:lnTo>
                  <a:lnTo>
                    <a:pt x="265" y="70"/>
                  </a:lnTo>
                  <a:lnTo>
                    <a:pt x="276" y="65"/>
                  </a:lnTo>
                  <a:lnTo>
                    <a:pt x="287" y="60"/>
                  </a:lnTo>
                  <a:lnTo>
                    <a:pt x="299" y="57"/>
                  </a:lnTo>
                  <a:lnTo>
                    <a:pt x="312" y="54"/>
                  </a:lnTo>
                  <a:lnTo>
                    <a:pt x="327" y="50"/>
                  </a:lnTo>
                  <a:lnTo>
                    <a:pt x="343" y="49"/>
                  </a:lnTo>
                  <a:lnTo>
                    <a:pt x="358" y="48"/>
                  </a:lnTo>
                  <a:lnTo>
                    <a:pt x="375" y="48"/>
                  </a:lnTo>
                  <a:lnTo>
                    <a:pt x="390" y="49"/>
                  </a:lnTo>
                  <a:lnTo>
                    <a:pt x="405" y="50"/>
                  </a:lnTo>
                  <a:lnTo>
                    <a:pt x="421" y="54"/>
                  </a:lnTo>
                  <a:lnTo>
                    <a:pt x="435" y="58"/>
                  </a:lnTo>
                  <a:lnTo>
                    <a:pt x="450" y="64"/>
                  </a:lnTo>
                  <a:lnTo>
                    <a:pt x="464" y="69"/>
                  </a:lnTo>
                  <a:lnTo>
                    <a:pt x="478" y="77"/>
                  </a:lnTo>
                  <a:lnTo>
                    <a:pt x="492" y="85"/>
                  </a:lnTo>
                  <a:lnTo>
                    <a:pt x="505" y="93"/>
                  </a:lnTo>
                  <a:lnTo>
                    <a:pt x="517" y="103"/>
                  </a:lnTo>
                  <a:lnTo>
                    <a:pt x="528" y="114"/>
                  </a:lnTo>
                  <a:lnTo>
                    <a:pt x="539" y="126"/>
                  </a:lnTo>
                  <a:lnTo>
                    <a:pt x="542" y="130"/>
                  </a:lnTo>
                  <a:lnTo>
                    <a:pt x="547" y="132"/>
                  </a:lnTo>
                  <a:lnTo>
                    <a:pt x="551" y="133"/>
                  </a:lnTo>
                  <a:lnTo>
                    <a:pt x="556" y="134"/>
                  </a:lnTo>
                  <a:lnTo>
                    <a:pt x="560" y="134"/>
                  </a:lnTo>
                  <a:lnTo>
                    <a:pt x="565" y="133"/>
                  </a:lnTo>
                  <a:lnTo>
                    <a:pt x="569" y="131"/>
                  </a:lnTo>
                  <a:lnTo>
                    <a:pt x="573" y="129"/>
                  </a:lnTo>
                  <a:lnTo>
                    <a:pt x="577" y="125"/>
                  </a:lnTo>
                  <a:lnTo>
                    <a:pt x="579" y="121"/>
                  </a:lnTo>
                  <a:lnTo>
                    <a:pt x="581" y="117"/>
                  </a:lnTo>
                  <a:lnTo>
                    <a:pt x="581" y="112"/>
                  </a:lnTo>
                  <a:lnTo>
                    <a:pt x="581" y="108"/>
                  </a:lnTo>
                  <a:lnTo>
                    <a:pt x="580" y="103"/>
                  </a:lnTo>
                  <a:lnTo>
                    <a:pt x="578" y="99"/>
                  </a:lnTo>
                  <a:lnTo>
                    <a:pt x="576" y="94"/>
                  </a:lnTo>
                  <a:lnTo>
                    <a:pt x="562" y="81"/>
                  </a:lnTo>
                  <a:lnTo>
                    <a:pt x="548" y="68"/>
                  </a:lnTo>
                  <a:lnTo>
                    <a:pt x="532" y="56"/>
                  </a:lnTo>
                  <a:lnTo>
                    <a:pt x="517" y="45"/>
                  </a:lnTo>
                  <a:lnTo>
                    <a:pt x="502" y="35"/>
                  </a:lnTo>
                  <a:lnTo>
                    <a:pt x="485" y="27"/>
                  </a:lnTo>
                  <a:lnTo>
                    <a:pt x="467" y="19"/>
                  </a:lnTo>
                  <a:lnTo>
                    <a:pt x="450" y="13"/>
                  </a:lnTo>
                  <a:lnTo>
                    <a:pt x="432" y="8"/>
                  </a:lnTo>
                  <a:lnTo>
                    <a:pt x="413" y="4"/>
                  </a:lnTo>
                  <a:lnTo>
                    <a:pt x="394" y="2"/>
                  </a:lnTo>
                  <a:lnTo>
                    <a:pt x="376" y="0"/>
                  </a:lnTo>
                  <a:lnTo>
                    <a:pt x="357" y="0"/>
                  </a:lnTo>
                  <a:lnTo>
                    <a:pt x="338" y="1"/>
                  </a:lnTo>
                  <a:lnTo>
                    <a:pt x="319" y="4"/>
                  </a:lnTo>
                  <a:lnTo>
                    <a:pt x="301" y="7"/>
                  </a:lnTo>
                  <a:lnTo>
                    <a:pt x="286" y="12"/>
                  </a:lnTo>
                  <a:lnTo>
                    <a:pt x="272" y="16"/>
                  </a:lnTo>
                  <a:lnTo>
                    <a:pt x="259" y="20"/>
                  </a:lnTo>
                  <a:lnTo>
                    <a:pt x="245" y="27"/>
                  </a:lnTo>
                  <a:lnTo>
                    <a:pt x="232" y="34"/>
                  </a:lnTo>
                  <a:lnTo>
                    <a:pt x="219" y="40"/>
                  </a:lnTo>
                  <a:lnTo>
                    <a:pt x="207" y="48"/>
                  </a:lnTo>
                  <a:lnTo>
                    <a:pt x="195" y="57"/>
                  </a:lnTo>
                  <a:lnTo>
                    <a:pt x="184" y="66"/>
                  </a:lnTo>
                  <a:lnTo>
                    <a:pt x="171" y="76"/>
                  </a:lnTo>
                  <a:lnTo>
                    <a:pt x="161" y="86"/>
                  </a:lnTo>
                  <a:lnTo>
                    <a:pt x="152" y="97"/>
                  </a:lnTo>
                  <a:lnTo>
                    <a:pt x="142" y="108"/>
                  </a:lnTo>
                  <a:lnTo>
                    <a:pt x="132" y="119"/>
                  </a:lnTo>
                  <a:lnTo>
                    <a:pt x="124" y="131"/>
                  </a:lnTo>
                  <a:lnTo>
                    <a:pt x="115" y="144"/>
                  </a:lnTo>
                  <a:lnTo>
                    <a:pt x="107" y="159"/>
                  </a:lnTo>
                  <a:lnTo>
                    <a:pt x="101" y="173"/>
                  </a:lnTo>
                  <a:lnTo>
                    <a:pt x="94" y="188"/>
                  </a:lnTo>
                  <a:lnTo>
                    <a:pt x="89" y="203"/>
                  </a:lnTo>
                  <a:lnTo>
                    <a:pt x="84" y="218"/>
                  </a:lnTo>
                  <a:lnTo>
                    <a:pt x="81" y="234"/>
                  </a:lnTo>
                  <a:lnTo>
                    <a:pt x="78" y="249"/>
                  </a:lnTo>
                  <a:lnTo>
                    <a:pt x="76" y="265"/>
                  </a:lnTo>
                  <a:lnTo>
                    <a:pt x="44" y="217"/>
                  </a:lnTo>
                  <a:lnTo>
                    <a:pt x="41" y="214"/>
                  </a:lnTo>
                  <a:lnTo>
                    <a:pt x="37" y="210"/>
                  </a:lnTo>
                  <a:lnTo>
                    <a:pt x="33" y="208"/>
                  </a:lnTo>
                  <a:lnTo>
                    <a:pt x="29" y="207"/>
                  </a:lnTo>
                  <a:lnTo>
                    <a:pt x="25" y="207"/>
                  </a:lnTo>
                  <a:lnTo>
                    <a:pt x="19" y="207"/>
                  </a:lnTo>
                  <a:lnTo>
                    <a:pt x="15" y="208"/>
                  </a:lnTo>
                  <a:lnTo>
                    <a:pt x="10" y="212"/>
                  </a:lnTo>
                  <a:lnTo>
                    <a:pt x="7" y="214"/>
                  </a:lnTo>
                  <a:lnTo>
                    <a:pt x="4" y="218"/>
                  </a:lnTo>
                  <a:lnTo>
                    <a:pt x="1" y="221"/>
                  </a:lnTo>
                  <a:lnTo>
                    <a:pt x="0" y="226"/>
                  </a:lnTo>
                  <a:lnTo>
                    <a:pt x="0" y="231"/>
                  </a:lnTo>
                  <a:lnTo>
                    <a:pt x="0" y="236"/>
                  </a:lnTo>
                  <a:lnTo>
                    <a:pt x="1" y="240"/>
                  </a:lnTo>
                  <a:lnTo>
                    <a:pt x="5" y="245"/>
                  </a:lnTo>
                  <a:lnTo>
                    <a:pt x="89" y="369"/>
                  </a:lnTo>
                  <a:lnTo>
                    <a:pt x="92" y="374"/>
                  </a:lnTo>
                  <a:lnTo>
                    <a:pt x="96" y="377"/>
                  </a:lnTo>
                  <a:lnTo>
                    <a:pt x="102" y="379"/>
                  </a:lnTo>
                  <a:lnTo>
                    <a:pt x="107" y="379"/>
                  </a:lnTo>
                  <a:lnTo>
                    <a:pt x="107" y="379"/>
                  </a:lnTo>
                  <a:lnTo>
                    <a:pt x="108" y="379"/>
                  </a:lnTo>
                  <a:lnTo>
                    <a:pt x="114" y="379"/>
                  </a:lnTo>
                  <a:lnTo>
                    <a:pt x="118" y="378"/>
                  </a:lnTo>
                  <a:lnTo>
                    <a:pt x="123" y="375"/>
                  </a:lnTo>
                  <a:lnTo>
                    <a:pt x="126" y="372"/>
                  </a:lnTo>
                  <a:lnTo>
                    <a:pt x="223" y="256"/>
                  </a:lnTo>
                  <a:lnTo>
                    <a:pt x="227" y="251"/>
                  </a:lnTo>
                  <a:lnTo>
                    <a:pt x="228" y="247"/>
                  </a:lnTo>
                  <a:lnTo>
                    <a:pt x="229" y="242"/>
                  </a:lnTo>
                  <a:lnTo>
                    <a:pt x="229" y="238"/>
                  </a:lnTo>
                  <a:lnTo>
                    <a:pt x="228" y="234"/>
                  </a:lnTo>
                  <a:lnTo>
                    <a:pt x="227" y="229"/>
                  </a:lnTo>
                  <a:lnTo>
                    <a:pt x="223" y="225"/>
                  </a:lnTo>
                  <a:lnTo>
                    <a:pt x="220"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sp>
        <p:nvSpPr>
          <p:cNvPr id="38" name="Content Placeholder 2">
            <a:extLst>
              <a:ext uri="{FF2B5EF4-FFF2-40B4-BE49-F238E27FC236}">
                <a16:creationId xmlns:a16="http://schemas.microsoft.com/office/drawing/2014/main" id="{DB1C8B27-8A53-4590-A9E8-4872BBFE1240}"/>
              </a:ext>
            </a:extLst>
          </p:cNvPr>
          <p:cNvSpPr txBox="1">
            <a:spLocks/>
          </p:cNvSpPr>
          <p:nvPr/>
        </p:nvSpPr>
        <p:spPr>
          <a:xfrm>
            <a:off x="4160340" y="4239154"/>
            <a:ext cx="1736734" cy="441022"/>
          </a:xfrm>
          <a:prstGeom prst="rect">
            <a:avLst/>
          </a:prstGeom>
        </p:spPr>
        <p:txBody>
          <a:bodyPr wrap="square" lIns="0" tIns="0" rIns="0" bIns="0">
            <a:spAutoFit/>
          </a:bodyPr>
          <a:lstStyle>
            <a:defPPr>
              <a:defRPr lang="id-ID"/>
            </a:defPPr>
            <a:lvl1pPr algn="ctr">
              <a:defRPr sz="1400">
                <a:solidFill>
                  <a:schemeClr val="accent2"/>
                </a:solidFill>
                <a:latin typeface="Century Gothic"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300"/>
              </a:spcAft>
              <a:buClrTx/>
              <a:buSzTx/>
              <a:buFontTx/>
              <a:buNone/>
              <a:tabLst/>
              <a:defRPr/>
            </a:pPr>
            <a:r>
              <a:rPr kumimoji="0" lang="en-US" b="0" i="0" u="none" strike="noStrike" kern="1200" cap="none" spc="0" normalizeH="0" baseline="0" noProof="0" dirty="0">
                <a:ln>
                  <a:noFill/>
                </a:ln>
                <a:solidFill>
                  <a:schemeClr val="tx1"/>
                </a:solidFill>
                <a:effectLst/>
                <a:uLnTx/>
                <a:uFillTx/>
                <a:latin typeface="+mn-lt"/>
                <a:ea typeface="+mn-ea"/>
                <a:cs typeface="+mn-cs"/>
              </a:rPr>
              <a:t>Bank transfer</a:t>
            </a:r>
          </a:p>
          <a:p>
            <a:pPr marL="0" marR="0" lvl="0" indent="0" algn="ctr" defTabSz="914400" rtl="0" eaLnBrk="1" fontAlgn="auto" latinLnBrk="0" hangingPunct="1">
              <a:lnSpc>
                <a:spcPct val="90000"/>
              </a:lnSpc>
              <a:spcBef>
                <a:spcPts val="0"/>
              </a:spcBef>
              <a:spcAft>
                <a:spcPts val="300"/>
              </a:spcAft>
              <a:buClrTx/>
              <a:buSzTx/>
              <a:buFontTx/>
              <a:buNone/>
              <a:tabLst/>
              <a:defRPr/>
            </a:pPr>
            <a:r>
              <a:rPr lang="en-US" sz="2400" dirty="0">
                <a:solidFill>
                  <a:schemeClr val="tx1"/>
                </a:solidFill>
                <a:latin typeface="+mn-lt"/>
              </a:rPr>
              <a:t>21,9 %</a:t>
            </a:r>
            <a:endParaRPr kumimoji="0" lang="en-US" sz="2400" b="0" i="0" u="none" strike="noStrike" kern="1200" cap="none" spc="0" normalizeH="0" baseline="0" noProof="0" dirty="0">
              <a:ln>
                <a:noFill/>
              </a:ln>
              <a:solidFill>
                <a:schemeClr val="tx1"/>
              </a:solidFill>
              <a:effectLst/>
              <a:uLnTx/>
              <a:uFillTx/>
              <a:latin typeface="+mn-lt"/>
              <a:ea typeface="+mn-ea"/>
              <a:cs typeface="+mn-cs"/>
            </a:endParaRPr>
          </a:p>
        </p:txBody>
      </p:sp>
      <p:sp>
        <p:nvSpPr>
          <p:cNvPr id="39" name="Content Placeholder 2">
            <a:extLst>
              <a:ext uri="{FF2B5EF4-FFF2-40B4-BE49-F238E27FC236}">
                <a16:creationId xmlns:a16="http://schemas.microsoft.com/office/drawing/2014/main" id="{D7B687C8-9051-4EE9-ABFD-3E8367BC78DB}"/>
              </a:ext>
            </a:extLst>
          </p:cNvPr>
          <p:cNvSpPr txBox="1">
            <a:spLocks/>
          </p:cNvSpPr>
          <p:nvPr/>
        </p:nvSpPr>
        <p:spPr>
          <a:xfrm>
            <a:off x="1563630" y="4239154"/>
            <a:ext cx="1736734" cy="441022"/>
          </a:xfrm>
          <a:prstGeom prst="rect">
            <a:avLst/>
          </a:prstGeom>
        </p:spPr>
        <p:txBody>
          <a:bodyPr wrap="square" lIns="0" tIns="0" rIns="0" bIns="0">
            <a:spAutoFit/>
          </a:bodyPr>
          <a:lstStyle>
            <a:defPPr>
              <a:defRPr lang="id-ID"/>
            </a:defPPr>
            <a:lvl1pPr algn="ctr">
              <a:defRPr sz="1400">
                <a:solidFill>
                  <a:schemeClr val="accent2"/>
                </a:solidFill>
                <a:latin typeface="Century Gothic"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300"/>
              </a:spcAft>
              <a:buClrTx/>
              <a:buSzTx/>
              <a:buFontTx/>
              <a:buNone/>
              <a:tabLst/>
              <a:defRPr/>
            </a:pPr>
            <a:r>
              <a:rPr lang="en-US" kern="0" dirty="0">
                <a:solidFill>
                  <a:schemeClr val="tx1"/>
                </a:solidFill>
                <a:latin typeface="+mn-lt"/>
                <a:ea typeface="+mn-ea"/>
                <a:cs typeface="+mn-cs"/>
              </a:rPr>
              <a:t>Electronic check</a:t>
            </a:r>
          </a:p>
          <a:p>
            <a:pPr marL="0" marR="0" lvl="0" indent="0" algn="ctr" defTabSz="914400" rtl="0" eaLnBrk="1" fontAlgn="auto" latinLnBrk="0" hangingPunct="1">
              <a:lnSpc>
                <a:spcPct val="90000"/>
              </a:lnSpc>
              <a:spcBef>
                <a:spcPts val="0"/>
              </a:spcBef>
              <a:spcAft>
                <a:spcPts val="300"/>
              </a:spcAft>
              <a:buClrTx/>
              <a:buSzTx/>
              <a:buFontTx/>
              <a:buNone/>
              <a:tabLst/>
              <a:defRPr/>
            </a:pPr>
            <a:r>
              <a:rPr kumimoji="0" lang="en-US" sz="2400" b="0" i="0" u="none" strike="noStrike" kern="0" cap="none" spc="0" normalizeH="0" baseline="0" noProof="0" dirty="0">
                <a:ln>
                  <a:noFill/>
                </a:ln>
                <a:solidFill>
                  <a:schemeClr val="tx1"/>
                </a:solidFill>
                <a:effectLst/>
                <a:uLnTx/>
                <a:uFillTx/>
                <a:latin typeface="+mn-lt"/>
              </a:rPr>
              <a:t>33,6 %</a:t>
            </a:r>
            <a:endParaRPr kumimoji="0" lang="en-US" sz="24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50" name="Group 49">
            <a:extLst>
              <a:ext uri="{FF2B5EF4-FFF2-40B4-BE49-F238E27FC236}">
                <a16:creationId xmlns:a16="http://schemas.microsoft.com/office/drawing/2014/main" id="{6D83AD8B-8993-4DD3-B718-75FD73B9460A}"/>
              </a:ext>
            </a:extLst>
          </p:cNvPr>
          <p:cNvGrpSpPr/>
          <p:nvPr/>
        </p:nvGrpSpPr>
        <p:grpSpPr>
          <a:xfrm>
            <a:off x="2278041" y="3793459"/>
            <a:ext cx="307911" cy="294532"/>
            <a:chOff x="4900613" y="3937000"/>
            <a:chExt cx="287338" cy="285750"/>
          </a:xfrm>
          <a:solidFill>
            <a:schemeClr val="accent1"/>
          </a:solidFill>
        </p:grpSpPr>
        <p:sp>
          <p:nvSpPr>
            <p:cNvPr id="51" name="Freeform 4743">
              <a:extLst>
                <a:ext uri="{FF2B5EF4-FFF2-40B4-BE49-F238E27FC236}">
                  <a16:creationId xmlns:a16="http://schemas.microsoft.com/office/drawing/2014/main" id="{0C10FC2C-8850-4AED-893D-75FCAE559217}"/>
                </a:ext>
              </a:extLst>
            </p:cNvPr>
            <p:cNvSpPr>
              <a:spLocks/>
            </p:cNvSpPr>
            <p:nvPr/>
          </p:nvSpPr>
          <p:spPr bwMode="auto">
            <a:xfrm>
              <a:off x="4900613" y="3937000"/>
              <a:ext cx="133350" cy="38100"/>
            </a:xfrm>
            <a:custGeom>
              <a:avLst/>
              <a:gdLst>
                <a:gd name="T0" fmla="*/ 346 w 421"/>
                <a:gd name="T1" fmla="*/ 0 h 120"/>
                <a:gd name="T2" fmla="*/ 76 w 421"/>
                <a:gd name="T3" fmla="*/ 0 h 120"/>
                <a:gd name="T4" fmla="*/ 68 w 421"/>
                <a:gd name="T5" fmla="*/ 1 h 120"/>
                <a:gd name="T6" fmla="*/ 61 w 421"/>
                <a:gd name="T7" fmla="*/ 2 h 120"/>
                <a:gd name="T8" fmla="*/ 53 w 421"/>
                <a:gd name="T9" fmla="*/ 3 h 120"/>
                <a:gd name="T10" fmla="*/ 46 w 421"/>
                <a:gd name="T11" fmla="*/ 5 h 120"/>
                <a:gd name="T12" fmla="*/ 40 w 421"/>
                <a:gd name="T13" fmla="*/ 9 h 120"/>
                <a:gd name="T14" fmla="*/ 33 w 421"/>
                <a:gd name="T15" fmla="*/ 12 h 120"/>
                <a:gd name="T16" fmla="*/ 27 w 421"/>
                <a:gd name="T17" fmla="*/ 17 h 120"/>
                <a:gd name="T18" fmla="*/ 22 w 421"/>
                <a:gd name="T19" fmla="*/ 22 h 120"/>
                <a:gd name="T20" fmla="*/ 18 w 421"/>
                <a:gd name="T21" fmla="*/ 27 h 120"/>
                <a:gd name="T22" fmla="*/ 13 w 421"/>
                <a:gd name="T23" fmla="*/ 33 h 120"/>
                <a:gd name="T24" fmla="*/ 10 w 421"/>
                <a:gd name="T25" fmla="*/ 39 h 120"/>
                <a:gd name="T26" fmla="*/ 6 w 421"/>
                <a:gd name="T27" fmla="*/ 46 h 120"/>
                <a:gd name="T28" fmla="*/ 4 w 421"/>
                <a:gd name="T29" fmla="*/ 53 h 120"/>
                <a:gd name="T30" fmla="*/ 2 w 421"/>
                <a:gd name="T31" fmla="*/ 60 h 120"/>
                <a:gd name="T32" fmla="*/ 0 w 421"/>
                <a:gd name="T33" fmla="*/ 67 h 120"/>
                <a:gd name="T34" fmla="*/ 0 w 421"/>
                <a:gd name="T35" fmla="*/ 75 h 120"/>
                <a:gd name="T36" fmla="*/ 0 w 421"/>
                <a:gd name="T37" fmla="*/ 120 h 120"/>
                <a:gd name="T38" fmla="*/ 421 w 421"/>
                <a:gd name="T39" fmla="*/ 120 h 120"/>
                <a:gd name="T40" fmla="*/ 421 w 421"/>
                <a:gd name="T41" fmla="*/ 75 h 120"/>
                <a:gd name="T42" fmla="*/ 421 w 421"/>
                <a:gd name="T43" fmla="*/ 67 h 120"/>
                <a:gd name="T44" fmla="*/ 420 w 421"/>
                <a:gd name="T45" fmla="*/ 60 h 120"/>
                <a:gd name="T46" fmla="*/ 417 w 421"/>
                <a:gd name="T47" fmla="*/ 53 h 120"/>
                <a:gd name="T48" fmla="*/ 415 w 421"/>
                <a:gd name="T49" fmla="*/ 46 h 120"/>
                <a:gd name="T50" fmla="*/ 412 w 421"/>
                <a:gd name="T51" fmla="*/ 39 h 120"/>
                <a:gd name="T52" fmla="*/ 408 w 421"/>
                <a:gd name="T53" fmla="*/ 33 h 120"/>
                <a:gd name="T54" fmla="*/ 403 w 421"/>
                <a:gd name="T55" fmla="*/ 27 h 120"/>
                <a:gd name="T56" fmla="*/ 399 w 421"/>
                <a:gd name="T57" fmla="*/ 22 h 120"/>
                <a:gd name="T58" fmla="*/ 393 w 421"/>
                <a:gd name="T59" fmla="*/ 17 h 120"/>
                <a:gd name="T60" fmla="*/ 387 w 421"/>
                <a:gd name="T61" fmla="*/ 12 h 120"/>
                <a:gd name="T62" fmla="*/ 381 w 421"/>
                <a:gd name="T63" fmla="*/ 9 h 120"/>
                <a:gd name="T64" fmla="*/ 375 w 421"/>
                <a:gd name="T65" fmla="*/ 5 h 120"/>
                <a:gd name="T66" fmla="*/ 368 w 421"/>
                <a:gd name="T67" fmla="*/ 3 h 120"/>
                <a:gd name="T68" fmla="*/ 361 w 421"/>
                <a:gd name="T69" fmla="*/ 2 h 120"/>
                <a:gd name="T70" fmla="*/ 354 w 421"/>
                <a:gd name="T71" fmla="*/ 1 h 120"/>
                <a:gd name="T72" fmla="*/ 346 w 421"/>
                <a:gd name="T73" fmla="*/ 0 h 120"/>
                <a:gd name="T74" fmla="*/ 346 w 421"/>
                <a:gd name="T75"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1" h="120">
                  <a:moveTo>
                    <a:pt x="346" y="0"/>
                  </a:moveTo>
                  <a:lnTo>
                    <a:pt x="76" y="0"/>
                  </a:lnTo>
                  <a:lnTo>
                    <a:pt x="68" y="1"/>
                  </a:lnTo>
                  <a:lnTo>
                    <a:pt x="61" y="2"/>
                  </a:lnTo>
                  <a:lnTo>
                    <a:pt x="53" y="3"/>
                  </a:lnTo>
                  <a:lnTo>
                    <a:pt x="46" y="5"/>
                  </a:lnTo>
                  <a:lnTo>
                    <a:pt x="40" y="9"/>
                  </a:lnTo>
                  <a:lnTo>
                    <a:pt x="33" y="12"/>
                  </a:lnTo>
                  <a:lnTo>
                    <a:pt x="27" y="17"/>
                  </a:lnTo>
                  <a:lnTo>
                    <a:pt x="22" y="22"/>
                  </a:lnTo>
                  <a:lnTo>
                    <a:pt x="18" y="27"/>
                  </a:lnTo>
                  <a:lnTo>
                    <a:pt x="13" y="33"/>
                  </a:lnTo>
                  <a:lnTo>
                    <a:pt x="10" y="39"/>
                  </a:lnTo>
                  <a:lnTo>
                    <a:pt x="6" y="46"/>
                  </a:lnTo>
                  <a:lnTo>
                    <a:pt x="4" y="53"/>
                  </a:lnTo>
                  <a:lnTo>
                    <a:pt x="2" y="60"/>
                  </a:lnTo>
                  <a:lnTo>
                    <a:pt x="0" y="67"/>
                  </a:lnTo>
                  <a:lnTo>
                    <a:pt x="0" y="75"/>
                  </a:lnTo>
                  <a:lnTo>
                    <a:pt x="0" y="120"/>
                  </a:lnTo>
                  <a:lnTo>
                    <a:pt x="421" y="120"/>
                  </a:lnTo>
                  <a:lnTo>
                    <a:pt x="421" y="75"/>
                  </a:lnTo>
                  <a:lnTo>
                    <a:pt x="421" y="67"/>
                  </a:lnTo>
                  <a:lnTo>
                    <a:pt x="420" y="60"/>
                  </a:lnTo>
                  <a:lnTo>
                    <a:pt x="417" y="53"/>
                  </a:lnTo>
                  <a:lnTo>
                    <a:pt x="415" y="46"/>
                  </a:lnTo>
                  <a:lnTo>
                    <a:pt x="412" y="39"/>
                  </a:lnTo>
                  <a:lnTo>
                    <a:pt x="408" y="33"/>
                  </a:lnTo>
                  <a:lnTo>
                    <a:pt x="403" y="27"/>
                  </a:lnTo>
                  <a:lnTo>
                    <a:pt x="399" y="22"/>
                  </a:lnTo>
                  <a:lnTo>
                    <a:pt x="393" y="17"/>
                  </a:lnTo>
                  <a:lnTo>
                    <a:pt x="387" y="12"/>
                  </a:lnTo>
                  <a:lnTo>
                    <a:pt x="381" y="9"/>
                  </a:lnTo>
                  <a:lnTo>
                    <a:pt x="375" y="5"/>
                  </a:lnTo>
                  <a:lnTo>
                    <a:pt x="368" y="3"/>
                  </a:lnTo>
                  <a:lnTo>
                    <a:pt x="361" y="2"/>
                  </a:lnTo>
                  <a:lnTo>
                    <a:pt x="354" y="1"/>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2" name="Freeform 4744">
              <a:extLst>
                <a:ext uri="{FF2B5EF4-FFF2-40B4-BE49-F238E27FC236}">
                  <a16:creationId xmlns:a16="http://schemas.microsoft.com/office/drawing/2014/main" id="{2943447E-9503-4211-9710-41280EBF74B3}"/>
                </a:ext>
              </a:extLst>
            </p:cNvPr>
            <p:cNvSpPr>
              <a:spLocks/>
            </p:cNvSpPr>
            <p:nvPr/>
          </p:nvSpPr>
          <p:spPr bwMode="auto">
            <a:xfrm>
              <a:off x="4900613" y="3984625"/>
              <a:ext cx="133350" cy="85725"/>
            </a:xfrm>
            <a:custGeom>
              <a:avLst/>
              <a:gdLst>
                <a:gd name="T0" fmla="*/ 0 w 421"/>
                <a:gd name="T1" fmla="*/ 196 h 270"/>
                <a:gd name="T2" fmla="*/ 0 w 421"/>
                <a:gd name="T3" fmla="*/ 203 h 270"/>
                <a:gd name="T4" fmla="*/ 2 w 421"/>
                <a:gd name="T5" fmla="*/ 211 h 270"/>
                <a:gd name="T6" fmla="*/ 4 w 421"/>
                <a:gd name="T7" fmla="*/ 218 h 270"/>
                <a:gd name="T8" fmla="*/ 6 w 421"/>
                <a:gd name="T9" fmla="*/ 225 h 270"/>
                <a:gd name="T10" fmla="*/ 10 w 421"/>
                <a:gd name="T11" fmla="*/ 231 h 270"/>
                <a:gd name="T12" fmla="*/ 13 w 421"/>
                <a:gd name="T13" fmla="*/ 238 h 270"/>
                <a:gd name="T14" fmla="*/ 18 w 421"/>
                <a:gd name="T15" fmla="*/ 243 h 270"/>
                <a:gd name="T16" fmla="*/ 22 w 421"/>
                <a:gd name="T17" fmla="*/ 248 h 270"/>
                <a:gd name="T18" fmla="*/ 27 w 421"/>
                <a:gd name="T19" fmla="*/ 254 h 270"/>
                <a:gd name="T20" fmla="*/ 33 w 421"/>
                <a:gd name="T21" fmla="*/ 257 h 270"/>
                <a:gd name="T22" fmla="*/ 40 w 421"/>
                <a:gd name="T23" fmla="*/ 262 h 270"/>
                <a:gd name="T24" fmla="*/ 46 w 421"/>
                <a:gd name="T25" fmla="*/ 264 h 270"/>
                <a:gd name="T26" fmla="*/ 53 w 421"/>
                <a:gd name="T27" fmla="*/ 267 h 270"/>
                <a:gd name="T28" fmla="*/ 61 w 421"/>
                <a:gd name="T29" fmla="*/ 269 h 270"/>
                <a:gd name="T30" fmla="*/ 68 w 421"/>
                <a:gd name="T31" fmla="*/ 270 h 270"/>
                <a:gd name="T32" fmla="*/ 76 w 421"/>
                <a:gd name="T33" fmla="*/ 270 h 270"/>
                <a:gd name="T34" fmla="*/ 346 w 421"/>
                <a:gd name="T35" fmla="*/ 270 h 270"/>
                <a:gd name="T36" fmla="*/ 354 w 421"/>
                <a:gd name="T37" fmla="*/ 270 h 270"/>
                <a:gd name="T38" fmla="*/ 361 w 421"/>
                <a:gd name="T39" fmla="*/ 269 h 270"/>
                <a:gd name="T40" fmla="*/ 368 w 421"/>
                <a:gd name="T41" fmla="*/ 267 h 270"/>
                <a:gd name="T42" fmla="*/ 375 w 421"/>
                <a:gd name="T43" fmla="*/ 264 h 270"/>
                <a:gd name="T44" fmla="*/ 381 w 421"/>
                <a:gd name="T45" fmla="*/ 261 h 270"/>
                <a:gd name="T46" fmla="*/ 387 w 421"/>
                <a:gd name="T47" fmla="*/ 257 h 270"/>
                <a:gd name="T48" fmla="*/ 393 w 421"/>
                <a:gd name="T49" fmla="*/ 253 h 270"/>
                <a:gd name="T50" fmla="*/ 399 w 421"/>
                <a:gd name="T51" fmla="*/ 248 h 270"/>
                <a:gd name="T52" fmla="*/ 403 w 421"/>
                <a:gd name="T53" fmla="*/ 243 h 270"/>
                <a:gd name="T54" fmla="*/ 408 w 421"/>
                <a:gd name="T55" fmla="*/ 238 h 270"/>
                <a:gd name="T56" fmla="*/ 412 w 421"/>
                <a:gd name="T57" fmla="*/ 231 h 270"/>
                <a:gd name="T58" fmla="*/ 415 w 421"/>
                <a:gd name="T59" fmla="*/ 225 h 270"/>
                <a:gd name="T60" fmla="*/ 417 w 421"/>
                <a:gd name="T61" fmla="*/ 218 h 270"/>
                <a:gd name="T62" fmla="*/ 420 w 421"/>
                <a:gd name="T63" fmla="*/ 211 h 270"/>
                <a:gd name="T64" fmla="*/ 421 w 421"/>
                <a:gd name="T65" fmla="*/ 203 h 270"/>
                <a:gd name="T66" fmla="*/ 421 w 421"/>
                <a:gd name="T67" fmla="*/ 196 h 270"/>
                <a:gd name="T68" fmla="*/ 421 w 421"/>
                <a:gd name="T69" fmla="*/ 0 h 270"/>
                <a:gd name="T70" fmla="*/ 0 w 421"/>
                <a:gd name="T71" fmla="*/ 0 h 270"/>
                <a:gd name="T72" fmla="*/ 0 w 421"/>
                <a:gd name="T73" fmla="*/ 196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270">
                  <a:moveTo>
                    <a:pt x="0" y="196"/>
                  </a:moveTo>
                  <a:lnTo>
                    <a:pt x="0" y="203"/>
                  </a:lnTo>
                  <a:lnTo>
                    <a:pt x="2" y="211"/>
                  </a:lnTo>
                  <a:lnTo>
                    <a:pt x="4" y="218"/>
                  </a:lnTo>
                  <a:lnTo>
                    <a:pt x="6" y="225"/>
                  </a:lnTo>
                  <a:lnTo>
                    <a:pt x="10" y="231"/>
                  </a:lnTo>
                  <a:lnTo>
                    <a:pt x="13" y="238"/>
                  </a:lnTo>
                  <a:lnTo>
                    <a:pt x="18" y="243"/>
                  </a:lnTo>
                  <a:lnTo>
                    <a:pt x="22" y="248"/>
                  </a:lnTo>
                  <a:lnTo>
                    <a:pt x="27" y="254"/>
                  </a:lnTo>
                  <a:lnTo>
                    <a:pt x="33" y="257"/>
                  </a:lnTo>
                  <a:lnTo>
                    <a:pt x="40" y="262"/>
                  </a:lnTo>
                  <a:lnTo>
                    <a:pt x="46" y="264"/>
                  </a:lnTo>
                  <a:lnTo>
                    <a:pt x="53" y="267"/>
                  </a:lnTo>
                  <a:lnTo>
                    <a:pt x="61" y="269"/>
                  </a:lnTo>
                  <a:lnTo>
                    <a:pt x="68" y="270"/>
                  </a:lnTo>
                  <a:lnTo>
                    <a:pt x="76" y="270"/>
                  </a:lnTo>
                  <a:lnTo>
                    <a:pt x="346" y="270"/>
                  </a:lnTo>
                  <a:lnTo>
                    <a:pt x="354" y="270"/>
                  </a:lnTo>
                  <a:lnTo>
                    <a:pt x="361" y="269"/>
                  </a:lnTo>
                  <a:lnTo>
                    <a:pt x="368" y="267"/>
                  </a:lnTo>
                  <a:lnTo>
                    <a:pt x="375" y="264"/>
                  </a:lnTo>
                  <a:lnTo>
                    <a:pt x="381" y="261"/>
                  </a:lnTo>
                  <a:lnTo>
                    <a:pt x="387" y="257"/>
                  </a:lnTo>
                  <a:lnTo>
                    <a:pt x="393" y="253"/>
                  </a:lnTo>
                  <a:lnTo>
                    <a:pt x="399" y="248"/>
                  </a:lnTo>
                  <a:lnTo>
                    <a:pt x="403" y="243"/>
                  </a:lnTo>
                  <a:lnTo>
                    <a:pt x="408" y="238"/>
                  </a:lnTo>
                  <a:lnTo>
                    <a:pt x="412" y="231"/>
                  </a:lnTo>
                  <a:lnTo>
                    <a:pt x="415" y="225"/>
                  </a:lnTo>
                  <a:lnTo>
                    <a:pt x="417" y="218"/>
                  </a:lnTo>
                  <a:lnTo>
                    <a:pt x="420" y="211"/>
                  </a:lnTo>
                  <a:lnTo>
                    <a:pt x="421" y="203"/>
                  </a:lnTo>
                  <a:lnTo>
                    <a:pt x="421" y="196"/>
                  </a:lnTo>
                  <a:lnTo>
                    <a:pt x="421" y="0"/>
                  </a:lnTo>
                  <a:lnTo>
                    <a:pt x="0" y="0"/>
                  </a:lnTo>
                  <a:lnTo>
                    <a:pt x="0"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3" name="Freeform 4745">
              <a:extLst>
                <a:ext uri="{FF2B5EF4-FFF2-40B4-BE49-F238E27FC236}">
                  <a16:creationId xmlns:a16="http://schemas.microsoft.com/office/drawing/2014/main" id="{458C1C97-B5D5-41A5-A642-F670D9629E9D}"/>
                </a:ext>
              </a:extLst>
            </p:cNvPr>
            <p:cNvSpPr>
              <a:spLocks/>
            </p:cNvSpPr>
            <p:nvPr/>
          </p:nvSpPr>
          <p:spPr bwMode="auto">
            <a:xfrm>
              <a:off x="5053013" y="3937000"/>
              <a:ext cx="134938" cy="38100"/>
            </a:xfrm>
            <a:custGeom>
              <a:avLst/>
              <a:gdLst>
                <a:gd name="T0" fmla="*/ 345 w 421"/>
                <a:gd name="T1" fmla="*/ 0 h 120"/>
                <a:gd name="T2" fmla="*/ 75 w 421"/>
                <a:gd name="T3" fmla="*/ 0 h 120"/>
                <a:gd name="T4" fmla="*/ 67 w 421"/>
                <a:gd name="T5" fmla="*/ 1 h 120"/>
                <a:gd name="T6" fmla="*/ 60 w 421"/>
                <a:gd name="T7" fmla="*/ 2 h 120"/>
                <a:gd name="T8" fmla="*/ 52 w 421"/>
                <a:gd name="T9" fmla="*/ 3 h 120"/>
                <a:gd name="T10" fmla="*/ 45 w 421"/>
                <a:gd name="T11" fmla="*/ 5 h 120"/>
                <a:gd name="T12" fmla="*/ 39 w 421"/>
                <a:gd name="T13" fmla="*/ 9 h 120"/>
                <a:gd name="T14" fmla="*/ 33 w 421"/>
                <a:gd name="T15" fmla="*/ 12 h 120"/>
                <a:gd name="T16" fmla="*/ 27 w 421"/>
                <a:gd name="T17" fmla="*/ 17 h 120"/>
                <a:gd name="T18" fmla="*/ 22 w 421"/>
                <a:gd name="T19" fmla="*/ 22 h 120"/>
                <a:gd name="T20" fmla="*/ 17 w 421"/>
                <a:gd name="T21" fmla="*/ 27 h 120"/>
                <a:gd name="T22" fmla="*/ 13 w 421"/>
                <a:gd name="T23" fmla="*/ 33 h 120"/>
                <a:gd name="T24" fmla="*/ 9 w 421"/>
                <a:gd name="T25" fmla="*/ 39 h 120"/>
                <a:gd name="T26" fmla="*/ 6 w 421"/>
                <a:gd name="T27" fmla="*/ 46 h 120"/>
                <a:gd name="T28" fmla="*/ 4 w 421"/>
                <a:gd name="T29" fmla="*/ 53 h 120"/>
                <a:gd name="T30" fmla="*/ 1 w 421"/>
                <a:gd name="T31" fmla="*/ 60 h 120"/>
                <a:gd name="T32" fmla="*/ 0 w 421"/>
                <a:gd name="T33" fmla="*/ 67 h 120"/>
                <a:gd name="T34" fmla="*/ 0 w 421"/>
                <a:gd name="T35" fmla="*/ 75 h 120"/>
                <a:gd name="T36" fmla="*/ 0 w 421"/>
                <a:gd name="T37" fmla="*/ 120 h 120"/>
                <a:gd name="T38" fmla="*/ 421 w 421"/>
                <a:gd name="T39" fmla="*/ 120 h 120"/>
                <a:gd name="T40" fmla="*/ 421 w 421"/>
                <a:gd name="T41" fmla="*/ 75 h 120"/>
                <a:gd name="T42" fmla="*/ 421 w 421"/>
                <a:gd name="T43" fmla="*/ 67 h 120"/>
                <a:gd name="T44" fmla="*/ 419 w 421"/>
                <a:gd name="T45" fmla="*/ 60 h 120"/>
                <a:gd name="T46" fmla="*/ 417 w 421"/>
                <a:gd name="T47" fmla="*/ 53 h 120"/>
                <a:gd name="T48" fmla="*/ 415 w 421"/>
                <a:gd name="T49" fmla="*/ 46 h 120"/>
                <a:gd name="T50" fmla="*/ 411 w 421"/>
                <a:gd name="T51" fmla="*/ 39 h 120"/>
                <a:gd name="T52" fmla="*/ 408 w 421"/>
                <a:gd name="T53" fmla="*/ 33 h 120"/>
                <a:gd name="T54" fmla="*/ 403 w 421"/>
                <a:gd name="T55" fmla="*/ 27 h 120"/>
                <a:gd name="T56" fmla="*/ 399 w 421"/>
                <a:gd name="T57" fmla="*/ 22 h 120"/>
                <a:gd name="T58" fmla="*/ 393 w 421"/>
                <a:gd name="T59" fmla="*/ 17 h 120"/>
                <a:gd name="T60" fmla="*/ 387 w 421"/>
                <a:gd name="T61" fmla="*/ 12 h 120"/>
                <a:gd name="T62" fmla="*/ 381 w 421"/>
                <a:gd name="T63" fmla="*/ 9 h 120"/>
                <a:gd name="T64" fmla="*/ 374 w 421"/>
                <a:gd name="T65" fmla="*/ 5 h 120"/>
                <a:gd name="T66" fmla="*/ 367 w 421"/>
                <a:gd name="T67" fmla="*/ 3 h 120"/>
                <a:gd name="T68" fmla="*/ 360 w 421"/>
                <a:gd name="T69" fmla="*/ 2 h 120"/>
                <a:gd name="T70" fmla="*/ 353 w 421"/>
                <a:gd name="T71" fmla="*/ 1 h 120"/>
                <a:gd name="T72" fmla="*/ 345 w 421"/>
                <a:gd name="T73" fmla="*/ 0 h 120"/>
                <a:gd name="T74" fmla="*/ 345 w 421"/>
                <a:gd name="T75"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1" h="120">
                  <a:moveTo>
                    <a:pt x="345" y="0"/>
                  </a:moveTo>
                  <a:lnTo>
                    <a:pt x="75" y="0"/>
                  </a:lnTo>
                  <a:lnTo>
                    <a:pt x="67" y="1"/>
                  </a:lnTo>
                  <a:lnTo>
                    <a:pt x="60" y="2"/>
                  </a:lnTo>
                  <a:lnTo>
                    <a:pt x="52" y="3"/>
                  </a:lnTo>
                  <a:lnTo>
                    <a:pt x="45" y="5"/>
                  </a:lnTo>
                  <a:lnTo>
                    <a:pt x="39" y="9"/>
                  </a:lnTo>
                  <a:lnTo>
                    <a:pt x="33" y="12"/>
                  </a:lnTo>
                  <a:lnTo>
                    <a:pt x="27" y="17"/>
                  </a:lnTo>
                  <a:lnTo>
                    <a:pt x="22" y="22"/>
                  </a:lnTo>
                  <a:lnTo>
                    <a:pt x="17" y="27"/>
                  </a:lnTo>
                  <a:lnTo>
                    <a:pt x="13" y="33"/>
                  </a:lnTo>
                  <a:lnTo>
                    <a:pt x="9" y="39"/>
                  </a:lnTo>
                  <a:lnTo>
                    <a:pt x="6" y="46"/>
                  </a:lnTo>
                  <a:lnTo>
                    <a:pt x="4" y="53"/>
                  </a:lnTo>
                  <a:lnTo>
                    <a:pt x="1" y="60"/>
                  </a:lnTo>
                  <a:lnTo>
                    <a:pt x="0" y="67"/>
                  </a:lnTo>
                  <a:lnTo>
                    <a:pt x="0" y="75"/>
                  </a:lnTo>
                  <a:lnTo>
                    <a:pt x="0" y="120"/>
                  </a:lnTo>
                  <a:lnTo>
                    <a:pt x="421" y="120"/>
                  </a:lnTo>
                  <a:lnTo>
                    <a:pt x="421" y="75"/>
                  </a:lnTo>
                  <a:lnTo>
                    <a:pt x="421" y="67"/>
                  </a:lnTo>
                  <a:lnTo>
                    <a:pt x="419" y="60"/>
                  </a:lnTo>
                  <a:lnTo>
                    <a:pt x="417" y="53"/>
                  </a:lnTo>
                  <a:lnTo>
                    <a:pt x="415" y="46"/>
                  </a:lnTo>
                  <a:lnTo>
                    <a:pt x="411" y="39"/>
                  </a:lnTo>
                  <a:lnTo>
                    <a:pt x="408" y="33"/>
                  </a:lnTo>
                  <a:lnTo>
                    <a:pt x="403" y="27"/>
                  </a:lnTo>
                  <a:lnTo>
                    <a:pt x="399" y="22"/>
                  </a:lnTo>
                  <a:lnTo>
                    <a:pt x="393" y="17"/>
                  </a:lnTo>
                  <a:lnTo>
                    <a:pt x="387" y="12"/>
                  </a:lnTo>
                  <a:lnTo>
                    <a:pt x="381" y="9"/>
                  </a:lnTo>
                  <a:lnTo>
                    <a:pt x="374" y="5"/>
                  </a:lnTo>
                  <a:lnTo>
                    <a:pt x="367" y="3"/>
                  </a:lnTo>
                  <a:lnTo>
                    <a:pt x="360" y="2"/>
                  </a:lnTo>
                  <a:lnTo>
                    <a:pt x="353" y="1"/>
                  </a:lnTo>
                  <a:lnTo>
                    <a:pt x="345" y="0"/>
                  </a:lnTo>
                  <a:lnTo>
                    <a:pt x="3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4" name="Freeform 4746">
              <a:extLst>
                <a:ext uri="{FF2B5EF4-FFF2-40B4-BE49-F238E27FC236}">
                  <a16:creationId xmlns:a16="http://schemas.microsoft.com/office/drawing/2014/main" id="{171D8EBE-E9A2-4459-9C65-282A30804308}"/>
                </a:ext>
              </a:extLst>
            </p:cNvPr>
            <p:cNvSpPr>
              <a:spLocks/>
            </p:cNvSpPr>
            <p:nvPr/>
          </p:nvSpPr>
          <p:spPr bwMode="auto">
            <a:xfrm>
              <a:off x="5053013" y="3984625"/>
              <a:ext cx="134938" cy="85725"/>
            </a:xfrm>
            <a:custGeom>
              <a:avLst/>
              <a:gdLst>
                <a:gd name="T0" fmla="*/ 0 w 421"/>
                <a:gd name="T1" fmla="*/ 196 h 270"/>
                <a:gd name="T2" fmla="*/ 0 w 421"/>
                <a:gd name="T3" fmla="*/ 203 h 270"/>
                <a:gd name="T4" fmla="*/ 1 w 421"/>
                <a:gd name="T5" fmla="*/ 211 h 270"/>
                <a:gd name="T6" fmla="*/ 4 w 421"/>
                <a:gd name="T7" fmla="*/ 218 h 270"/>
                <a:gd name="T8" fmla="*/ 6 w 421"/>
                <a:gd name="T9" fmla="*/ 225 h 270"/>
                <a:gd name="T10" fmla="*/ 9 w 421"/>
                <a:gd name="T11" fmla="*/ 231 h 270"/>
                <a:gd name="T12" fmla="*/ 13 w 421"/>
                <a:gd name="T13" fmla="*/ 238 h 270"/>
                <a:gd name="T14" fmla="*/ 17 w 421"/>
                <a:gd name="T15" fmla="*/ 243 h 270"/>
                <a:gd name="T16" fmla="*/ 22 w 421"/>
                <a:gd name="T17" fmla="*/ 248 h 270"/>
                <a:gd name="T18" fmla="*/ 27 w 421"/>
                <a:gd name="T19" fmla="*/ 254 h 270"/>
                <a:gd name="T20" fmla="*/ 33 w 421"/>
                <a:gd name="T21" fmla="*/ 257 h 270"/>
                <a:gd name="T22" fmla="*/ 39 w 421"/>
                <a:gd name="T23" fmla="*/ 262 h 270"/>
                <a:gd name="T24" fmla="*/ 45 w 421"/>
                <a:gd name="T25" fmla="*/ 264 h 270"/>
                <a:gd name="T26" fmla="*/ 52 w 421"/>
                <a:gd name="T27" fmla="*/ 267 h 270"/>
                <a:gd name="T28" fmla="*/ 60 w 421"/>
                <a:gd name="T29" fmla="*/ 269 h 270"/>
                <a:gd name="T30" fmla="*/ 67 w 421"/>
                <a:gd name="T31" fmla="*/ 270 h 270"/>
                <a:gd name="T32" fmla="*/ 75 w 421"/>
                <a:gd name="T33" fmla="*/ 270 h 270"/>
                <a:gd name="T34" fmla="*/ 345 w 421"/>
                <a:gd name="T35" fmla="*/ 270 h 270"/>
                <a:gd name="T36" fmla="*/ 353 w 421"/>
                <a:gd name="T37" fmla="*/ 270 h 270"/>
                <a:gd name="T38" fmla="*/ 360 w 421"/>
                <a:gd name="T39" fmla="*/ 269 h 270"/>
                <a:gd name="T40" fmla="*/ 367 w 421"/>
                <a:gd name="T41" fmla="*/ 267 h 270"/>
                <a:gd name="T42" fmla="*/ 374 w 421"/>
                <a:gd name="T43" fmla="*/ 264 h 270"/>
                <a:gd name="T44" fmla="*/ 381 w 421"/>
                <a:gd name="T45" fmla="*/ 261 h 270"/>
                <a:gd name="T46" fmla="*/ 387 w 421"/>
                <a:gd name="T47" fmla="*/ 257 h 270"/>
                <a:gd name="T48" fmla="*/ 393 w 421"/>
                <a:gd name="T49" fmla="*/ 253 h 270"/>
                <a:gd name="T50" fmla="*/ 399 w 421"/>
                <a:gd name="T51" fmla="*/ 248 h 270"/>
                <a:gd name="T52" fmla="*/ 403 w 421"/>
                <a:gd name="T53" fmla="*/ 243 h 270"/>
                <a:gd name="T54" fmla="*/ 408 w 421"/>
                <a:gd name="T55" fmla="*/ 238 h 270"/>
                <a:gd name="T56" fmla="*/ 411 w 421"/>
                <a:gd name="T57" fmla="*/ 231 h 270"/>
                <a:gd name="T58" fmla="*/ 415 w 421"/>
                <a:gd name="T59" fmla="*/ 225 h 270"/>
                <a:gd name="T60" fmla="*/ 417 w 421"/>
                <a:gd name="T61" fmla="*/ 218 h 270"/>
                <a:gd name="T62" fmla="*/ 419 w 421"/>
                <a:gd name="T63" fmla="*/ 211 h 270"/>
                <a:gd name="T64" fmla="*/ 421 w 421"/>
                <a:gd name="T65" fmla="*/ 203 h 270"/>
                <a:gd name="T66" fmla="*/ 421 w 421"/>
                <a:gd name="T67" fmla="*/ 196 h 270"/>
                <a:gd name="T68" fmla="*/ 421 w 421"/>
                <a:gd name="T69" fmla="*/ 0 h 270"/>
                <a:gd name="T70" fmla="*/ 0 w 421"/>
                <a:gd name="T71" fmla="*/ 0 h 270"/>
                <a:gd name="T72" fmla="*/ 0 w 421"/>
                <a:gd name="T73" fmla="*/ 196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270">
                  <a:moveTo>
                    <a:pt x="0" y="196"/>
                  </a:moveTo>
                  <a:lnTo>
                    <a:pt x="0" y="203"/>
                  </a:lnTo>
                  <a:lnTo>
                    <a:pt x="1" y="211"/>
                  </a:lnTo>
                  <a:lnTo>
                    <a:pt x="4" y="218"/>
                  </a:lnTo>
                  <a:lnTo>
                    <a:pt x="6" y="225"/>
                  </a:lnTo>
                  <a:lnTo>
                    <a:pt x="9" y="231"/>
                  </a:lnTo>
                  <a:lnTo>
                    <a:pt x="13" y="238"/>
                  </a:lnTo>
                  <a:lnTo>
                    <a:pt x="17" y="243"/>
                  </a:lnTo>
                  <a:lnTo>
                    <a:pt x="22" y="248"/>
                  </a:lnTo>
                  <a:lnTo>
                    <a:pt x="27" y="254"/>
                  </a:lnTo>
                  <a:lnTo>
                    <a:pt x="33" y="257"/>
                  </a:lnTo>
                  <a:lnTo>
                    <a:pt x="39" y="262"/>
                  </a:lnTo>
                  <a:lnTo>
                    <a:pt x="45" y="264"/>
                  </a:lnTo>
                  <a:lnTo>
                    <a:pt x="52" y="267"/>
                  </a:lnTo>
                  <a:lnTo>
                    <a:pt x="60" y="269"/>
                  </a:lnTo>
                  <a:lnTo>
                    <a:pt x="67" y="270"/>
                  </a:lnTo>
                  <a:lnTo>
                    <a:pt x="75" y="270"/>
                  </a:lnTo>
                  <a:lnTo>
                    <a:pt x="345" y="270"/>
                  </a:lnTo>
                  <a:lnTo>
                    <a:pt x="353" y="270"/>
                  </a:lnTo>
                  <a:lnTo>
                    <a:pt x="360" y="269"/>
                  </a:lnTo>
                  <a:lnTo>
                    <a:pt x="367" y="267"/>
                  </a:lnTo>
                  <a:lnTo>
                    <a:pt x="374" y="264"/>
                  </a:lnTo>
                  <a:lnTo>
                    <a:pt x="381" y="261"/>
                  </a:lnTo>
                  <a:lnTo>
                    <a:pt x="387" y="257"/>
                  </a:lnTo>
                  <a:lnTo>
                    <a:pt x="393" y="253"/>
                  </a:lnTo>
                  <a:lnTo>
                    <a:pt x="399" y="248"/>
                  </a:lnTo>
                  <a:lnTo>
                    <a:pt x="403" y="243"/>
                  </a:lnTo>
                  <a:lnTo>
                    <a:pt x="408" y="238"/>
                  </a:lnTo>
                  <a:lnTo>
                    <a:pt x="411" y="231"/>
                  </a:lnTo>
                  <a:lnTo>
                    <a:pt x="415" y="225"/>
                  </a:lnTo>
                  <a:lnTo>
                    <a:pt x="417" y="218"/>
                  </a:lnTo>
                  <a:lnTo>
                    <a:pt x="419" y="211"/>
                  </a:lnTo>
                  <a:lnTo>
                    <a:pt x="421" y="203"/>
                  </a:lnTo>
                  <a:lnTo>
                    <a:pt x="421" y="196"/>
                  </a:lnTo>
                  <a:lnTo>
                    <a:pt x="421" y="0"/>
                  </a:lnTo>
                  <a:lnTo>
                    <a:pt x="0" y="0"/>
                  </a:lnTo>
                  <a:lnTo>
                    <a:pt x="0"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5" name="Freeform 4747">
              <a:extLst>
                <a:ext uri="{FF2B5EF4-FFF2-40B4-BE49-F238E27FC236}">
                  <a16:creationId xmlns:a16="http://schemas.microsoft.com/office/drawing/2014/main" id="{F758515F-16FE-4797-8759-F22F8BD65891}"/>
                </a:ext>
              </a:extLst>
            </p:cNvPr>
            <p:cNvSpPr>
              <a:spLocks/>
            </p:cNvSpPr>
            <p:nvPr/>
          </p:nvSpPr>
          <p:spPr bwMode="auto">
            <a:xfrm>
              <a:off x="4900613" y="4137025"/>
              <a:ext cx="133350" cy="85725"/>
            </a:xfrm>
            <a:custGeom>
              <a:avLst/>
              <a:gdLst>
                <a:gd name="T0" fmla="*/ 0 w 421"/>
                <a:gd name="T1" fmla="*/ 194 h 270"/>
                <a:gd name="T2" fmla="*/ 0 w 421"/>
                <a:gd name="T3" fmla="*/ 203 h 270"/>
                <a:gd name="T4" fmla="*/ 2 w 421"/>
                <a:gd name="T5" fmla="*/ 209 h 270"/>
                <a:gd name="T6" fmla="*/ 4 w 421"/>
                <a:gd name="T7" fmla="*/ 218 h 270"/>
                <a:gd name="T8" fmla="*/ 6 w 421"/>
                <a:gd name="T9" fmla="*/ 225 h 270"/>
                <a:gd name="T10" fmla="*/ 10 w 421"/>
                <a:gd name="T11" fmla="*/ 230 h 270"/>
                <a:gd name="T12" fmla="*/ 13 w 421"/>
                <a:gd name="T13" fmla="*/ 237 h 270"/>
                <a:gd name="T14" fmla="*/ 18 w 421"/>
                <a:gd name="T15" fmla="*/ 243 h 270"/>
                <a:gd name="T16" fmla="*/ 22 w 421"/>
                <a:gd name="T17" fmla="*/ 248 h 270"/>
                <a:gd name="T18" fmla="*/ 27 w 421"/>
                <a:gd name="T19" fmla="*/ 252 h 270"/>
                <a:gd name="T20" fmla="*/ 33 w 421"/>
                <a:gd name="T21" fmla="*/ 257 h 270"/>
                <a:gd name="T22" fmla="*/ 40 w 421"/>
                <a:gd name="T23" fmla="*/ 262 h 270"/>
                <a:gd name="T24" fmla="*/ 46 w 421"/>
                <a:gd name="T25" fmla="*/ 264 h 270"/>
                <a:gd name="T26" fmla="*/ 53 w 421"/>
                <a:gd name="T27" fmla="*/ 266 h 270"/>
                <a:gd name="T28" fmla="*/ 61 w 421"/>
                <a:gd name="T29" fmla="*/ 269 h 270"/>
                <a:gd name="T30" fmla="*/ 68 w 421"/>
                <a:gd name="T31" fmla="*/ 270 h 270"/>
                <a:gd name="T32" fmla="*/ 76 w 421"/>
                <a:gd name="T33" fmla="*/ 270 h 270"/>
                <a:gd name="T34" fmla="*/ 346 w 421"/>
                <a:gd name="T35" fmla="*/ 270 h 270"/>
                <a:gd name="T36" fmla="*/ 354 w 421"/>
                <a:gd name="T37" fmla="*/ 270 h 270"/>
                <a:gd name="T38" fmla="*/ 361 w 421"/>
                <a:gd name="T39" fmla="*/ 269 h 270"/>
                <a:gd name="T40" fmla="*/ 368 w 421"/>
                <a:gd name="T41" fmla="*/ 266 h 270"/>
                <a:gd name="T42" fmla="*/ 375 w 421"/>
                <a:gd name="T43" fmla="*/ 264 h 270"/>
                <a:gd name="T44" fmla="*/ 381 w 421"/>
                <a:gd name="T45" fmla="*/ 260 h 270"/>
                <a:gd name="T46" fmla="*/ 387 w 421"/>
                <a:gd name="T47" fmla="*/ 257 h 270"/>
                <a:gd name="T48" fmla="*/ 393 w 421"/>
                <a:gd name="T49" fmla="*/ 252 h 270"/>
                <a:gd name="T50" fmla="*/ 399 w 421"/>
                <a:gd name="T51" fmla="*/ 248 h 270"/>
                <a:gd name="T52" fmla="*/ 403 w 421"/>
                <a:gd name="T53" fmla="*/ 243 h 270"/>
                <a:gd name="T54" fmla="*/ 408 w 421"/>
                <a:gd name="T55" fmla="*/ 237 h 270"/>
                <a:gd name="T56" fmla="*/ 412 w 421"/>
                <a:gd name="T57" fmla="*/ 230 h 270"/>
                <a:gd name="T58" fmla="*/ 415 w 421"/>
                <a:gd name="T59" fmla="*/ 225 h 270"/>
                <a:gd name="T60" fmla="*/ 417 w 421"/>
                <a:gd name="T61" fmla="*/ 218 h 270"/>
                <a:gd name="T62" fmla="*/ 420 w 421"/>
                <a:gd name="T63" fmla="*/ 211 h 270"/>
                <a:gd name="T64" fmla="*/ 421 w 421"/>
                <a:gd name="T65" fmla="*/ 203 h 270"/>
                <a:gd name="T66" fmla="*/ 421 w 421"/>
                <a:gd name="T67" fmla="*/ 196 h 270"/>
                <a:gd name="T68" fmla="*/ 421 w 421"/>
                <a:gd name="T69" fmla="*/ 0 h 270"/>
                <a:gd name="T70" fmla="*/ 0 w 421"/>
                <a:gd name="T71" fmla="*/ 0 h 270"/>
                <a:gd name="T72" fmla="*/ 0 w 421"/>
                <a:gd name="T73" fmla="*/ 19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270">
                  <a:moveTo>
                    <a:pt x="0" y="194"/>
                  </a:moveTo>
                  <a:lnTo>
                    <a:pt x="0" y="203"/>
                  </a:lnTo>
                  <a:lnTo>
                    <a:pt x="2" y="209"/>
                  </a:lnTo>
                  <a:lnTo>
                    <a:pt x="4" y="218"/>
                  </a:lnTo>
                  <a:lnTo>
                    <a:pt x="6" y="225"/>
                  </a:lnTo>
                  <a:lnTo>
                    <a:pt x="10" y="230"/>
                  </a:lnTo>
                  <a:lnTo>
                    <a:pt x="13" y="237"/>
                  </a:lnTo>
                  <a:lnTo>
                    <a:pt x="18" y="243"/>
                  </a:lnTo>
                  <a:lnTo>
                    <a:pt x="22" y="248"/>
                  </a:lnTo>
                  <a:lnTo>
                    <a:pt x="27" y="252"/>
                  </a:lnTo>
                  <a:lnTo>
                    <a:pt x="33" y="257"/>
                  </a:lnTo>
                  <a:lnTo>
                    <a:pt x="40" y="262"/>
                  </a:lnTo>
                  <a:lnTo>
                    <a:pt x="46" y="264"/>
                  </a:lnTo>
                  <a:lnTo>
                    <a:pt x="53" y="266"/>
                  </a:lnTo>
                  <a:lnTo>
                    <a:pt x="61" y="269"/>
                  </a:lnTo>
                  <a:lnTo>
                    <a:pt x="68" y="270"/>
                  </a:lnTo>
                  <a:lnTo>
                    <a:pt x="76" y="270"/>
                  </a:lnTo>
                  <a:lnTo>
                    <a:pt x="346" y="270"/>
                  </a:lnTo>
                  <a:lnTo>
                    <a:pt x="354" y="270"/>
                  </a:lnTo>
                  <a:lnTo>
                    <a:pt x="361" y="269"/>
                  </a:lnTo>
                  <a:lnTo>
                    <a:pt x="368" y="266"/>
                  </a:lnTo>
                  <a:lnTo>
                    <a:pt x="375" y="264"/>
                  </a:lnTo>
                  <a:lnTo>
                    <a:pt x="381" y="260"/>
                  </a:lnTo>
                  <a:lnTo>
                    <a:pt x="387" y="257"/>
                  </a:lnTo>
                  <a:lnTo>
                    <a:pt x="393" y="252"/>
                  </a:lnTo>
                  <a:lnTo>
                    <a:pt x="399" y="248"/>
                  </a:lnTo>
                  <a:lnTo>
                    <a:pt x="403" y="243"/>
                  </a:lnTo>
                  <a:lnTo>
                    <a:pt x="408" y="237"/>
                  </a:lnTo>
                  <a:lnTo>
                    <a:pt x="412" y="230"/>
                  </a:lnTo>
                  <a:lnTo>
                    <a:pt x="415" y="225"/>
                  </a:lnTo>
                  <a:lnTo>
                    <a:pt x="417" y="218"/>
                  </a:lnTo>
                  <a:lnTo>
                    <a:pt x="420" y="211"/>
                  </a:lnTo>
                  <a:lnTo>
                    <a:pt x="421" y="203"/>
                  </a:lnTo>
                  <a:lnTo>
                    <a:pt x="421" y="196"/>
                  </a:lnTo>
                  <a:lnTo>
                    <a:pt x="421" y="0"/>
                  </a:lnTo>
                  <a:lnTo>
                    <a:pt x="0" y="0"/>
                  </a:lnTo>
                  <a:lnTo>
                    <a:pt x="0"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6" name="Freeform 4748">
              <a:extLst>
                <a:ext uri="{FF2B5EF4-FFF2-40B4-BE49-F238E27FC236}">
                  <a16:creationId xmlns:a16="http://schemas.microsoft.com/office/drawing/2014/main" id="{AA9389B3-8264-4B54-B49F-656C9DF21360}"/>
                </a:ext>
              </a:extLst>
            </p:cNvPr>
            <p:cNvSpPr>
              <a:spLocks/>
            </p:cNvSpPr>
            <p:nvPr/>
          </p:nvSpPr>
          <p:spPr bwMode="auto">
            <a:xfrm>
              <a:off x="4900613" y="4089400"/>
              <a:ext cx="133350" cy="38100"/>
            </a:xfrm>
            <a:custGeom>
              <a:avLst/>
              <a:gdLst>
                <a:gd name="T0" fmla="*/ 346 w 421"/>
                <a:gd name="T1" fmla="*/ 0 h 121"/>
                <a:gd name="T2" fmla="*/ 76 w 421"/>
                <a:gd name="T3" fmla="*/ 0 h 121"/>
                <a:gd name="T4" fmla="*/ 68 w 421"/>
                <a:gd name="T5" fmla="*/ 1 h 121"/>
                <a:gd name="T6" fmla="*/ 61 w 421"/>
                <a:gd name="T7" fmla="*/ 3 h 121"/>
                <a:gd name="T8" fmla="*/ 53 w 421"/>
                <a:gd name="T9" fmla="*/ 4 h 121"/>
                <a:gd name="T10" fmla="*/ 46 w 421"/>
                <a:gd name="T11" fmla="*/ 6 h 121"/>
                <a:gd name="T12" fmla="*/ 40 w 421"/>
                <a:gd name="T13" fmla="*/ 10 h 121"/>
                <a:gd name="T14" fmla="*/ 33 w 421"/>
                <a:gd name="T15" fmla="*/ 13 h 121"/>
                <a:gd name="T16" fmla="*/ 27 w 421"/>
                <a:gd name="T17" fmla="*/ 18 h 121"/>
                <a:gd name="T18" fmla="*/ 22 w 421"/>
                <a:gd name="T19" fmla="*/ 22 h 121"/>
                <a:gd name="T20" fmla="*/ 18 w 421"/>
                <a:gd name="T21" fmla="*/ 28 h 121"/>
                <a:gd name="T22" fmla="*/ 13 w 421"/>
                <a:gd name="T23" fmla="*/ 34 h 121"/>
                <a:gd name="T24" fmla="*/ 10 w 421"/>
                <a:gd name="T25" fmla="*/ 40 h 121"/>
                <a:gd name="T26" fmla="*/ 6 w 421"/>
                <a:gd name="T27" fmla="*/ 47 h 121"/>
                <a:gd name="T28" fmla="*/ 4 w 421"/>
                <a:gd name="T29" fmla="*/ 54 h 121"/>
                <a:gd name="T30" fmla="*/ 2 w 421"/>
                <a:gd name="T31" fmla="*/ 61 h 121"/>
                <a:gd name="T32" fmla="*/ 0 w 421"/>
                <a:gd name="T33" fmla="*/ 67 h 121"/>
                <a:gd name="T34" fmla="*/ 0 w 421"/>
                <a:gd name="T35" fmla="*/ 76 h 121"/>
                <a:gd name="T36" fmla="*/ 0 w 421"/>
                <a:gd name="T37" fmla="*/ 121 h 121"/>
                <a:gd name="T38" fmla="*/ 421 w 421"/>
                <a:gd name="T39" fmla="*/ 121 h 121"/>
                <a:gd name="T40" fmla="*/ 421 w 421"/>
                <a:gd name="T41" fmla="*/ 76 h 121"/>
                <a:gd name="T42" fmla="*/ 421 w 421"/>
                <a:gd name="T43" fmla="*/ 67 h 121"/>
                <a:gd name="T44" fmla="*/ 420 w 421"/>
                <a:gd name="T45" fmla="*/ 61 h 121"/>
                <a:gd name="T46" fmla="*/ 417 w 421"/>
                <a:gd name="T47" fmla="*/ 54 h 121"/>
                <a:gd name="T48" fmla="*/ 415 w 421"/>
                <a:gd name="T49" fmla="*/ 47 h 121"/>
                <a:gd name="T50" fmla="*/ 412 w 421"/>
                <a:gd name="T51" fmla="*/ 40 h 121"/>
                <a:gd name="T52" fmla="*/ 408 w 421"/>
                <a:gd name="T53" fmla="*/ 34 h 121"/>
                <a:gd name="T54" fmla="*/ 403 w 421"/>
                <a:gd name="T55" fmla="*/ 28 h 121"/>
                <a:gd name="T56" fmla="*/ 399 w 421"/>
                <a:gd name="T57" fmla="*/ 22 h 121"/>
                <a:gd name="T58" fmla="*/ 393 w 421"/>
                <a:gd name="T59" fmla="*/ 18 h 121"/>
                <a:gd name="T60" fmla="*/ 387 w 421"/>
                <a:gd name="T61" fmla="*/ 13 h 121"/>
                <a:gd name="T62" fmla="*/ 381 w 421"/>
                <a:gd name="T63" fmla="*/ 10 h 121"/>
                <a:gd name="T64" fmla="*/ 375 w 421"/>
                <a:gd name="T65" fmla="*/ 6 h 121"/>
                <a:gd name="T66" fmla="*/ 368 w 421"/>
                <a:gd name="T67" fmla="*/ 4 h 121"/>
                <a:gd name="T68" fmla="*/ 361 w 421"/>
                <a:gd name="T69" fmla="*/ 3 h 121"/>
                <a:gd name="T70" fmla="*/ 354 w 421"/>
                <a:gd name="T71" fmla="*/ 1 h 121"/>
                <a:gd name="T72" fmla="*/ 346 w 421"/>
                <a:gd name="T7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121">
                  <a:moveTo>
                    <a:pt x="346" y="0"/>
                  </a:moveTo>
                  <a:lnTo>
                    <a:pt x="76" y="0"/>
                  </a:lnTo>
                  <a:lnTo>
                    <a:pt x="68" y="1"/>
                  </a:lnTo>
                  <a:lnTo>
                    <a:pt x="61" y="3"/>
                  </a:lnTo>
                  <a:lnTo>
                    <a:pt x="53" y="4"/>
                  </a:lnTo>
                  <a:lnTo>
                    <a:pt x="46" y="6"/>
                  </a:lnTo>
                  <a:lnTo>
                    <a:pt x="40" y="10"/>
                  </a:lnTo>
                  <a:lnTo>
                    <a:pt x="33" y="13"/>
                  </a:lnTo>
                  <a:lnTo>
                    <a:pt x="27" y="18"/>
                  </a:lnTo>
                  <a:lnTo>
                    <a:pt x="22" y="22"/>
                  </a:lnTo>
                  <a:lnTo>
                    <a:pt x="18" y="28"/>
                  </a:lnTo>
                  <a:lnTo>
                    <a:pt x="13" y="34"/>
                  </a:lnTo>
                  <a:lnTo>
                    <a:pt x="10" y="40"/>
                  </a:lnTo>
                  <a:lnTo>
                    <a:pt x="6" y="47"/>
                  </a:lnTo>
                  <a:lnTo>
                    <a:pt x="4" y="54"/>
                  </a:lnTo>
                  <a:lnTo>
                    <a:pt x="2" y="61"/>
                  </a:lnTo>
                  <a:lnTo>
                    <a:pt x="0" y="67"/>
                  </a:lnTo>
                  <a:lnTo>
                    <a:pt x="0" y="76"/>
                  </a:lnTo>
                  <a:lnTo>
                    <a:pt x="0" y="121"/>
                  </a:lnTo>
                  <a:lnTo>
                    <a:pt x="421" y="121"/>
                  </a:lnTo>
                  <a:lnTo>
                    <a:pt x="421" y="76"/>
                  </a:lnTo>
                  <a:lnTo>
                    <a:pt x="421" y="67"/>
                  </a:lnTo>
                  <a:lnTo>
                    <a:pt x="420" y="61"/>
                  </a:lnTo>
                  <a:lnTo>
                    <a:pt x="417" y="54"/>
                  </a:lnTo>
                  <a:lnTo>
                    <a:pt x="415" y="47"/>
                  </a:lnTo>
                  <a:lnTo>
                    <a:pt x="412" y="40"/>
                  </a:lnTo>
                  <a:lnTo>
                    <a:pt x="408" y="34"/>
                  </a:lnTo>
                  <a:lnTo>
                    <a:pt x="403" y="28"/>
                  </a:lnTo>
                  <a:lnTo>
                    <a:pt x="399" y="22"/>
                  </a:lnTo>
                  <a:lnTo>
                    <a:pt x="393" y="18"/>
                  </a:lnTo>
                  <a:lnTo>
                    <a:pt x="387" y="13"/>
                  </a:lnTo>
                  <a:lnTo>
                    <a:pt x="381" y="10"/>
                  </a:lnTo>
                  <a:lnTo>
                    <a:pt x="375" y="6"/>
                  </a:lnTo>
                  <a:lnTo>
                    <a:pt x="368" y="4"/>
                  </a:lnTo>
                  <a:lnTo>
                    <a:pt x="361" y="3"/>
                  </a:lnTo>
                  <a:lnTo>
                    <a:pt x="354" y="1"/>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7" name="Freeform 4749">
              <a:extLst>
                <a:ext uri="{FF2B5EF4-FFF2-40B4-BE49-F238E27FC236}">
                  <a16:creationId xmlns:a16="http://schemas.microsoft.com/office/drawing/2014/main" id="{201F7A12-BAD4-41B3-A709-6E87F6ED5F59}"/>
                </a:ext>
              </a:extLst>
            </p:cNvPr>
            <p:cNvSpPr>
              <a:spLocks/>
            </p:cNvSpPr>
            <p:nvPr/>
          </p:nvSpPr>
          <p:spPr bwMode="auto">
            <a:xfrm>
              <a:off x="5053013" y="4137025"/>
              <a:ext cx="134938" cy="85725"/>
            </a:xfrm>
            <a:custGeom>
              <a:avLst/>
              <a:gdLst>
                <a:gd name="T0" fmla="*/ 0 w 421"/>
                <a:gd name="T1" fmla="*/ 194 h 270"/>
                <a:gd name="T2" fmla="*/ 0 w 421"/>
                <a:gd name="T3" fmla="*/ 203 h 270"/>
                <a:gd name="T4" fmla="*/ 1 w 421"/>
                <a:gd name="T5" fmla="*/ 209 h 270"/>
                <a:gd name="T6" fmla="*/ 4 w 421"/>
                <a:gd name="T7" fmla="*/ 218 h 270"/>
                <a:gd name="T8" fmla="*/ 6 w 421"/>
                <a:gd name="T9" fmla="*/ 225 h 270"/>
                <a:gd name="T10" fmla="*/ 9 w 421"/>
                <a:gd name="T11" fmla="*/ 230 h 270"/>
                <a:gd name="T12" fmla="*/ 13 w 421"/>
                <a:gd name="T13" fmla="*/ 237 h 270"/>
                <a:gd name="T14" fmla="*/ 17 w 421"/>
                <a:gd name="T15" fmla="*/ 243 h 270"/>
                <a:gd name="T16" fmla="*/ 22 w 421"/>
                <a:gd name="T17" fmla="*/ 248 h 270"/>
                <a:gd name="T18" fmla="*/ 27 w 421"/>
                <a:gd name="T19" fmla="*/ 252 h 270"/>
                <a:gd name="T20" fmla="*/ 33 w 421"/>
                <a:gd name="T21" fmla="*/ 257 h 270"/>
                <a:gd name="T22" fmla="*/ 39 w 421"/>
                <a:gd name="T23" fmla="*/ 262 h 270"/>
                <a:gd name="T24" fmla="*/ 45 w 421"/>
                <a:gd name="T25" fmla="*/ 264 h 270"/>
                <a:gd name="T26" fmla="*/ 52 w 421"/>
                <a:gd name="T27" fmla="*/ 266 h 270"/>
                <a:gd name="T28" fmla="*/ 60 w 421"/>
                <a:gd name="T29" fmla="*/ 269 h 270"/>
                <a:gd name="T30" fmla="*/ 67 w 421"/>
                <a:gd name="T31" fmla="*/ 270 h 270"/>
                <a:gd name="T32" fmla="*/ 75 w 421"/>
                <a:gd name="T33" fmla="*/ 270 h 270"/>
                <a:gd name="T34" fmla="*/ 345 w 421"/>
                <a:gd name="T35" fmla="*/ 270 h 270"/>
                <a:gd name="T36" fmla="*/ 353 w 421"/>
                <a:gd name="T37" fmla="*/ 270 h 270"/>
                <a:gd name="T38" fmla="*/ 360 w 421"/>
                <a:gd name="T39" fmla="*/ 269 h 270"/>
                <a:gd name="T40" fmla="*/ 367 w 421"/>
                <a:gd name="T41" fmla="*/ 266 h 270"/>
                <a:gd name="T42" fmla="*/ 374 w 421"/>
                <a:gd name="T43" fmla="*/ 264 h 270"/>
                <a:gd name="T44" fmla="*/ 381 w 421"/>
                <a:gd name="T45" fmla="*/ 260 h 270"/>
                <a:gd name="T46" fmla="*/ 387 w 421"/>
                <a:gd name="T47" fmla="*/ 257 h 270"/>
                <a:gd name="T48" fmla="*/ 393 w 421"/>
                <a:gd name="T49" fmla="*/ 252 h 270"/>
                <a:gd name="T50" fmla="*/ 399 w 421"/>
                <a:gd name="T51" fmla="*/ 248 h 270"/>
                <a:gd name="T52" fmla="*/ 403 w 421"/>
                <a:gd name="T53" fmla="*/ 243 h 270"/>
                <a:gd name="T54" fmla="*/ 408 w 421"/>
                <a:gd name="T55" fmla="*/ 237 h 270"/>
                <a:gd name="T56" fmla="*/ 411 w 421"/>
                <a:gd name="T57" fmla="*/ 230 h 270"/>
                <a:gd name="T58" fmla="*/ 415 w 421"/>
                <a:gd name="T59" fmla="*/ 225 h 270"/>
                <a:gd name="T60" fmla="*/ 417 w 421"/>
                <a:gd name="T61" fmla="*/ 218 h 270"/>
                <a:gd name="T62" fmla="*/ 419 w 421"/>
                <a:gd name="T63" fmla="*/ 211 h 270"/>
                <a:gd name="T64" fmla="*/ 421 w 421"/>
                <a:gd name="T65" fmla="*/ 203 h 270"/>
                <a:gd name="T66" fmla="*/ 421 w 421"/>
                <a:gd name="T67" fmla="*/ 196 h 270"/>
                <a:gd name="T68" fmla="*/ 421 w 421"/>
                <a:gd name="T69" fmla="*/ 0 h 270"/>
                <a:gd name="T70" fmla="*/ 0 w 421"/>
                <a:gd name="T71" fmla="*/ 0 h 270"/>
                <a:gd name="T72" fmla="*/ 0 w 421"/>
                <a:gd name="T73" fmla="*/ 19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270">
                  <a:moveTo>
                    <a:pt x="0" y="194"/>
                  </a:moveTo>
                  <a:lnTo>
                    <a:pt x="0" y="203"/>
                  </a:lnTo>
                  <a:lnTo>
                    <a:pt x="1" y="209"/>
                  </a:lnTo>
                  <a:lnTo>
                    <a:pt x="4" y="218"/>
                  </a:lnTo>
                  <a:lnTo>
                    <a:pt x="6" y="225"/>
                  </a:lnTo>
                  <a:lnTo>
                    <a:pt x="9" y="230"/>
                  </a:lnTo>
                  <a:lnTo>
                    <a:pt x="13" y="237"/>
                  </a:lnTo>
                  <a:lnTo>
                    <a:pt x="17" y="243"/>
                  </a:lnTo>
                  <a:lnTo>
                    <a:pt x="22" y="248"/>
                  </a:lnTo>
                  <a:lnTo>
                    <a:pt x="27" y="252"/>
                  </a:lnTo>
                  <a:lnTo>
                    <a:pt x="33" y="257"/>
                  </a:lnTo>
                  <a:lnTo>
                    <a:pt x="39" y="262"/>
                  </a:lnTo>
                  <a:lnTo>
                    <a:pt x="45" y="264"/>
                  </a:lnTo>
                  <a:lnTo>
                    <a:pt x="52" y="266"/>
                  </a:lnTo>
                  <a:lnTo>
                    <a:pt x="60" y="269"/>
                  </a:lnTo>
                  <a:lnTo>
                    <a:pt x="67" y="270"/>
                  </a:lnTo>
                  <a:lnTo>
                    <a:pt x="75" y="270"/>
                  </a:lnTo>
                  <a:lnTo>
                    <a:pt x="345" y="270"/>
                  </a:lnTo>
                  <a:lnTo>
                    <a:pt x="353" y="270"/>
                  </a:lnTo>
                  <a:lnTo>
                    <a:pt x="360" y="269"/>
                  </a:lnTo>
                  <a:lnTo>
                    <a:pt x="367" y="266"/>
                  </a:lnTo>
                  <a:lnTo>
                    <a:pt x="374" y="264"/>
                  </a:lnTo>
                  <a:lnTo>
                    <a:pt x="381" y="260"/>
                  </a:lnTo>
                  <a:lnTo>
                    <a:pt x="387" y="257"/>
                  </a:lnTo>
                  <a:lnTo>
                    <a:pt x="393" y="252"/>
                  </a:lnTo>
                  <a:lnTo>
                    <a:pt x="399" y="248"/>
                  </a:lnTo>
                  <a:lnTo>
                    <a:pt x="403" y="243"/>
                  </a:lnTo>
                  <a:lnTo>
                    <a:pt x="408" y="237"/>
                  </a:lnTo>
                  <a:lnTo>
                    <a:pt x="411" y="230"/>
                  </a:lnTo>
                  <a:lnTo>
                    <a:pt x="415" y="225"/>
                  </a:lnTo>
                  <a:lnTo>
                    <a:pt x="417" y="218"/>
                  </a:lnTo>
                  <a:lnTo>
                    <a:pt x="419" y="211"/>
                  </a:lnTo>
                  <a:lnTo>
                    <a:pt x="421" y="203"/>
                  </a:lnTo>
                  <a:lnTo>
                    <a:pt x="421" y="196"/>
                  </a:lnTo>
                  <a:lnTo>
                    <a:pt x="421" y="0"/>
                  </a:lnTo>
                  <a:lnTo>
                    <a:pt x="0" y="0"/>
                  </a:lnTo>
                  <a:lnTo>
                    <a:pt x="0"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8" name="Freeform 4750">
              <a:extLst>
                <a:ext uri="{FF2B5EF4-FFF2-40B4-BE49-F238E27FC236}">
                  <a16:creationId xmlns:a16="http://schemas.microsoft.com/office/drawing/2014/main" id="{6F90758B-F302-4197-BD9D-915D8891B77E}"/>
                </a:ext>
              </a:extLst>
            </p:cNvPr>
            <p:cNvSpPr>
              <a:spLocks/>
            </p:cNvSpPr>
            <p:nvPr/>
          </p:nvSpPr>
          <p:spPr bwMode="auto">
            <a:xfrm>
              <a:off x="5053013" y="4089400"/>
              <a:ext cx="134938" cy="38100"/>
            </a:xfrm>
            <a:custGeom>
              <a:avLst/>
              <a:gdLst>
                <a:gd name="T0" fmla="*/ 345 w 421"/>
                <a:gd name="T1" fmla="*/ 0 h 121"/>
                <a:gd name="T2" fmla="*/ 75 w 421"/>
                <a:gd name="T3" fmla="*/ 0 h 121"/>
                <a:gd name="T4" fmla="*/ 67 w 421"/>
                <a:gd name="T5" fmla="*/ 1 h 121"/>
                <a:gd name="T6" fmla="*/ 60 w 421"/>
                <a:gd name="T7" fmla="*/ 3 h 121"/>
                <a:gd name="T8" fmla="*/ 52 w 421"/>
                <a:gd name="T9" fmla="*/ 4 h 121"/>
                <a:gd name="T10" fmla="*/ 45 w 421"/>
                <a:gd name="T11" fmla="*/ 6 h 121"/>
                <a:gd name="T12" fmla="*/ 39 w 421"/>
                <a:gd name="T13" fmla="*/ 10 h 121"/>
                <a:gd name="T14" fmla="*/ 33 w 421"/>
                <a:gd name="T15" fmla="*/ 13 h 121"/>
                <a:gd name="T16" fmla="*/ 27 w 421"/>
                <a:gd name="T17" fmla="*/ 18 h 121"/>
                <a:gd name="T18" fmla="*/ 22 w 421"/>
                <a:gd name="T19" fmla="*/ 22 h 121"/>
                <a:gd name="T20" fmla="*/ 17 w 421"/>
                <a:gd name="T21" fmla="*/ 28 h 121"/>
                <a:gd name="T22" fmla="*/ 13 w 421"/>
                <a:gd name="T23" fmla="*/ 34 h 121"/>
                <a:gd name="T24" fmla="*/ 9 w 421"/>
                <a:gd name="T25" fmla="*/ 40 h 121"/>
                <a:gd name="T26" fmla="*/ 6 w 421"/>
                <a:gd name="T27" fmla="*/ 47 h 121"/>
                <a:gd name="T28" fmla="*/ 4 w 421"/>
                <a:gd name="T29" fmla="*/ 54 h 121"/>
                <a:gd name="T30" fmla="*/ 1 w 421"/>
                <a:gd name="T31" fmla="*/ 61 h 121"/>
                <a:gd name="T32" fmla="*/ 0 w 421"/>
                <a:gd name="T33" fmla="*/ 67 h 121"/>
                <a:gd name="T34" fmla="*/ 0 w 421"/>
                <a:gd name="T35" fmla="*/ 76 h 121"/>
                <a:gd name="T36" fmla="*/ 0 w 421"/>
                <a:gd name="T37" fmla="*/ 121 h 121"/>
                <a:gd name="T38" fmla="*/ 421 w 421"/>
                <a:gd name="T39" fmla="*/ 121 h 121"/>
                <a:gd name="T40" fmla="*/ 421 w 421"/>
                <a:gd name="T41" fmla="*/ 76 h 121"/>
                <a:gd name="T42" fmla="*/ 421 w 421"/>
                <a:gd name="T43" fmla="*/ 67 h 121"/>
                <a:gd name="T44" fmla="*/ 419 w 421"/>
                <a:gd name="T45" fmla="*/ 61 h 121"/>
                <a:gd name="T46" fmla="*/ 417 w 421"/>
                <a:gd name="T47" fmla="*/ 54 h 121"/>
                <a:gd name="T48" fmla="*/ 415 w 421"/>
                <a:gd name="T49" fmla="*/ 47 h 121"/>
                <a:gd name="T50" fmla="*/ 411 w 421"/>
                <a:gd name="T51" fmla="*/ 40 h 121"/>
                <a:gd name="T52" fmla="*/ 408 w 421"/>
                <a:gd name="T53" fmla="*/ 34 h 121"/>
                <a:gd name="T54" fmla="*/ 403 w 421"/>
                <a:gd name="T55" fmla="*/ 28 h 121"/>
                <a:gd name="T56" fmla="*/ 399 w 421"/>
                <a:gd name="T57" fmla="*/ 22 h 121"/>
                <a:gd name="T58" fmla="*/ 393 w 421"/>
                <a:gd name="T59" fmla="*/ 18 h 121"/>
                <a:gd name="T60" fmla="*/ 387 w 421"/>
                <a:gd name="T61" fmla="*/ 13 h 121"/>
                <a:gd name="T62" fmla="*/ 381 w 421"/>
                <a:gd name="T63" fmla="*/ 10 h 121"/>
                <a:gd name="T64" fmla="*/ 374 w 421"/>
                <a:gd name="T65" fmla="*/ 6 h 121"/>
                <a:gd name="T66" fmla="*/ 367 w 421"/>
                <a:gd name="T67" fmla="*/ 4 h 121"/>
                <a:gd name="T68" fmla="*/ 360 w 421"/>
                <a:gd name="T69" fmla="*/ 3 h 121"/>
                <a:gd name="T70" fmla="*/ 353 w 421"/>
                <a:gd name="T71" fmla="*/ 1 h 121"/>
                <a:gd name="T72" fmla="*/ 345 w 421"/>
                <a:gd name="T7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121">
                  <a:moveTo>
                    <a:pt x="345" y="0"/>
                  </a:moveTo>
                  <a:lnTo>
                    <a:pt x="75" y="0"/>
                  </a:lnTo>
                  <a:lnTo>
                    <a:pt x="67" y="1"/>
                  </a:lnTo>
                  <a:lnTo>
                    <a:pt x="60" y="3"/>
                  </a:lnTo>
                  <a:lnTo>
                    <a:pt x="52" y="4"/>
                  </a:lnTo>
                  <a:lnTo>
                    <a:pt x="45" y="6"/>
                  </a:lnTo>
                  <a:lnTo>
                    <a:pt x="39" y="10"/>
                  </a:lnTo>
                  <a:lnTo>
                    <a:pt x="33" y="13"/>
                  </a:lnTo>
                  <a:lnTo>
                    <a:pt x="27" y="18"/>
                  </a:lnTo>
                  <a:lnTo>
                    <a:pt x="22" y="22"/>
                  </a:lnTo>
                  <a:lnTo>
                    <a:pt x="17" y="28"/>
                  </a:lnTo>
                  <a:lnTo>
                    <a:pt x="13" y="34"/>
                  </a:lnTo>
                  <a:lnTo>
                    <a:pt x="9" y="40"/>
                  </a:lnTo>
                  <a:lnTo>
                    <a:pt x="6" y="47"/>
                  </a:lnTo>
                  <a:lnTo>
                    <a:pt x="4" y="54"/>
                  </a:lnTo>
                  <a:lnTo>
                    <a:pt x="1" y="61"/>
                  </a:lnTo>
                  <a:lnTo>
                    <a:pt x="0" y="67"/>
                  </a:lnTo>
                  <a:lnTo>
                    <a:pt x="0" y="76"/>
                  </a:lnTo>
                  <a:lnTo>
                    <a:pt x="0" y="121"/>
                  </a:lnTo>
                  <a:lnTo>
                    <a:pt x="421" y="121"/>
                  </a:lnTo>
                  <a:lnTo>
                    <a:pt x="421" y="76"/>
                  </a:lnTo>
                  <a:lnTo>
                    <a:pt x="421" y="67"/>
                  </a:lnTo>
                  <a:lnTo>
                    <a:pt x="419" y="61"/>
                  </a:lnTo>
                  <a:lnTo>
                    <a:pt x="417" y="54"/>
                  </a:lnTo>
                  <a:lnTo>
                    <a:pt x="415" y="47"/>
                  </a:lnTo>
                  <a:lnTo>
                    <a:pt x="411" y="40"/>
                  </a:lnTo>
                  <a:lnTo>
                    <a:pt x="408" y="34"/>
                  </a:lnTo>
                  <a:lnTo>
                    <a:pt x="403" y="28"/>
                  </a:lnTo>
                  <a:lnTo>
                    <a:pt x="399" y="22"/>
                  </a:lnTo>
                  <a:lnTo>
                    <a:pt x="393" y="18"/>
                  </a:lnTo>
                  <a:lnTo>
                    <a:pt x="387" y="13"/>
                  </a:lnTo>
                  <a:lnTo>
                    <a:pt x="381" y="10"/>
                  </a:lnTo>
                  <a:lnTo>
                    <a:pt x="374" y="6"/>
                  </a:lnTo>
                  <a:lnTo>
                    <a:pt x="367" y="4"/>
                  </a:lnTo>
                  <a:lnTo>
                    <a:pt x="360" y="3"/>
                  </a:lnTo>
                  <a:lnTo>
                    <a:pt x="353" y="1"/>
                  </a:lnTo>
                  <a:lnTo>
                    <a:pt x="3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pic>
        <p:nvPicPr>
          <p:cNvPr id="82" name="Picture 81">
            <a:extLst>
              <a:ext uri="{FF2B5EF4-FFF2-40B4-BE49-F238E27FC236}">
                <a16:creationId xmlns:a16="http://schemas.microsoft.com/office/drawing/2014/main" id="{738BAD2E-DB8A-42FD-B1D0-99A1F72A7F0D}"/>
              </a:ext>
            </a:extLst>
          </p:cNvPr>
          <p:cNvPicPr>
            <a:picLocks noChangeAspect="1"/>
          </p:cNvPicPr>
          <p:nvPr/>
        </p:nvPicPr>
        <p:blipFill>
          <a:blip r:embed="rId4"/>
          <a:stretch>
            <a:fillRect/>
          </a:stretch>
        </p:blipFill>
        <p:spPr>
          <a:xfrm>
            <a:off x="371788" y="4865592"/>
            <a:ext cx="5368736" cy="1855987"/>
          </a:xfrm>
          <a:prstGeom prst="rect">
            <a:avLst/>
          </a:prstGeom>
        </p:spPr>
      </p:pic>
      <p:pic>
        <p:nvPicPr>
          <p:cNvPr id="5" name="Picture 4">
            <a:extLst>
              <a:ext uri="{FF2B5EF4-FFF2-40B4-BE49-F238E27FC236}">
                <a16:creationId xmlns:a16="http://schemas.microsoft.com/office/drawing/2014/main" id="{68C75B7D-8F81-4DE6-B571-101859198C44}"/>
              </a:ext>
            </a:extLst>
          </p:cNvPr>
          <p:cNvPicPr>
            <a:picLocks noChangeAspect="1"/>
          </p:cNvPicPr>
          <p:nvPr/>
        </p:nvPicPr>
        <p:blipFill>
          <a:blip r:embed="rId5"/>
          <a:stretch>
            <a:fillRect/>
          </a:stretch>
        </p:blipFill>
        <p:spPr>
          <a:xfrm>
            <a:off x="6450604" y="236930"/>
            <a:ext cx="4988535" cy="3523773"/>
          </a:xfrm>
          <a:prstGeom prst="rect">
            <a:avLst/>
          </a:prstGeom>
        </p:spPr>
      </p:pic>
      <p:sp>
        <p:nvSpPr>
          <p:cNvPr id="93" name="Rectangle 34">
            <a:extLst>
              <a:ext uri="{FF2B5EF4-FFF2-40B4-BE49-F238E27FC236}">
                <a16:creationId xmlns:a16="http://schemas.microsoft.com/office/drawing/2014/main" id="{C636E1C9-E36F-45F5-B0B0-AA06B8739640}"/>
              </a:ext>
            </a:extLst>
          </p:cNvPr>
          <p:cNvSpPr/>
          <p:nvPr/>
        </p:nvSpPr>
        <p:spPr>
          <a:xfrm rot="5400000" flipV="1">
            <a:off x="4275249" y="-1008808"/>
            <a:ext cx="3591558" cy="12142059"/>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 name="connsiteX0" fmla="*/ 0 w 3479810"/>
              <a:gd name="connsiteY0" fmla="*/ 0 h 4128009"/>
              <a:gd name="connsiteX1" fmla="*/ 3479810 w 3479810"/>
              <a:gd name="connsiteY1" fmla="*/ 4553 h 4128009"/>
              <a:gd name="connsiteX2" fmla="*/ 3479810 w 3479810"/>
              <a:gd name="connsiteY2" fmla="*/ 4106198 h 4128009"/>
              <a:gd name="connsiteX3" fmla="*/ 2185493 w 3479810"/>
              <a:gd name="connsiteY3" fmla="*/ 775263 h 4128009"/>
              <a:gd name="connsiteX4" fmla="*/ 0 w 3479810"/>
              <a:gd name="connsiteY4" fmla="*/ 0 h 4128009"/>
              <a:gd name="connsiteX0" fmla="*/ 0 w 3479810"/>
              <a:gd name="connsiteY0" fmla="*/ 0 h 4440979"/>
              <a:gd name="connsiteX1" fmla="*/ 3479810 w 3479810"/>
              <a:gd name="connsiteY1" fmla="*/ 4553 h 4440979"/>
              <a:gd name="connsiteX2" fmla="*/ 3479810 w 3479810"/>
              <a:gd name="connsiteY2" fmla="*/ 4106198 h 4440979"/>
              <a:gd name="connsiteX3" fmla="*/ 1977641 w 3479810"/>
              <a:gd name="connsiteY3" fmla="*/ 4063117 h 4440979"/>
              <a:gd name="connsiteX4" fmla="*/ 2185493 w 3479810"/>
              <a:gd name="connsiteY4" fmla="*/ 775263 h 4440979"/>
              <a:gd name="connsiteX5" fmla="*/ 0 w 3479810"/>
              <a:gd name="connsiteY5" fmla="*/ 0 h 4440979"/>
              <a:gd name="connsiteX0" fmla="*/ 0 w 3586039"/>
              <a:gd name="connsiteY0" fmla="*/ 0 h 4444270"/>
              <a:gd name="connsiteX1" fmla="*/ 3586039 w 3586039"/>
              <a:gd name="connsiteY1" fmla="*/ 7844 h 4444270"/>
              <a:gd name="connsiteX2" fmla="*/ 3586039 w 3586039"/>
              <a:gd name="connsiteY2" fmla="*/ 4109489 h 4444270"/>
              <a:gd name="connsiteX3" fmla="*/ 2083870 w 3586039"/>
              <a:gd name="connsiteY3" fmla="*/ 4066408 h 4444270"/>
              <a:gd name="connsiteX4" fmla="*/ 2291722 w 3586039"/>
              <a:gd name="connsiteY4" fmla="*/ 778554 h 4444270"/>
              <a:gd name="connsiteX5" fmla="*/ 0 w 3586039"/>
              <a:gd name="connsiteY5" fmla="*/ 0 h 4444270"/>
              <a:gd name="connsiteX0" fmla="*/ 0 w 2364395"/>
              <a:gd name="connsiteY0" fmla="*/ 0 h 4444270"/>
              <a:gd name="connsiteX1" fmla="*/ 2364395 w 2364395"/>
              <a:gd name="connsiteY1" fmla="*/ 7844 h 4444270"/>
              <a:gd name="connsiteX2" fmla="*/ 2364395 w 2364395"/>
              <a:gd name="connsiteY2" fmla="*/ 4109489 h 4444270"/>
              <a:gd name="connsiteX3" fmla="*/ 862226 w 2364395"/>
              <a:gd name="connsiteY3" fmla="*/ 4066408 h 4444270"/>
              <a:gd name="connsiteX4" fmla="*/ 1070078 w 2364395"/>
              <a:gd name="connsiteY4" fmla="*/ 778554 h 4444270"/>
              <a:gd name="connsiteX5" fmla="*/ 0 w 2364395"/>
              <a:gd name="connsiteY5" fmla="*/ 0 h 4444270"/>
              <a:gd name="connsiteX0" fmla="*/ 0 w 2364395"/>
              <a:gd name="connsiteY0" fmla="*/ 0 h 4444270"/>
              <a:gd name="connsiteX1" fmla="*/ 2364395 w 2364395"/>
              <a:gd name="connsiteY1" fmla="*/ 7844 h 4444270"/>
              <a:gd name="connsiteX2" fmla="*/ 2364395 w 2364395"/>
              <a:gd name="connsiteY2" fmla="*/ 4109489 h 4444270"/>
              <a:gd name="connsiteX3" fmla="*/ 862226 w 2364395"/>
              <a:gd name="connsiteY3" fmla="*/ 4066408 h 4444270"/>
              <a:gd name="connsiteX4" fmla="*/ 786518 w 2364395"/>
              <a:gd name="connsiteY4" fmla="*/ 2559965 h 4444270"/>
              <a:gd name="connsiteX5" fmla="*/ 1070078 w 2364395"/>
              <a:gd name="connsiteY5" fmla="*/ 778554 h 4444270"/>
              <a:gd name="connsiteX6" fmla="*/ 0 w 2364395"/>
              <a:gd name="connsiteY6" fmla="*/ 0 h 4444270"/>
              <a:gd name="connsiteX0" fmla="*/ 0 w 2364395"/>
              <a:gd name="connsiteY0" fmla="*/ 0 h 4456672"/>
              <a:gd name="connsiteX1" fmla="*/ 2364395 w 2364395"/>
              <a:gd name="connsiteY1" fmla="*/ 7844 h 4456672"/>
              <a:gd name="connsiteX2" fmla="*/ 2364395 w 2364395"/>
              <a:gd name="connsiteY2" fmla="*/ 4109489 h 4456672"/>
              <a:gd name="connsiteX3" fmla="*/ 567144 w 2364395"/>
              <a:gd name="connsiteY3" fmla="*/ 4089441 h 4456672"/>
              <a:gd name="connsiteX4" fmla="*/ 786518 w 2364395"/>
              <a:gd name="connsiteY4" fmla="*/ 2559965 h 4456672"/>
              <a:gd name="connsiteX5" fmla="*/ 1070078 w 2364395"/>
              <a:gd name="connsiteY5" fmla="*/ 778554 h 4456672"/>
              <a:gd name="connsiteX6" fmla="*/ 0 w 2364395"/>
              <a:gd name="connsiteY6" fmla="*/ 0 h 4456672"/>
              <a:gd name="connsiteX0" fmla="*/ 0 w 2364395"/>
              <a:gd name="connsiteY0" fmla="*/ 0 h 4456672"/>
              <a:gd name="connsiteX1" fmla="*/ 2364395 w 2364395"/>
              <a:gd name="connsiteY1" fmla="*/ 7844 h 4456672"/>
              <a:gd name="connsiteX2" fmla="*/ 2364395 w 2364395"/>
              <a:gd name="connsiteY2" fmla="*/ 4109489 h 4456672"/>
              <a:gd name="connsiteX3" fmla="*/ 567144 w 2364395"/>
              <a:gd name="connsiteY3" fmla="*/ 4089441 h 4456672"/>
              <a:gd name="connsiteX4" fmla="*/ 491437 w 2364395"/>
              <a:gd name="connsiteY4" fmla="*/ 2582999 h 4456672"/>
              <a:gd name="connsiteX5" fmla="*/ 1070078 w 2364395"/>
              <a:gd name="connsiteY5" fmla="*/ 778554 h 4456672"/>
              <a:gd name="connsiteX6" fmla="*/ 0 w 2364395"/>
              <a:gd name="connsiteY6" fmla="*/ 0 h 445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4395" h="4456672">
                <a:moveTo>
                  <a:pt x="0" y="0"/>
                </a:moveTo>
                <a:lnTo>
                  <a:pt x="2364395" y="7844"/>
                </a:lnTo>
                <a:lnTo>
                  <a:pt x="2364395" y="4109489"/>
                </a:lnTo>
                <a:cubicBezTo>
                  <a:pt x="2267906" y="4503032"/>
                  <a:pt x="782863" y="4644597"/>
                  <a:pt x="567144" y="4089441"/>
                </a:cubicBezTo>
                <a:cubicBezTo>
                  <a:pt x="328755" y="3826800"/>
                  <a:pt x="456795" y="3130975"/>
                  <a:pt x="491437" y="2582999"/>
                </a:cubicBezTo>
                <a:cubicBezTo>
                  <a:pt x="526079" y="2035023"/>
                  <a:pt x="1151984" y="1209054"/>
                  <a:pt x="1070078" y="778554"/>
                </a:cubicBezTo>
                <a:cubicBezTo>
                  <a:pt x="988172" y="348054"/>
                  <a:pt x="59199" y="93304"/>
                  <a:pt x="0" y="0"/>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2" name="TextBox 41">
            <a:extLst>
              <a:ext uri="{FF2B5EF4-FFF2-40B4-BE49-F238E27FC236}">
                <a16:creationId xmlns:a16="http://schemas.microsoft.com/office/drawing/2014/main" id="{D048AC6A-812C-4524-AAB0-0DA3B1364833}"/>
              </a:ext>
            </a:extLst>
          </p:cNvPr>
          <p:cNvSpPr txBox="1"/>
          <p:nvPr/>
        </p:nvSpPr>
        <p:spPr>
          <a:xfrm>
            <a:off x="5886006" y="3923861"/>
            <a:ext cx="6067816" cy="3139321"/>
          </a:xfrm>
          <a:prstGeom prst="rect">
            <a:avLst/>
          </a:prstGeom>
          <a:noFill/>
        </p:spPr>
        <p:txBody>
          <a:bodyPr wrap="square" rtlCol="0">
            <a:spAutoFit/>
          </a:bodyPr>
          <a:lstStyle/>
          <a:p>
            <a:pPr algn="ctr"/>
            <a:r>
              <a:rPr lang="en-IL" b="1" spc="300" dirty="0">
                <a:solidFill>
                  <a:schemeClr val="accent1">
                    <a:lumMod val="75000"/>
                  </a:schemeClr>
                </a:solidFill>
                <a:latin typeface="Baskerville Old Face" panose="02020602080505020303" pitchFamily="18" charset="0"/>
              </a:rPr>
              <a:t>•</a:t>
            </a:r>
            <a:r>
              <a:rPr lang="en-US" b="1" spc="300" dirty="0">
                <a:solidFill>
                  <a:schemeClr val="accent1">
                    <a:lumMod val="75000"/>
                  </a:schemeClr>
                </a:solidFill>
                <a:latin typeface="Baskerville Old Face" panose="02020602080505020303" pitchFamily="18" charset="0"/>
              </a:rPr>
              <a:t>Key insights</a:t>
            </a:r>
            <a:r>
              <a:rPr lang="en-IL" b="1" spc="300" dirty="0">
                <a:solidFill>
                  <a:schemeClr val="accent1">
                    <a:lumMod val="75000"/>
                  </a:schemeClr>
                </a:solidFill>
                <a:latin typeface="Baskerville Old Face" panose="02020602080505020303" pitchFamily="18" charset="0"/>
              </a:rPr>
              <a:t>• </a:t>
            </a:r>
            <a:endParaRPr lang="en-US" b="1" spc="300" dirty="0">
              <a:solidFill>
                <a:schemeClr val="accent1">
                  <a:lumMod val="75000"/>
                </a:schemeClr>
              </a:solidFill>
              <a:latin typeface="Baskerville Old Face" panose="02020602080505020303" pitchFamily="18" charset="0"/>
            </a:endParaRPr>
          </a:p>
          <a:p>
            <a:pPr algn="ctr"/>
            <a:endParaRPr lang="en-US" b="1" spc="300" dirty="0">
              <a:solidFill>
                <a:schemeClr val="accent1">
                  <a:lumMod val="75000"/>
                </a:schemeClr>
              </a:solidFill>
              <a:latin typeface="Baskerville Old Face" panose="02020602080505020303" pitchFamily="18" charset="0"/>
            </a:endParaRPr>
          </a:p>
          <a:p>
            <a:pPr algn="just"/>
            <a:r>
              <a:rPr lang="en-US" sz="1600" b="0" dirty="0">
                <a:solidFill>
                  <a:srgbClr val="652D74"/>
                </a:solidFill>
                <a:effectLst/>
                <a:latin typeface="Book Antiqua" panose="02040602050305030304" pitchFamily="18" charset="0"/>
              </a:rPr>
              <a:t>1.Payment method: Customers using electronic check have the highest churn rate, around 1000 churned customers compared to lower churn for other payment methods.</a:t>
            </a:r>
          </a:p>
          <a:p>
            <a:pPr algn="just"/>
            <a:endParaRPr lang="en-US" sz="1600" b="0" dirty="0">
              <a:solidFill>
                <a:srgbClr val="652D74"/>
              </a:solidFill>
              <a:effectLst/>
              <a:latin typeface="Book Antiqua" panose="02040602050305030304" pitchFamily="18" charset="0"/>
            </a:endParaRPr>
          </a:p>
          <a:p>
            <a:pPr algn="just"/>
            <a:r>
              <a:rPr lang="en-US" sz="1600" b="0" dirty="0">
                <a:solidFill>
                  <a:srgbClr val="652D74"/>
                </a:solidFill>
                <a:effectLst/>
                <a:latin typeface="Book Antiqua" panose="02040602050305030304" pitchFamily="18" charset="0"/>
              </a:rPr>
              <a:t>2.Specific to the electronic check payment, the number of customers using this method is also significantly higher than other options.</a:t>
            </a:r>
          </a:p>
          <a:p>
            <a:pPr algn="just"/>
            <a:r>
              <a:rPr lang="en-US" sz="1600" b="0" dirty="0">
                <a:solidFill>
                  <a:srgbClr val="652D74"/>
                </a:solidFill>
                <a:effectLst/>
                <a:latin typeface="Book Antiqua" panose="02040602050305030304" pitchFamily="18" charset="0"/>
              </a:rPr>
              <a:t>This combination of high usage and high churn suggests </a:t>
            </a:r>
          </a:p>
          <a:p>
            <a:pPr algn="just"/>
            <a:r>
              <a:rPr lang="en-US" sz="1600" b="0" dirty="0">
                <a:solidFill>
                  <a:srgbClr val="652D74"/>
                </a:solidFill>
                <a:effectLst/>
                <a:latin typeface="Book Antiqua" panose="02040602050305030304" pitchFamily="18" charset="0"/>
              </a:rPr>
              <a:t>this payment method may be a major driver of overall churn.</a:t>
            </a:r>
          </a:p>
          <a:p>
            <a:endParaRPr lang="en-IL" dirty="0"/>
          </a:p>
        </p:txBody>
      </p:sp>
      <p:cxnSp>
        <p:nvCxnSpPr>
          <p:cNvPr id="9" name="Straight Arrow Connector 8">
            <a:extLst>
              <a:ext uri="{FF2B5EF4-FFF2-40B4-BE49-F238E27FC236}">
                <a16:creationId xmlns:a16="http://schemas.microsoft.com/office/drawing/2014/main" id="{95B2FE73-C584-4847-A16E-DED3E6E239C3}"/>
              </a:ext>
            </a:extLst>
          </p:cNvPr>
          <p:cNvCxnSpPr>
            <a:cxnSpLocks/>
          </p:cNvCxnSpPr>
          <p:nvPr/>
        </p:nvCxnSpPr>
        <p:spPr>
          <a:xfrm>
            <a:off x="519983" y="2594274"/>
            <a:ext cx="964222" cy="107365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66" name="Straight Arrow Connector 65">
            <a:extLst>
              <a:ext uri="{FF2B5EF4-FFF2-40B4-BE49-F238E27FC236}">
                <a16:creationId xmlns:a16="http://schemas.microsoft.com/office/drawing/2014/main" id="{EC953776-BE1F-4D12-80A0-007452E3FDD0}"/>
              </a:ext>
            </a:extLst>
          </p:cNvPr>
          <p:cNvCxnSpPr>
            <a:cxnSpLocks/>
          </p:cNvCxnSpPr>
          <p:nvPr/>
        </p:nvCxnSpPr>
        <p:spPr>
          <a:xfrm flipV="1">
            <a:off x="1929529" y="2594274"/>
            <a:ext cx="714292" cy="1019998"/>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67" name="Straight Arrow Connector 66">
            <a:extLst>
              <a:ext uri="{FF2B5EF4-FFF2-40B4-BE49-F238E27FC236}">
                <a16:creationId xmlns:a16="http://schemas.microsoft.com/office/drawing/2014/main" id="{B633A77A-39D2-422B-A4F2-D603C3A1EB2A}"/>
              </a:ext>
            </a:extLst>
          </p:cNvPr>
          <p:cNvCxnSpPr>
            <a:cxnSpLocks/>
          </p:cNvCxnSpPr>
          <p:nvPr/>
        </p:nvCxnSpPr>
        <p:spPr>
          <a:xfrm>
            <a:off x="3121923" y="2653813"/>
            <a:ext cx="803298" cy="988483"/>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5451089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34">
            <a:extLst>
              <a:ext uri="{FF2B5EF4-FFF2-40B4-BE49-F238E27FC236}">
                <a16:creationId xmlns:a16="http://schemas.microsoft.com/office/drawing/2014/main" id="{0CE1F2E9-5D11-4CF9-96ED-F13E5A880CBA}"/>
              </a:ext>
            </a:extLst>
          </p:cNvPr>
          <p:cNvSpPr/>
          <p:nvPr/>
        </p:nvSpPr>
        <p:spPr>
          <a:xfrm flipV="1">
            <a:off x="-9832" y="0"/>
            <a:ext cx="12201832" cy="6858000"/>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59199" y="93304"/>
                  <a:pt x="0" y="0"/>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7A11A548-7F61-4795-AD72-2678C8F9B209}"/>
              </a:ext>
            </a:extLst>
          </p:cNvPr>
          <p:cNvSpPr>
            <a:spLocks noGrp="1"/>
          </p:cNvSpPr>
          <p:nvPr>
            <p:ph type="title"/>
          </p:nvPr>
        </p:nvSpPr>
        <p:spPr>
          <a:xfrm>
            <a:off x="5521544" y="0"/>
            <a:ext cx="4925219" cy="775612"/>
          </a:xfrm>
        </p:spPr>
        <p:txBody>
          <a:bodyPr>
            <a:noAutofit/>
          </a:bodyPr>
          <a:lstStyle/>
          <a:p>
            <a:r>
              <a:rPr lang="en-US" sz="2800" dirty="0">
                <a:solidFill>
                  <a:srgbClr val="652D74"/>
                </a:solidFill>
                <a:effectLst/>
                <a:latin typeface="Book Antiqua" panose="02040602050305030304" pitchFamily="18" charset="0"/>
              </a:rPr>
              <a:t> </a:t>
            </a:r>
            <a:r>
              <a:rPr lang="en-US" sz="3200" dirty="0">
                <a:solidFill>
                  <a:srgbClr val="652D74"/>
                </a:solidFill>
                <a:effectLst/>
                <a:latin typeface="Book Antiqua" panose="02040602050305030304" pitchFamily="18" charset="0"/>
              </a:rPr>
              <a:t>Distribution of Charges:</a:t>
            </a:r>
            <a:endParaRPr lang="en-US" sz="3200" dirty="0"/>
          </a:p>
        </p:txBody>
      </p:sp>
      <p:sp>
        <p:nvSpPr>
          <p:cNvPr id="4" name="Slide Number Placeholder 3">
            <a:extLst>
              <a:ext uri="{FF2B5EF4-FFF2-40B4-BE49-F238E27FC236}">
                <a16:creationId xmlns:a16="http://schemas.microsoft.com/office/drawing/2014/main" id="{2D1F42AE-A010-4798-9D6E-0E95ACB644C2}"/>
              </a:ext>
            </a:extLst>
          </p:cNvPr>
          <p:cNvSpPr>
            <a:spLocks noGrp="1"/>
          </p:cNvSpPr>
          <p:nvPr>
            <p:ph type="sldNum" sz="quarter" idx="4"/>
          </p:nvPr>
        </p:nvSpPr>
        <p:spPr/>
        <p:txBody>
          <a:bodyPr/>
          <a:lstStyle/>
          <a:p>
            <a:fld id="{B84D2E29-67F4-44D8-B0E3-F54815B4F123}" type="slidenum">
              <a:rPr lang="en-US" smtClean="0"/>
              <a:pPr/>
              <a:t>13</a:t>
            </a:fld>
            <a:endParaRPr lang="en-US" dirty="0"/>
          </a:p>
        </p:txBody>
      </p:sp>
      <p:cxnSp>
        <p:nvCxnSpPr>
          <p:cNvPr id="25" name="Straight Connector 24">
            <a:extLst>
              <a:ext uri="{FF2B5EF4-FFF2-40B4-BE49-F238E27FC236}">
                <a16:creationId xmlns:a16="http://schemas.microsoft.com/office/drawing/2014/main" id="{EA938F8A-8D1F-4BCD-A96F-9AEB4D2D688F}"/>
              </a:ext>
            </a:extLst>
          </p:cNvPr>
          <p:cNvCxnSpPr/>
          <p:nvPr/>
        </p:nvCxnSpPr>
        <p:spPr>
          <a:xfrm>
            <a:off x="7669161" y="2911417"/>
            <a:ext cx="4532671"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19FBDD5-D57E-40DC-8205-A3C721A13919}"/>
              </a:ext>
            </a:extLst>
          </p:cNvPr>
          <p:cNvCxnSpPr/>
          <p:nvPr/>
        </p:nvCxnSpPr>
        <p:spPr>
          <a:xfrm>
            <a:off x="7669161" y="4557413"/>
            <a:ext cx="4532671"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6A3F3D9-E6A4-447B-8FD4-18E356A791AD}"/>
              </a:ext>
            </a:extLst>
          </p:cNvPr>
          <p:cNvSpPr txBox="1"/>
          <p:nvPr/>
        </p:nvSpPr>
        <p:spPr>
          <a:xfrm>
            <a:off x="3957322" y="5116116"/>
            <a:ext cx="3689541" cy="1846659"/>
          </a:xfrm>
          <a:prstGeom prst="rect">
            <a:avLst/>
          </a:prstGeom>
          <a:noFill/>
        </p:spPr>
        <p:txBody>
          <a:bodyPr wrap="square" rtlCol="0">
            <a:spAutoFit/>
          </a:bodyPr>
          <a:lstStyle/>
          <a:p>
            <a:pPr>
              <a:buFont typeface="Arial" panose="020B0604020202020204" pitchFamily="34" charset="0"/>
              <a:buChar char="•"/>
            </a:pPr>
            <a:r>
              <a:rPr lang="en-US" sz="1600" dirty="0">
                <a:solidFill>
                  <a:srgbClr val="652D74"/>
                </a:solidFill>
                <a:latin typeface="Book Antiqua" panose="02040602050305030304" pitchFamily="18" charset="0"/>
              </a:rPr>
              <a:t>Churn is more prevalent among customers with higher monthly charges.</a:t>
            </a:r>
          </a:p>
          <a:p>
            <a:pPr>
              <a:buFont typeface="Arial" panose="020B0604020202020204" pitchFamily="34" charset="0"/>
              <a:buChar char="•"/>
            </a:pPr>
            <a:r>
              <a:rPr lang="en-US" sz="1600" dirty="0">
                <a:solidFill>
                  <a:srgbClr val="652D74"/>
                </a:solidFill>
                <a:latin typeface="Book Antiqua" panose="02040602050305030304" pitchFamily="18" charset="0"/>
              </a:rPr>
              <a:t>Customers with low monthly charges (&lt;$30) have a significantly lower churn rate</a:t>
            </a:r>
            <a:r>
              <a:rPr lang="en-US" sz="1600" dirty="0">
                <a:latin typeface="Book Antiqua" panose="02040602050305030304" pitchFamily="18" charset="0"/>
              </a:rPr>
              <a:t>.</a:t>
            </a:r>
          </a:p>
          <a:p>
            <a:endParaRPr lang="en-IL" dirty="0"/>
          </a:p>
        </p:txBody>
      </p:sp>
      <p:sp>
        <p:nvSpPr>
          <p:cNvPr id="13" name="TextBox 12">
            <a:extLst>
              <a:ext uri="{FF2B5EF4-FFF2-40B4-BE49-F238E27FC236}">
                <a16:creationId xmlns:a16="http://schemas.microsoft.com/office/drawing/2014/main" id="{8D8346B5-5958-485D-926A-0C8974E2BC6F}"/>
              </a:ext>
            </a:extLst>
          </p:cNvPr>
          <p:cNvSpPr txBox="1"/>
          <p:nvPr/>
        </p:nvSpPr>
        <p:spPr>
          <a:xfrm>
            <a:off x="8037610" y="5116116"/>
            <a:ext cx="3689542" cy="1600438"/>
          </a:xfrm>
          <a:prstGeom prst="rect">
            <a:avLst/>
          </a:prstGeom>
          <a:noFill/>
        </p:spPr>
        <p:txBody>
          <a:bodyPr wrap="square" rtlCol="0">
            <a:spAutoFit/>
          </a:bodyPr>
          <a:lstStyle/>
          <a:p>
            <a:pPr>
              <a:buFont typeface="Arial" panose="020B0604020202020204" pitchFamily="34" charset="0"/>
              <a:buChar char="•"/>
            </a:pPr>
            <a:r>
              <a:rPr lang="en-US" sz="1600" dirty="0">
                <a:solidFill>
                  <a:srgbClr val="652D74"/>
                </a:solidFill>
                <a:latin typeface="Book Antiqua" panose="02040602050305030304" pitchFamily="18" charset="0"/>
              </a:rPr>
              <a:t>Churn is higher among customers with lower total charges.</a:t>
            </a:r>
          </a:p>
          <a:p>
            <a:pPr>
              <a:buFont typeface="Arial" panose="020B0604020202020204" pitchFamily="34" charset="0"/>
              <a:buChar char="•"/>
            </a:pPr>
            <a:r>
              <a:rPr lang="en-US" sz="1600" dirty="0">
                <a:solidFill>
                  <a:srgbClr val="652D74"/>
                </a:solidFill>
                <a:latin typeface="Book Antiqua" panose="02040602050305030304" pitchFamily="18" charset="0"/>
              </a:rPr>
              <a:t>This indicates that new customers (those with low tenure) are more likely to churn.</a:t>
            </a:r>
          </a:p>
          <a:p>
            <a:endParaRPr lang="en-IL" dirty="0"/>
          </a:p>
        </p:txBody>
      </p:sp>
      <p:sp>
        <p:nvSpPr>
          <p:cNvPr id="50" name="Rectangle 49">
            <a:extLst>
              <a:ext uri="{FF2B5EF4-FFF2-40B4-BE49-F238E27FC236}">
                <a16:creationId xmlns:a16="http://schemas.microsoft.com/office/drawing/2014/main" id="{57845948-1F05-483D-A009-B4FFC24120FD}"/>
              </a:ext>
            </a:extLst>
          </p:cNvPr>
          <p:cNvSpPr/>
          <p:nvPr/>
        </p:nvSpPr>
        <p:spPr>
          <a:xfrm>
            <a:off x="-19664" y="0"/>
            <a:ext cx="3586239" cy="6858000"/>
          </a:xfrm>
          <a:prstGeom prst="rect">
            <a:avLst/>
          </a:pr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TextBox 15">
            <a:extLst>
              <a:ext uri="{FF2B5EF4-FFF2-40B4-BE49-F238E27FC236}">
                <a16:creationId xmlns:a16="http://schemas.microsoft.com/office/drawing/2014/main" id="{B272712B-079D-4015-A423-E53CD142BEC4}"/>
              </a:ext>
            </a:extLst>
          </p:cNvPr>
          <p:cNvSpPr txBox="1"/>
          <p:nvPr/>
        </p:nvSpPr>
        <p:spPr>
          <a:xfrm>
            <a:off x="231447" y="129610"/>
            <a:ext cx="3242262" cy="7109639"/>
          </a:xfrm>
          <a:prstGeom prst="rect">
            <a:avLst/>
          </a:prstGeom>
          <a:noFill/>
        </p:spPr>
        <p:txBody>
          <a:bodyPr wrap="square" rtlCol="0">
            <a:spAutoFit/>
          </a:bodyPr>
          <a:lstStyle/>
          <a:p>
            <a:pPr algn="ctr"/>
            <a:r>
              <a:rPr lang="en-US" sz="2400" b="1" dirty="0">
                <a:solidFill>
                  <a:schemeClr val="bg1"/>
                </a:solidFill>
                <a:latin typeface="Baskerville Old Face" panose="02020602080505020303" pitchFamily="18" charset="0"/>
              </a:rPr>
              <a:t>  MonthlyCharges: </a:t>
            </a:r>
          </a:p>
          <a:p>
            <a:pPr algn="ctr"/>
            <a:endParaRPr lang="en-US" sz="800" b="1" dirty="0">
              <a:solidFill>
                <a:schemeClr val="bg1"/>
              </a:solidFill>
              <a:latin typeface="Book Antiqua" panose="02040602050305030304" pitchFamily="18" charset="0"/>
            </a:endParaRPr>
          </a:p>
          <a:p>
            <a:r>
              <a:rPr lang="en-US" dirty="0">
                <a:solidFill>
                  <a:schemeClr val="bg1"/>
                </a:solidFill>
                <a:latin typeface="Book Antiqua" panose="02040602050305030304" pitchFamily="18" charset="0"/>
              </a:rPr>
              <a:t>This column shows the monthly charges billed to the customers. The mean monthly charge is $32.37, with a standard deviation of $24.56, again indicating a wide range of charges. The minimum monthly charge is $18.25 and the maximum is $118.75.</a:t>
            </a:r>
          </a:p>
          <a:p>
            <a:endParaRPr lang="en-US" dirty="0">
              <a:solidFill>
                <a:schemeClr val="bg1"/>
              </a:solidFill>
              <a:latin typeface="Book Antiqua" panose="02040602050305030304" pitchFamily="18" charset="0"/>
            </a:endParaRPr>
          </a:p>
          <a:p>
            <a:pPr algn="ctr"/>
            <a:r>
              <a:rPr lang="en-US" sz="2400" b="1" dirty="0">
                <a:solidFill>
                  <a:schemeClr val="bg1"/>
                </a:solidFill>
                <a:latin typeface="Baskerville Old Face" panose="02020602080505020303" pitchFamily="18" charset="0"/>
              </a:rPr>
              <a:t>TotalCharges: </a:t>
            </a:r>
          </a:p>
          <a:p>
            <a:pPr algn="ctr"/>
            <a:endParaRPr lang="en-US" sz="800" b="1" dirty="0">
              <a:solidFill>
                <a:schemeClr val="bg1"/>
              </a:solidFill>
              <a:latin typeface="Book Antiqua" panose="02040602050305030304" pitchFamily="18" charset="0"/>
            </a:endParaRPr>
          </a:p>
          <a:p>
            <a:r>
              <a:rPr lang="en-US" dirty="0">
                <a:solidFill>
                  <a:schemeClr val="bg1"/>
                </a:solidFill>
                <a:latin typeface="Book Antiqua" panose="02040602050305030304" pitchFamily="18" charset="0"/>
              </a:rPr>
              <a:t>This column shows the total accumulated charges for each customer over their tenure. The mean total charge is $2,281.92, with a standard deviation of $2,265.27. The minimum total charge is $18.80 and the maximum is $8,684.80.</a:t>
            </a:r>
          </a:p>
          <a:p>
            <a:endParaRPr lang="en-IL" dirty="0">
              <a:solidFill>
                <a:schemeClr val="bg1"/>
              </a:solidFill>
              <a:latin typeface="Book Antiqua" panose="02040602050305030304" pitchFamily="18" charset="0"/>
            </a:endParaRPr>
          </a:p>
        </p:txBody>
      </p:sp>
      <p:pic>
        <p:nvPicPr>
          <p:cNvPr id="7" name="Picture 6">
            <a:extLst>
              <a:ext uri="{FF2B5EF4-FFF2-40B4-BE49-F238E27FC236}">
                <a16:creationId xmlns:a16="http://schemas.microsoft.com/office/drawing/2014/main" id="{CBA883D5-204E-4AE3-9914-7E2996DFC30B}"/>
              </a:ext>
            </a:extLst>
          </p:cNvPr>
          <p:cNvPicPr>
            <a:picLocks noChangeAspect="1"/>
          </p:cNvPicPr>
          <p:nvPr/>
        </p:nvPicPr>
        <p:blipFill>
          <a:blip r:embed="rId2"/>
          <a:stretch>
            <a:fillRect/>
          </a:stretch>
        </p:blipFill>
        <p:spPr>
          <a:xfrm>
            <a:off x="4050188" y="613554"/>
            <a:ext cx="7362879" cy="4580688"/>
          </a:xfrm>
          <a:prstGeom prst="rect">
            <a:avLst/>
          </a:prstGeom>
        </p:spPr>
      </p:pic>
      <p:grpSp>
        <p:nvGrpSpPr>
          <p:cNvPr id="41" name="Group 40">
            <a:extLst>
              <a:ext uri="{FF2B5EF4-FFF2-40B4-BE49-F238E27FC236}">
                <a16:creationId xmlns:a16="http://schemas.microsoft.com/office/drawing/2014/main" id="{B6E3B2EF-D10F-43C8-9218-68A9C68DA652}"/>
              </a:ext>
            </a:extLst>
          </p:cNvPr>
          <p:cNvGrpSpPr/>
          <p:nvPr/>
        </p:nvGrpSpPr>
        <p:grpSpPr>
          <a:xfrm>
            <a:off x="3057742" y="129610"/>
            <a:ext cx="805433" cy="778271"/>
            <a:chOff x="6468857" y="3301027"/>
            <a:chExt cx="866776" cy="866776"/>
          </a:xfrm>
        </p:grpSpPr>
        <p:grpSp>
          <p:nvGrpSpPr>
            <p:cNvPr id="15" name="Group 14">
              <a:extLst>
                <a:ext uri="{FF2B5EF4-FFF2-40B4-BE49-F238E27FC236}">
                  <a16:creationId xmlns:a16="http://schemas.microsoft.com/office/drawing/2014/main" id="{AAB00F0A-8FF9-49FE-8F82-6AC6E3ABB14D}"/>
                </a:ext>
              </a:extLst>
            </p:cNvPr>
            <p:cNvGrpSpPr/>
            <p:nvPr/>
          </p:nvGrpSpPr>
          <p:grpSpPr>
            <a:xfrm>
              <a:off x="6468857" y="3301027"/>
              <a:ext cx="866776" cy="866776"/>
              <a:chOff x="6705600" y="1238250"/>
              <a:chExt cx="866776" cy="866776"/>
            </a:xfrm>
          </p:grpSpPr>
          <p:sp>
            <p:nvSpPr>
              <p:cNvPr id="17" name="Oval 16">
                <a:extLst>
                  <a:ext uri="{FF2B5EF4-FFF2-40B4-BE49-F238E27FC236}">
                    <a16:creationId xmlns:a16="http://schemas.microsoft.com/office/drawing/2014/main" id="{E8720380-6353-4026-AA03-E4E6C6BBE8F9}"/>
                  </a:ext>
                </a:extLst>
              </p:cNvPr>
              <p:cNvSpPr/>
              <p:nvPr/>
            </p:nvSpPr>
            <p:spPr>
              <a:xfrm>
                <a:off x="6705600" y="1238250"/>
                <a:ext cx="866776" cy="866776"/>
              </a:xfrm>
              <a:prstGeom prst="ellipse">
                <a:avLst/>
              </a:prstGeom>
              <a:gradFill>
                <a:gsLst>
                  <a:gs pos="2100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Oval 17">
                <a:extLst>
                  <a:ext uri="{FF2B5EF4-FFF2-40B4-BE49-F238E27FC236}">
                    <a16:creationId xmlns:a16="http://schemas.microsoft.com/office/drawing/2014/main" id="{4A35B550-AE1B-485C-91F5-C9FA070127CE}"/>
                  </a:ext>
                </a:extLst>
              </p:cNvPr>
              <p:cNvSpPr/>
              <p:nvPr/>
            </p:nvSpPr>
            <p:spPr>
              <a:xfrm>
                <a:off x="6800851" y="1333501"/>
                <a:ext cx="676275" cy="676275"/>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8" name="Group 27">
              <a:extLst>
                <a:ext uri="{FF2B5EF4-FFF2-40B4-BE49-F238E27FC236}">
                  <a16:creationId xmlns:a16="http://schemas.microsoft.com/office/drawing/2014/main" id="{D938FF5F-8DF2-4925-9BAE-D3DC67DAB8BE}"/>
                </a:ext>
              </a:extLst>
            </p:cNvPr>
            <p:cNvGrpSpPr/>
            <p:nvPr/>
          </p:nvGrpSpPr>
          <p:grpSpPr>
            <a:xfrm>
              <a:off x="6722064" y="3562171"/>
              <a:ext cx="360363" cy="344488"/>
              <a:chOff x="4833938" y="3983038"/>
              <a:chExt cx="360363" cy="344488"/>
            </a:xfrm>
            <a:solidFill>
              <a:schemeClr val="accent1"/>
            </a:solidFill>
          </p:grpSpPr>
          <p:sp>
            <p:nvSpPr>
              <p:cNvPr id="29" name="Freeform 76">
                <a:extLst>
                  <a:ext uri="{FF2B5EF4-FFF2-40B4-BE49-F238E27FC236}">
                    <a16:creationId xmlns:a16="http://schemas.microsoft.com/office/drawing/2014/main" id="{5B2B1AD7-3F99-47C3-879B-7E6B1F00C8C8}"/>
                  </a:ext>
                </a:extLst>
              </p:cNvPr>
              <p:cNvSpPr>
                <a:spLocks/>
              </p:cNvSpPr>
              <p:nvPr/>
            </p:nvSpPr>
            <p:spPr bwMode="auto">
              <a:xfrm>
                <a:off x="4833938" y="4179888"/>
                <a:ext cx="74613" cy="128588"/>
              </a:xfrm>
              <a:custGeom>
                <a:avLst/>
                <a:gdLst>
                  <a:gd name="T0" fmla="*/ 18 w 20"/>
                  <a:gd name="T1" fmla="*/ 0 h 34"/>
                  <a:gd name="T2" fmla="*/ 2 w 20"/>
                  <a:gd name="T3" fmla="*/ 0 h 34"/>
                  <a:gd name="T4" fmla="*/ 0 w 20"/>
                  <a:gd name="T5" fmla="*/ 2 h 34"/>
                  <a:gd name="T6" fmla="*/ 0 w 20"/>
                  <a:gd name="T7" fmla="*/ 32 h 34"/>
                  <a:gd name="T8" fmla="*/ 2 w 20"/>
                  <a:gd name="T9" fmla="*/ 34 h 34"/>
                  <a:gd name="T10" fmla="*/ 18 w 20"/>
                  <a:gd name="T11" fmla="*/ 34 h 34"/>
                  <a:gd name="T12" fmla="*/ 20 w 20"/>
                  <a:gd name="T13" fmla="*/ 32 h 34"/>
                  <a:gd name="T14" fmla="*/ 20 w 20"/>
                  <a:gd name="T15" fmla="*/ 2 h 34"/>
                  <a:gd name="T16" fmla="*/ 18 w 20"/>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8" y="0"/>
                    </a:moveTo>
                    <a:cubicBezTo>
                      <a:pt x="2" y="0"/>
                      <a:pt x="2" y="0"/>
                      <a:pt x="2" y="0"/>
                    </a:cubicBezTo>
                    <a:cubicBezTo>
                      <a:pt x="1" y="0"/>
                      <a:pt x="0" y="1"/>
                      <a:pt x="0" y="2"/>
                    </a:cubicBezTo>
                    <a:cubicBezTo>
                      <a:pt x="0" y="32"/>
                      <a:pt x="0" y="32"/>
                      <a:pt x="0" y="32"/>
                    </a:cubicBezTo>
                    <a:cubicBezTo>
                      <a:pt x="0" y="33"/>
                      <a:pt x="1" y="34"/>
                      <a:pt x="2" y="34"/>
                    </a:cubicBezTo>
                    <a:cubicBezTo>
                      <a:pt x="18" y="34"/>
                      <a:pt x="18" y="34"/>
                      <a:pt x="18" y="34"/>
                    </a:cubicBezTo>
                    <a:cubicBezTo>
                      <a:pt x="19" y="34"/>
                      <a:pt x="20" y="33"/>
                      <a:pt x="20" y="32"/>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77">
                <a:extLst>
                  <a:ext uri="{FF2B5EF4-FFF2-40B4-BE49-F238E27FC236}">
                    <a16:creationId xmlns:a16="http://schemas.microsoft.com/office/drawing/2014/main" id="{601333FD-2B5A-4476-82DB-98409CE8E2D1}"/>
                  </a:ext>
                </a:extLst>
              </p:cNvPr>
              <p:cNvSpPr>
                <a:spLocks/>
              </p:cNvSpPr>
              <p:nvPr/>
            </p:nvSpPr>
            <p:spPr bwMode="auto">
              <a:xfrm>
                <a:off x="4916488" y="4194176"/>
                <a:ext cx="277813" cy="133350"/>
              </a:xfrm>
              <a:custGeom>
                <a:avLst/>
                <a:gdLst>
                  <a:gd name="T0" fmla="*/ 73 w 74"/>
                  <a:gd name="T1" fmla="*/ 13 h 35"/>
                  <a:gd name="T2" fmla="*/ 59 w 74"/>
                  <a:gd name="T3" fmla="*/ 8 h 35"/>
                  <a:gd name="T4" fmla="*/ 47 w 74"/>
                  <a:gd name="T5" fmla="*/ 12 h 35"/>
                  <a:gd name="T6" fmla="*/ 47 w 74"/>
                  <a:gd name="T7" fmla="*/ 14 h 35"/>
                  <a:gd name="T8" fmla="*/ 45 w 74"/>
                  <a:gd name="T9" fmla="*/ 21 h 35"/>
                  <a:gd name="T10" fmla="*/ 38 w 74"/>
                  <a:gd name="T11" fmla="*/ 24 h 35"/>
                  <a:gd name="T12" fmla="*/ 18 w 74"/>
                  <a:gd name="T13" fmla="*/ 24 h 35"/>
                  <a:gd name="T14" fmla="*/ 16 w 74"/>
                  <a:gd name="T15" fmla="*/ 22 h 35"/>
                  <a:gd name="T16" fmla="*/ 18 w 74"/>
                  <a:gd name="T17" fmla="*/ 20 h 35"/>
                  <a:gd name="T18" fmla="*/ 38 w 74"/>
                  <a:gd name="T19" fmla="*/ 20 h 35"/>
                  <a:gd name="T20" fmla="*/ 42 w 74"/>
                  <a:gd name="T21" fmla="*/ 18 h 35"/>
                  <a:gd name="T22" fmla="*/ 43 w 74"/>
                  <a:gd name="T23" fmla="*/ 14 h 35"/>
                  <a:gd name="T24" fmla="*/ 38 w 74"/>
                  <a:gd name="T25" fmla="*/ 8 h 35"/>
                  <a:gd name="T26" fmla="*/ 27 w 74"/>
                  <a:gd name="T27" fmla="*/ 8 h 35"/>
                  <a:gd name="T28" fmla="*/ 26 w 74"/>
                  <a:gd name="T29" fmla="*/ 8 h 35"/>
                  <a:gd name="T30" fmla="*/ 25 w 74"/>
                  <a:gd name="T31" fmla="*/ 7 h 35"/>
                  <a:gd name="T32" fmla="*/ 8 w 74"/>
                  <a:gd name="T33" fmla="*/ 0 h 35"/>
                  <a:gd name="T34" fmla="*/ 2 w 74"/>
                  <a:gd name="T35" fmla="*/ 0 h 35"/>
                  <a:gd name="T36" fmla="*/ 0 w 74"/>
                  <a:gd name="T37" fmla="*/ 2 h 35"/>
                  <a:gd name="T38" fmla="*/ 0 w 74"/>
                  <a:gd name="T39" fmla="*/ 24 h 35"/>
                  <a:gd name="T40" fmla="*/ 1 w 74"/>
                  <a:gd name="T41" fmla="*/ 26 h 35"/>
                  <a:gd name="T42" fmla="*/ 16 w 74"/>
                  <a:gd name="T43" fmla="*/ 31 h 35"/>
                  <a:gd name="T44" fmla="*/ 32 w 74"/>
                  <a:gd name="T45" fmla="*/ 35 h 35"/>
                  <a:gd name="T46" fmla="*/ 49 w 74"/>
                  <a:gd name="T47" fmla="*/ 29 h 35"/>
                  <a:gd name="T48" fmla="*/ 73 w 74"/>
                  <a:gd name="T49" fmla="*/ 16 h 35"/>
                  <a:gd name="T50" fmla="*/ 74 w 74"/>
                  <a:gd name="T51" fmla="*/ 14 h 35"/>
                  <a:gd name="T52" fmla="*/ 73 w 74"/>
                  <a:gd name="T53"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 h="35">
                    <a:moveTo>
                      <a:pt x="73" y="13"/>
                    </a:moveTo>
                    <a:cubicBezTo>
                      <a:pt x="69" y="8"/>
                      <a:pt x="65" y="7"/>
                      <a:pt x="59" y="8"/>
                    </a:cubicBezTo>
                    <a:cubicBezTo>
                      <a:pt x="47" y="12"/>
                      <a:pt x="47" y="12"/>
                      <a:pt x="47" y="12"/>
                    </a:cubicBezTo>
                    <a:cubicBezTo>
                      <a:pt x="47" y="13"/>
                      <a:pt x="47" y="13"/>
                      <a:pt x="47" y="14"/>
                    </a:cubicBezTo>
                    <a:cubicBezTo>
                      <a:pt x="47" y="17"/>
                      <a:pt x="47" y="19"/>
                      <a:pt x="45" y="21"/>
                    </a:cubicBezTo>
                    <a:cubicBezTo>
                      <a:pt x="43" y="23"/>
                      <a:pt x="41" y="24"/>
                      <a:pt x="38" y="24"/>
                    </a:cubicBezTo>
                    <a:cubicBezTo>
                      <a:pt x="18" y="24"/>
                      <a:pt x="18" y="24"/>
                      <a:pt x="18" y="24"/>
                    </a:cubicBezTo>
                    <a:cubicBezTo>
                      <a:pt x="17" y="24"/>
                      <a:pt x="16" y="23"/>
                      <a:pt x="16" y="22"/>
                    </a:cubicBezTo>
                    <a:cubicBezTo>
                      <a:pt x="16" y="21"/>
                      <a:pt x="17" y="20"/>
                      <a:pt x="18" y="20"/>
                    </a:cubicBezTo>
                    <a:cubicBezTo>
                      <a:pt x="38" y="20"/>
                      <a:pt x="38" y="20"/>
                      <a:pt x="38" y="20"/>
                    </a:cubicBezTo>
                    <a:cubicBezTo>
                      <a:pt x="40" y="20"/>
                      <a:pt x="41" y="19"/>
                      <a:pt x="42" y="18"/>
                    </a:cubicBezTo>
                    <a:cubicBezTo>
                      <a:pt x="43" y="17"/>
                      <a:pt x="43" y="16"/>
                      <a:pt x="43" y="14"/>
                    </a:cubicBezTo>
                    <a:cubicBezTo>
                      <a:pt x="43" y="12"/>
                      <a:pt x="42" y="8"/>
                      <a:pt x="38" y="8"/>
                    </a:cubicBezTo>
                    <a:cubicBezTo>
                      <a:pt x="27" y="8"/>
                      <a:pt x="27" y="8"/>
                      <a:pt x="27" y="8"/>
                    </a:cubicBezTo>
                    <a:cubicBezTo>
                      <a:pt x="26" y="8"/>
                      <a:pt x="26" y="8"/>
                      <a:pt x="26" y="8"/>
                    </a:cubicBezTo>
                    <a:cubicBezTo>
                      <a:pt x="25" y="8"/>
                      <a:pt x="25" y="8"/>
                      <a:pt x="25" y="7"/>
                    </a:cubicBezTo>
                    <a:cubicBezTo>
                      <a:pt x="23" y="6"/>
                      <a:pt x="17" y="0"/>
                      <a:pt x="8" y="0"/>
                    </a:cubicBezTo>
                    <a:cubicBezTo>
                      <a:pt x="2" y="0"/>
                      <a:pt x="2" y="0"/>
                      <a:pt x="2" y="0"/>
                    </a:cubicBezTo>
                    <a:cubicBezTo>
                      <a:pt x="1" y="0"/>
                      <a:pt x="0" y="1"/>
                      <a:pt x="0" y="2"/>
                    </a:cubicBezTo>
                    <a:cubicBezTo>
                      <a:pt x="0" y="24"/>
                      <a:pt x="0" y="24"/>
                      <a:pt x="0" y="24"/>
                    </a:cubicBezTo>
                    <a:cubicBezTo>
                      <a:pt x="0" y="25"/>
                      <a:pt x="1" y="26"/>
                      <a:pt x="1" y="26"/>
                    </a:cubicBezTo>
                    <a:cubicBezTo>
                      <a:pt x="8" y="28"/>
                      <a:pt x="12" y="30"/>
                      <a:pt x="16" y="31"/>
                    </a:cubicBezTo>
                    <a:cubicBezTo>
                      <a:pt x="24" y="34"/>
                      <a:pt x="28" y="35"/>
                      <a:pt x="32" y="35"/>
                    </a:cubicBezTo>
                    <a:cubicBezTo>
                      <a:pt x="37" y="35"/>
                      <a:pt x="41" y="33"/>
                      <a:pt x="49" y="29"/>
                    </a:cubicBezTo>
                    <a:cubicBezTo>
                      <a:pt x="54" y="26"/>
                      <a:pt x="62" y="21"/>
                      <a:pt x="73" y="16"/>
                    </a:cubicBezTo>
                    <a:cubicBezTo>
                      <a:pt x="73" y="15"/>
                      <a:pt x="74" y="15"/>
                      <a:pt x="74" y="14"/>
                    </a:cubicBezTo>
                    <a:cubicBezTo>
                      <a:pt x="74" y="14"/>
                      <a:pt x="74" y="13"/>
                      <a:pt x="7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78">
                <a:extLst>
                  <a:ext uri="{FF2B5EF4-FFF2-40B4-BE49-F238E27FC236}">
                    <a16:creationId xmlns:a16="http://schemas.microsoft.com/office/drawing/2014/main" id="{91EA57DC-1843-4D27-AA00-2DBFF272DCE0}"/>
                  </a:ext>
                </a:extLst>
              </p:cNvPr>
              <p:cNvSpPr>
                <a:spLocks noEditPoints="1"/>
              </p:cNvSpPr>
              <p:nvPr/>
            </p:nvSpPr>
            <p:spPr bwMode="auto">
              <a:xfrm>
                <a:off x="5037138" y="3983038"/>
                <a:ext cx="104775" cy="106363"/>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12 w 28"/>
                  <a:gd name="T11" fmla="*/ 10 h 28"/>
                  <a:gd name="T12" fmla="*/ 14 w 28"/>
                  <a:gd name="T13" fmla="*/ 8 h 28"/>
                  <a:gd name="T14" fmla="*/ 16 w 28"/>
                  <a:gd name="T15" fmla="*/ 10 h 28"/>
                  <a:gd name="T16" fmla="*/ 16 w 28"/>
                  <a:gd name="T17" fmla="*/ 18 h 28"/>
                  <a:gd name="T18" fmla="*/ 14 w 28"/>
                  <a:gd name="T19" fmla="*/ 20 h 28"/>
                  <a:gd name="T20" fmla="*/ 12 w 28"/>
                  <a:gd name="T21" fmla="*/ 18 h 28"/>
                  <a:gd name="T22" fmla="*/ 12 w 28"/>
                  <a:gd name="T23"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12" y="10"/>
                    </a:moveTo>
                    <a:cubicBezTo>
                      <a:pt x="12" y="9"/>
                      <a:pt x="13" y="8"/>
                      <a:pt x="14" y="8"/>
                    </a:cubicBezTo>
                    <a:cubicBezTo>
                      <a:pt x="15" y="8"/>
                      <a:pt x="16" y="9"/>
                      <a:pt x="16" y="10"/>
                    </a:cubicBezTo>
                    <a:cubicBezTo>
                      <a:pt x="16" y="18"/>
                      <a:pt x="16" y="18"/>
                      <a:pt x="16" y="18"/>
                    </a:cubicBezTo>
                    <a:cubicBezTo>
                      <a:pt x="16" y="19"/>
                      <a:pt x="15" y="20"/>
                      <a:pt x="14" y="20"/>
                    </a:cubicBezTo>
                    <a:cubicBezTo>
                      <a:pt x="13" y="20"/>
                      <a:pt x="12" y="19"/>
                      <a:pt x="12" y="18"/>
                    </a:cubicBez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79">
                <a:extLst>
                  <a:ext uri="{FF2B5EF4-FFF2-40B4-BE49-F238E27FC236}">
                    <a16:creationId xmlns:a16="http://schemas.microsoft.com/office/drawing/2014/main" id="{1643BE21-BE4D-4AE7-BE1A-5CADBFE25361}"/>
                  </a:ext>
                </a:extLst>
              </p:cNvPr>
              <p:cNvSpPr>
                <a:spLocks noEditPoints="1"/>
              </p:cNvSpPr>
              <p:nvPr/>
            </p:nvSpPr>
            <p:spPr bwMode="auto">
              <a:xfrm>
                <a:off x="4968875" y="4089401"/>
                <a:ext cx="104775" cy="104775"/>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12 w 28"/>
                  <a:gd name="T11" fmla="*/ 10 h 28"/>
                  <a:gd name="T12" fmla="*/ 14 w 28"/>
                  <a:gd name="T13" fmla="*/ 8 h 28"/>
                  <a:gd name="T14" fmla="*/ 16 w 28"/>
                  <a:gd name="T15" fmla="*/ 10 h 28"/>
                  <a:gd name="T16" fmla="*/ 16 w 28"/>
                  <a:gd name="T17" fmla="*/ 18 h 28"/>
                  <a:gd name="T18" fmla="*/ 14 w 28"/>
                  <a:gd name="T19" fmla="*/ 20 h 28"/>
                  <a:gd name="T20" fmla="*/ 12 w 28"/>
                  <a:gd name="T21" fmla="*/ 18 h 28"/>
                  <a:gd name="T22" fmla="*/ 12 w 28"/>
                  <a:gd name="T23"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12" y="10"/>
                    </a:moveTo>
                    <a:cubicBezTo>
                      <a:pt x="12" y="9"/>
                      <a:pt x="13" y="8"/>
                      <a:pt x="14" y="8"/>
                    </a:cubicBezTo>
                    <a:cubicBezTo>
                      <a:pt x="15" y="8"/>
                      <a:pt x="16" y="9"/>
                      <a:pt x="16" y="10"/>
                    </a:cubicBezTo>
                    <a:cubicBezTo>
                      <a:pt x="16" y="18"/>
                      <a:pt x="16" y="18"/>
                      <a:pt x="16" y="18"/>
                    </a:cubicBezTo>
                    <a:cubicBezTo>
                      <a:pt x="16" y="19"/>
                      <a:pt x="15" y="20"/>
                      <a:pt x="14" y="20"/>
                    </a:cubicBezTo>
                    <a:cubicBezTo>
                      <a:pt x="13" y="20"/>
                      <a:pt x="12" y="19"/>
                      <a:pt x="12" y="18"/>
                    </a:cubicBez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40" name="Group 39">
            <a:extLst>
              <a:ext uri="{FF2B5EF4-FFF2-40B4-BE49-F238E27FC236}">
                <a16:creationId xmlns:a16="http://schemas.microsoft.com/office/drawing/2014/main" id="{23731F5F-18F2-485D-97B0-BBE267E5E573}"/>
              </a:ext>
            </a:extLst>
          </p:cNvPr>
          <p:cNvGrpSpPr/>
          <p:nvPr/>
        </p:nvGrpSpPr>
        <p:grpSpPr>
          <a:xfrm>
            <a:off x="3016467" y="3191933"/>
            <a:ext cx="801219" cy="804333"/>
            <a:chOff x="6468857" y="1655031"/>
            <a:chExt cx="866776" cy="866776"/>
          </a:xfrm>
        </p:grpSpPr>
        <p:grpSp>
          <p:nvGrpSpPr>
            <p:cNvPr id="10" name="Group 9">
              <a:extLst>
                <a:ext uri="{FF2B5EF4-FFF2-40B4-BE49-F238E27FC236}">
                  <a16:creationId xmlns:a16="http://schemas.microsoft.com/office/drawing/2014/main" id="{2EB978E7-A19C-4366-B94D-EEC57A5AE8DC}"/>
                </a:ext>
              </a:extLst>
            </p:cNvPr>
            <p:cNvGrpSpPr/>
            <p:nvPr/>
          </p:nvGrpSpPr>
          <p:grpSpPr>
            <a:xfrm>
              <a:off x="6468857" y="1655031"/>
              <a:ext cx="866776" cy="866776"/>
              <a:chOff x="6705600" y="1238250"/>
              <a:chExt cx="866776" cy="866776"/>
            </a:xfrm>
          </p:grpSpPr>
          <p:sp>
            <p:nvSpPr>
              <p:cNvPr id="9" name="Oval 8">
                <a:extLst>
                  <a:ext uri="{FF2B5EF4-FFF2-40B4-BE49-F238E27FC236}">
                    <a16:creationId xmlns:a16="http://schemas.microsoft.com/office/drawing/2014/main" id="{4A46D147-0CC5-4735-AE1F-65BCC6509DC0}"/>
                  </a:ext>
                </a:extLst>
              </p:cNvPr>
              <p:cNvSpPr/>
              <p:nvPr/>
            </p:nvSpPr>
            <p:spPr>
              <a:xfrm>
                <a:off x="6705600" y="1238250"/>
                <a:ext cx="866776" cy="866776"/>
              </a:xfrm>
              <a:prstGeom prst="ellipse">
                <a:avLst/>
              </a:prstGeom>
              <a:gradFill>
                <a:gsLst>
                  <a:gs pos="2100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Oval 7">
                <a:extLst>
                  <a:ext uri="{FF2B5EF4-FFF2-40B4-BE49-F238E27FC236}">
                    <a16:creationId xmlns:a16="http://schemas.microsoft.com/office/drawing/2014/main" id="{97103F70-3F4B-4955-9BCE-2928397D6D93}"/>
                  </a:ext>
                </a:extLst>
              </p:cNvPr>
              <p:cNvSpPr/>
              <p:nvPr/>
            </p:nvSpPr>
            <p:spPr>
              <a:xfrm>
                <a:off x="6800851" y="1333501"/>
                <a:ext cx="676275" cy="676275"/>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 name="Group 35">
              <a:extLst>
                <a:ext uri="{FF2B5EF4-FFF2-40B4-BE49-F238E27FC236}">
                  <a16:creationId xmlns:a16="http://schemas.microsoft.com/office/drawing/2014/main" id="{51C3C6FB-F663-4CEB-B8B8-BE75520C94D3}"/>
                </a:ext>
              </a:extLst>
            </p:cNvPr>
            <p:cNvGrpSpPr/>
            <p:nvPr/>
          </p:nvGrpSpPr>
          <p:grpSpPr>
            <a:xfrm>
              <a:off x="6722064" y="1908238"/>
              <a:ext cx="360363" cy="360363"/>
              <a:chOff x="3397251" y="1066800"/>
              <a:chExt cx="360363" cy="360363"/>
            </a:xfrm>
            <a:solidFill>
              <a:schemeClr val="accent1"/>
            </a:solidFill>
          </p:grpSpPr>
          <p:sp>
            <p:nvSpPr>
              <p:cNvPr id="37" name="Freeform 282">
                <a:extLst>
                  <a:ext uri="{FF2B5EF4-FFF2-40B4-BE49-F238E27FC236}">
                    <a16:creationId xmlns:a16="http://schemas.microsoft.com/office/drawing/2014/main" id="{7242EC86-718F-46F4-AC76-D0A7B9616611}"/>
                  </a:ext>
                </a:extLst>
              </p:cNvPr>
              <p:cNvSpPr>
                <a:spLocks/>
              </p:cNvSpPr>
              <p:nvPr/>
            </p:nvSpPr>
            <p:spPr bwMode="auto">
              <a:xfrm>
                <a:off x="3397251" y="1187450"/>
                <a:ext cx="360363" cy="239713"/>
              </a:xfrm>
              <a:custGeom>
                <a:avLst/>
                <a:gdLst>
                  <a:gd name="T0" fmla="*/ 94 w 96"/>
                  <a:gd name="T1" fmla="*/ 40 h 64"/>
                  <a:gd name="T2" fmla="*/ 28 w 96"/>
                  <a:gd name="T3" fmla="*/ 40 h 64"/>
                  <a:gd name="T4" fmla="*/ 28 w 96"/>
                  <a:gd name="T5" fmla="*/ 26 h 64"/>
                  <a:gd name="T6" fmla="*/ 40 w 96"/>
                  <a:gd name="T7" fmla="*/ 2 h 64"/>
                  <a:gd name="T8" fmla="*/ 38 w 96"/>
                  <a:gd name="T9" fmla="*/ 0 h 64"/>
                  <a:gd name="T10" fmla="*/ 2 w 96"/>
                  <a:gd name="T11" fmla="*/ 0 h 64"/>
                  <a:gd name="T12" fmla="*/ 0 w 96"/>
                  <a:gd name="T13" fmla="*/ 2 h 64"/>
                  <a:gd name="T14" fmla="*/ 12 w 96"/>
                  <a:gd name="T15" fmla="*/ 26 h 64"/>
                  <a:gd name="T16" fmla="*/ 12 w 96"/>
                  <a:gd name="T17" fmla="*/ 40 h 64"/>
                  <a:gd name="T18" fmla="*/ 2 w 96"/>
                  <a:gd name="T19" fmla="*/ 40 h 64"/>
                  <a:gd name="T20" fmla="*/ 0 w 96"/>
                  <a:gd name="T21" fmla="*/ 42 h 64"/>
                  <a:gd name="T22" fmla="*/ 2 w 96"/>
                  <a:gd name="T23" fmla="*/ 44 h 64"/>
                  <a:gd name="T24" fmla="*/ 42 w 96"/>
                  <a:gd name="T25" fmla="*/ 44 h 64"/>
                  <a:gd name="T26" fmla="*/ 28 w 96"/>
                  <a:gd name="T27" fmla="*/ 61 h 64"/>
                  <a:gd name="T28" fmla="*/ 28 w 96"/>
                  <a:gd name="T29" fmla="*/ 63 h 64"/>
                  <a:gd name="T30" fmla="*/ 30 w 96"/>
                  <a:gd name="T31" fmla="*/ 64 h 64"/>
                  <a:gd name="T32" fmla="*/ 62 w 96"/>
                  <a:gd name="T33" fmla="*/ 64 h 64"/>
                  <a:gd name="T34" fmla="*/ 64 w 96"/>
                  <a:gd name="T35" fmla="*/ 63 h 64"/>
                  <a:gd name="T36" fmla="*/ 64 w 96"/>
                  <a:gd name="T37" fmla="*/ 61 h 64"/>
                  <a:gd name="T38" fmla="*/ 50 w 96"/>
                  <a:gd name="T39" fmla="*/ 44 h 64"/>
                  <a:gd name="T40" fmla="*/ 94 w 96"/>
                  <a:gd name="T41" fmla="*/ 44 h 64"/>
                  <a:gd name="T42" fmla="*/ 96 w 96"/>
                  <a:gd name="T43" fmla="*/ 42 h 64"/>
                  <a:gd name="T44" fmla="*/ 94 w 96"/>
                  <a:gd name="T45" fmla="*/ 4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64">
                    <a:moveTo>
                      <a:pt x="94" y="40"/>
                    </a:moveTo>
                    <a:cubicBezTo>
                      <a:pt x="28" y="40"/>
                      <a:pt x="28" y="40"/>
                      <a:pt x="28" y="40"/>
                    </a:cubicBezTo>
                    <a:cubicBezTo>
                      <a:pt x="28" y="26"/>
                      <a:pt x="28" y="26"/>
                      <a:pt x="28" y="26"/>
                    </a:cubicBezTo>
                    <a:cubicBezTo>
                      <a:pt x="36" y="22"/>
                      <a:pt x="40" y="11"/>
                      <a:pt x="40" y="2"/>
                    </a:cubicBezTo>
                    <a:cubicBezTo>
                      <a:pt x="40" y="1"/>
                      <a:pt x="39" y="0"/>
                      <a:pt x="38" y="0"/>
                    </a:cubicBezTo>
                    <a:cubicBezTo>
                      <a:pt x="2" y="0"/>
                      <a:pt x="2" y="0"/>
                      <a:pt x="2" y="0"/>
                    </a:cubicBezTo>
                    <a:cubicBezTo>
                      <a:pt x="1" y="0"/>
                      <a:pt x="0" y="1"/>
                      <a:pt x="0" y="2"/>
                    </a:cubicBezTo>
                    <a:cubicBezTo>
                      <a:pt x="0" y="11"/>
                      <a:pt x="4" y="22"/>
                      <a:pt x="12" y="26"/>
                    </a:cubicBezTo>
                    <a:cubicBezTo>
                      <a:pt x="12" y="40"/>
                      <a:pt x="12" y="40"/>
                      <a:pt x="12" y="40"/>
                    </a:cubicBezTo>
                    <a:cubicBezTo>
                      <a:pt x="2" y="40"/>
                      <a:pt x="2" y="40"/>
                      <a:pt x="2" y="40"/>
                    </a:cubicBezTo>
                    <a:cubicBezTo>
                      <a:pt x="1" y="40"/>
                      <a:pt x="0" y="41"/>
                      <a:pt x="0" y="42"/>
                    </a:cubicBezTo>
                    <a:cubicBezTo>
                      <a:pt x="0" y="43"/>
                      <a:pt x="1" y="44"/>
                      <a:pt x="2" y="44"/>
                    </a:cubicBezTo>
                    <a:cubicBezTo>
                      <a:pt x="42" y="44"/>
                      <a:pt x="42" y="44"/>
                      <a:pt x="42" y="44"/>
                    </a:cubicBezTo>
                    <a:cubicBezTo>
                      <a:pt x="28" y="61"/>
                      <a:pt x="28" y="61"/>
                      <a:pt x="28" y="61"/>
                    </a:cubicBezTo>
                    <a:cubicBezTo>
                      <a:pt x="28" y="61"/>
                      <a:pt x="28" y="62"/>
                      <a:pt x="28" y="63"/>
                    </a:cubicBezTo>
                    <a:cubicBezTo>
                      <a:pt x="29" y="64"/>
                      <a:pt x="29" y="64"/>
                      <a:pt x="30" y="64"/>
                    </a:cubicBezTo>
                    <a:cubicBezTo>
                      <a:pt x="62" y="64"/>
                      <a:pt x="62" y="64"/>
                      <a:pt x="62" y="64"/>
                    </a:cubicBezTo>
                    <a:cubicBezTo>
                      <a:pt x="63" y="64"/>
                      <a:pt x="63" y="64"/>
                      <a:pt x="64" y="63"/>
                    </a:cubicBezTo>
                    <a:cubicBezTo>
                      <a:pt x="64" y="62"/>
                      <a:pt x="64" y="61"/>
                      <a:pt x="64" y="61"/>
                    </a:cubicBezTo>
                    <a:cubicBezTo>
                      <a:pt x="50" y="44"/>
                      <a:pt x="50" y="44"/>
                      <a:pt x="50" y="44"/>
                    </a:cubicBezTo>
                    <a:cubicBezTo>
                      <a:pt x="94" y="44"/>
                      <a:pt x="94" y="44"/>
                      <a:pt x="94" y="44"/>
                    </a:cubicBezTo>
                    <a:cubicBezTo>
                      <a:pt x="95" y="44"/>
                      <a:pt x="96" y="43"/>
                      <a:pt x="96" y="42"/>
                    </a:cubicBezTo>
                    <a:cubicBezTo>
                      <a:pt x="96" y="41"/>
                      <a:pt x="95" y="40"/>
                      <a:pt x="9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283">
                <a:extLst>
                  <a:ext uri="{FF2B5EF4-FFF2-40B4-BE49-F238E27FC236}">
                    <a16:creationId xmlns:a16="http://schemas.microsoft.com/office/drawing/2014/main" id="{5DDD6AC0-E324-456F-852A-F4AD1CE552A4}"/>
                  </a:ext>
                </a:extLst>
              </p:cNvPr>
              <p:cNvSpPr>
                <a:spLocks noEditPoints="1"/>
              </p:cNvSpPr>
              <p:nvPr/>
            </p:nvSpPr>
            <p:spPr bwMode="auto">
              <a:xfrm>
                <a:off x="3592513" y="1141413"/>
                <a:ext cx="165100" cy="166688"/>
              </a:xfrm>
              <a:custGeom>
                <a:avLst/>
                <a:gdLst>
                  <a:gd name="T0" fmla="*/ 22 w 44"/>
                  <a:gd name="T1" fmla="*/ 44 h 44"/>
                  <a:gd name="T2" fmla="*/ 44 w 44"/>
                  <a:gd name="T3" fmla="*/ 22 h 44"/>
                  <a:gd name="T4" fmla="*/ 22 w 44"/>
                  <a:gd name="T5" fmla="*/ 0 h 44"/>
                  <a:gd name="T6" fmla="*/ 0 w 44"/>
                  <a:gd name="T7" fmla="*/ 22 h 44"/>
                  <a:gd name="T8" fmla="*/ 22 w 44"/>
                  <a:gd name="T9" fmla="*/ 44 h 44"/>
                  <a:gd name="T10" fmla="*/ 22 w 44"/>
                  <a:gd name="T11" fmla="*/ 24 h 44"/>
                  <a:gd name="T12" fmla="*/ 15 w 44"/>
                  <a:gd name="T13" fmla="*/ 17 h 44"/>
                  <a:gd name="T14" fmla="*/ 20 w 44"/>
                  <a:gd name="T15" fmla="*/ 11 h 44"/>
                  <a:gd name="T16" fmla="*/ 20 w 44"/>
                  <a:gd name="T17" fmla="*/ 10 h 44"/>
                  <a:gd name="T18" fmla="*/ 22 w 44"/>
                  <a:gd name="T19" fmla="*/ 8 h 44"/>
                  <a:gd name="T20" fmla="*/ 24 w 44"/>
                  <a:gd name="T21" fmla="*/ 10 h 44"/>
                  <a:gd name="T22" fmla="*/ 24 w 44"/>
                  <a:gd name="T23" fmla="*/ 11 h 44"/>
                  <a:gd name="T24" fmla="*/ 29 w 44"/>
                  <a:gd name="T25" fmla="*/ 17 h 44"/>
                  <a:gd name="T26" fmla="*/ 27 w 44"/>
                  <a:gd name="T27" fmla="*/ 19 h 44"/>
                  <a:gd name="T28" fmla="*/ 25 w 44"/>
                  <a:gd name="T29" fmla="*/ 17 h 44"/>
                  <a:gd name="T30" fmla="*/ 22 w 44"/>
                  <a:gd name="T31" fmla="*/ 15 h 44"/>
                  <a:gd name="T32" fmla="*/ 19 w 44"/>
                  <a:gd name="T33" fmla="*/ 17 h 44"/>
                  <a:gd name="T34" fmla="*/ 22 w 44"/>
                  <a:gd name="T35" fmla="*/ 20 h 44"/>
                  <a:gd name="T36" fmla="*/ 29 w 44"/>
                  <a:gd name="T37" fmla="*/ 27 h 44"/>
                  <a:gd name="T38" fmla="*/ 24 w 44"/>
                  <a:gd name="T39" fmla="*/ 33 h 44"/>
                  <a:gd name="T40" fmla="*/ 24 w 44"/>
                  <a:gd name="T41" fmla="*/ 34 h 44"/>
                  <a:gd name="T42" fmla="*/ 22 w 44"/>
                  <a:gd name="T43" fmla="*/ 36 h 44"/>
                  <a:gd name="T44" fmla="*/ 20 w 44"/>
                  <a:gd name="T45" fmla="*/ 34 h 44"/>
                  <a:gd name="T46" fmla="*/ 20 w 44"/>
                  <a:gd name="T47" fmla="*/ 33 h 44"/>
                  <a:gd name="T48" fmla="*/ 15 w 44"/>
                  <a:gd name="T49" fmla="*/ 27 h 44"/>
                  <a:gd name="T50" fmla="*/ 17 w 44"/>
                  <a:gd name="T51" fmla="*/ 25 h 44"/>
                  <a:gd name="T52" fmla="*/ 19 w 44"/>
                  <a:gd name="T53" fmla="*/ 27 h 44"/>
                  <a:gd name="T54" fmla="*/ 22 w 44"/>
                  <a:gd name="T55" fmla="*/ 29 h 44"/>
                  <a:gd name="T56" fmla="*/ 25 w 44"/>
                  <a:gd name="T57" fmla="*/ 27 h 44"/>
                  <a:gd name="T58" fmla="*/ 22 w 44"/>
                  <a:gd name="T59"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 h="44">
                    <a:moveTo>
                      <a:pt x="22" y="44"/>
                    </a:moveTo>
                    <a:cubicBezTo>
                      <a:pt x="34" y="44"/>
                      <a:pt x="44" y="34"/>
                      <a:pt x="44" y="22"/>
                    </a:cubicBezTo>
                    <a:cubicBezTo>
                      <a:pt x="44" y="10"/>
                      <a:pt x="34" y="0"/>
                      <a:pt x="22" y="0"/>
                    </a:cubicBezTo>
                    <a:cubicBezTo>
                      <a:pt x="10" y="0"/>
                      <a:pt x="0" y="10"/>
                      <a:pt x="0" y="22"/>
                    </a:cubicBezTo>
                    <a:cubicBezTo>
                      <a:pt x="0" y="34"/>
                      <a:pt x="10" y="44"/>
                      <a:pt x="22" y="44"/>
                    </a:cubicBezTo>
                    <a:close/>
                    <a:moveTo>
                      <a:pt x="22" y="24"/>
                    </a:moveTo>
                    <a:cubicBezTo>
                      <a:pt x="18" y="24"/>
                      <a:pt x="15" y="21"/>
                      <a:pt x="15" y="17"/>
                    </a:cubicBezTo>
                    <a:cubicBezTo>
                      <a:pt x="15" y="14"/>
                      <a:pt x="17" y="12"/>
                      <a:pt x="20" y="11"/>
                    </a:cubicBezTo>
                    <a:cubicBezTo>
                      <a:pt x="20" y="10"/>
                      <a:pt x="20" y="10"/>
                      <a:pt x="20" y="10"/>
                    </a:cubicBezTo>
                    <a:cubicBezTo>
                      <a:pt x="20" y="9"/>
                      <a:pt x="21" y="8"/>
                      <a:pt x="22" y="8"/>
                    </a:cubicBezTo>
                    <a:cubicBezTo>
                      <a:pt x="23" y="8"/>
                      <a:pt x="24" y="9"/>
                      <a:pt x="24" y="10"/>
                    </a:cubicBezTo>
                    <a:cubicBezTo>
                      <a:pt x="24" y="11"/>
                      <a:pt x="24" y="11"/>
                      <a:pt x="24" y="11"/>
                    </a:cubicBezTo>
                    <a:cubicBezTo>
                      <a:pt x="27" y="12"/>
                      <a:pt x="29" y="14"/>
                      <a:pt x="29" y="17"/>
                    </a:cubicBezTo>
                    <a:cubicBezTo>
                      <a:pt x="29" y="18"/>
                      <a:pt x="28" y="19"/>
                      <a:pt x="27" y="19"/>
                    </a:cubicBezTo>
                    <a:cubicBezTo>
                      <a:pt x="26" y="19"/>
                      <a:pt x="25" y="18"/>
                      <a:pt x="25" y="17"/>
                    </a:cubicBezTo>
                    <a:cubicBezTo>
                      <a:pt x="25" y="16"/>
                      <a:pt x="23" y="15"/>
                      <a:pt x="22" y="15"/>
                    </a:cubicBezTo>
                    <a:cubicBezTo>
                      <a:pt x="21" y="15"/>
                      <a:pt x="19" y="16"/>
                      <a:pt x="19" y="17"/>
                    </a:cubicBezTo>
                    <a:cubicBezTo>
                      <a:pt x="19" y="19"/>
                      <a:pt x="21" y="20"/>
                      <a:pt x="22" y="20"/>
                    </a:cubicBezTo>
                    <a:cubicBezTo>
                      <a:pt x="26" y="20"/>
                      <a:pt x="29" y="23"/>
                      <a:pt x="29" y="27"/>
                    </a:cubicBezTo>
                    <a:cubicBezTo>
                      <a:pt x="29" y="30"/>
                      <a:pt x="27" y="32"/>
                      <a:pt x="24" y="33"/>
                    </a:cubicBezTo>
                    <a:cubicBezTo>
                      <a:pt x="24" y="34"/>
                      <a:pt x="24" y="34"/>
                      <a:pt x="24" y="34"/>
                    </a:cubicBezTo>
                    <a:cubicBezTo>
                      <a:pt x="24" y="35"/>
                      <a:pt x="23" y="36"/>
                      <a:pt x="22" y="36"/>
                    </a:cubicBezTo>
                    <a:cubicBezTo>
                      <a:pt x="21" y="36"/>
                      <a:pt x="20" y="35"/>
                      <a:pt x="20" y="34"/>
                    </a:cubicBezTo>
                    <a:cubicBezTo>
                      <a:pt x="20" y="33"/>
                      <a:pt x="20" y="33"/>
                      <a:pt x="20" y="33"/>
                    </a:cubicBezTo>
                    <a:cubicBezTo>
                      <a:pt x="17" y="32"/>
                      <a:pt x="15" y="30"/>
                      <a:pt x="15" y="27"/>
                    </a:cubicBezTo>
                    <a:cubicBezTo>
                      <a:pt x="15" y="26"/>
                      <a:pt x="16" y="25"/>
                      <a:pt x="17" y="25"/>
                    </a:cubicBezTo>
                    <a:cubicBezTo>
                      <a:pt x="18" y="25"/>
                      <a:pt x="19" y="26"/>
                      <a:pt x="19" y="27"/>
                    </a:cubicBezTo>
                    <a:cubicBezTo>
                      <a:pt x="19" y="28"/>
                      <a:pt x="21" y="29"/>
                      <a:pt x="22" y="29"/>
                    </a:cubicBezTo>
                    <a:cubicBezTo>
                      <a:pt x="23" y="29"/>
                      <a:pt x="25" y="28"/>
                      <a:pt x="25" y="27"/>
                    </a:cubicBezTo>
                    <a:cubicBezTo>
                      <a:pt x="25" y="25"/>
                      <a:pt x="23" y="24"/>
                      <a:pt x="2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Oval 284">
                <a:extLst>
                  <a:ext uri="{FF2B5EF4-FFF2-40B4-BE49-F238E27FC236}">
                    <a16:creationId xmlns:a16="http://schemas.microsoft.com/office/drawing/2014/main" id="{76F2452E-EA8D-4DD3-892E-471F41FDBB50}"/>
                  </a:ext>
                </a:extLst>
              </p:cNvPr>
              <p:cNvSpPr>
                <a:spLocks noChangeArrowheads="1"/>
              </p:cNvSpPr>
              <p:nvPr/>
            </p:nvSpPr>
            <p:spPr bwMode="auto">
              <a:xfrm>
                <a:off x="3419476" y="1066800"/>
                <a:ext cx="106363"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Tree>
    <p:extLst>
      <p:ext uri="{BB962C8B-B14F-4D97-AF65-F5344CB8AC3E}">
        <p14:creationId xmlns:p14="http://schemas.microsoft.com/office/powerpoint/2010/main" val="5931083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F9AC208-B24F-41E3-8B0E-F92BF39EEB0E}"/>
              </a:ext>
            </a:extLst>
          </p:cNvPr>
          <p:cNvPicPr>
            <a:picLocks noChangeAspect="1"/>
          </p:cNvPicPr>
          <p:nvPr/>
        </p:nvPicPr>
        <p:blipFill>
          <a:blip r:embed="rId2"/>
          <a:stretch>
            <a:fillRect/>
          </a:stretch>
        </p:blipFill>
        <p:spPr>
          <a:xfrm>
            <a:off x="4985162" y="3721053"/>
            <a:ext cx="4541408" cy="3007027"/>
          </a:xfrm>
          <a:prstGeom prst="rect">
            <a:avLst/>
          </a:prstGeom>
        </p:spPr>
      </p:pic>
      <p:sp>
        <p:nvSpPr>
          <p:cNvPr id="3" name="Arrow: Pentagon 2">
            <a:extLst>
              <a:ext uri="{FF2B5EF4-FFF2-40B4-BE49-F238E27FC236}">
                <a16:creationId xmlns:a16="http://schemas.microsoft.com/office/drawing/2014/main" id="{85DD7579-25D5-42BC-BA9F-7F7425DC6E72}"/>
              </a:ext>
            </a:extLst>
          </p:cNvPr>
          <p:cNvSpPr/>
          <p:nvPr/>
        </p:nvSpPr>
        <p:spPr>
          <a:xfrm>
            <a:off x="-27280" y="-5663"/>
            <a:ext cx="5697309" cy="6863663"/>
          </a:xfrm>
          <a:prstGeom prst="homePlate">
            <a:avLst>
              <a:gd name="adj" fmla="val 50397"/>
            </a:avLst>
          </a:pr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L"/>
          </a:p>
        </p:txBody>
      </p:sp>
      <p:sp>
        <p:nvSpPr>
          <p:cNvPr id="199" name="Shape 199"/>
          <p:cNvSpPr>
            <a:spLocks noGrp="1"/>
          </p:cNvSpPr>
          <p:nvPr>
            <p:ph type="sldNum" sz="quarter" idx="2"/>
          </p:nvPr>
        </p:nvSpPr>
        <p:spPr>
          <a:xfrm>
            <a:off x="23019528" y="819533"/>
            <a:ext cx="607908" cy="846386"/>
          </a:xfrm>
          <a:prstGeom prst="rect">
            <a:avLst/>
          </a:prstGeom>
          <a:ln w="3175">
            <a:miter lim="400000"/>
          </a:ln>
          <a:extLst>
            <a:ext uri="{C572A759-6A51-4108-AA02-DFA0A04FC94B}">
              <ma14:wrappingTextBoxFlag xmlns="" xmlns:ma14="http://schemas.microsoft.com/office/mac/drawingml/2011/main" val="1"/>
            </a:ext>
          </a:extLst>
        </p:spPr>
        <p:txBody>
          <a:bodyPr lIns="38100" tIns="38100" rIns="38100" bIns="381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500" b="0" i="0" u="none" strike="noStrike" cap="all" spc="500" normalizeH="0" baseline="0">
                <a:ln>
                  <a:noFill/>
                </a:ln>
                <a:solidFill>
                  <a:srgbClr val="ABADC2"/>
                </a:solidFill>
                <a:effectLst/>
                <a:uFillTx/>
                <a:latin typeface="+mn-lt"/>
                <a:ea typeface="Avenir Next Demi Bold"/>
                <a:cs typeface="Avenir Next Demi Bold"/>
                <a:sym typeface="Avenir Next Demi Bold"/>
              </a:defRPr>
            </a:lvl1pPr>
            <a:lvl2pPr marL="0" marR="0" indent="2286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2pPr>
            <a:lvl3pPr marL="0" marR="0" indent="4572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3pPr>
            <a:lvl4pPr marL="0" marR="0" indent="6858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4pPr>
            <a:lvl5pPr marL="0" marR="0" indent="9144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5pPr>
            <a:lvl6pPr marL="0" marR="0" indent="11430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6pPr>
            <a:lvl7pPr marL="0" marR="0" indent="13716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7pPr>
            <a:lvl8pPr marL="0" marR="0" indent="16002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8pPr>
            <a:lvl9pPr marL="0" marR="0" indent="18288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9pPr>
          </a:lstStyle>
          <a:p>
            <a:fld id="{86CB4B4D-7CA3-9044-876B-883B54F8677D}" type="slidenum">
              <a:rPr lang="en-IL" smtClean="0"/>
              <a:pPr/>
              <a:t>14</a:t>
            </a:fld>
            <a:endParaRPr/>
          </a:p>
        </p:txBody>
      </p:sp>
      <p:sp>
        <p:nvSpPr>
          <p:cNvPr id="202" name="Shape 202"/>
          <p:cNvSpPr/>
          <p:nvPr/>
        </p:nvSpPr>
        <p:spPr>
          <a:xfrm flipV="1">
            <a:off x="257175" y="899659"/>
            <a:ext cx="2867025" cy="0"/>
          </a:xfrm>
          <a:prstGeom prst="line">
            <a:avLst/>
          </a:prstGeom>
          <a:ln w="76200">
            <a:solidFill>
              <a:srgbClr val="883E77"/>
            </a:solidFill>
            <a:miter lim="400000"/>
          </a:ln>
        </p:spPr>
        <p:txBody>
          <a:bodyPr lIns="19050" tIns="19050" rIns="19050" bIns="19050" anchor="ctr"/>
          <a:lstStyle/>
          <a:p>
            <a:pPr algn="ctr">
              <a:defRPr sz="3000">
                <a:solidFill>
                  <a:srgbClr val="000000"/>
                </a:solidFill>
                <a:latin typeface="Helvetica Light"/>
                <a:ea typeface="Helvetica Light"/>
                <a:cs typeface="Helvetica Light"/>
                <a:sym typeface="Helvetica Light"/>
              </a:defRPr>
            </a:pPr>
            <a:endParaRPr sz="1500"/>
          </a:p>
        </p:txBody>
      </p:sp>
      <p:grpSp>
        <p:nvGrpSpPr>
          <p:cNvPr id="9" name="Group 8">
            <a:extLst>
              <a:ext uri="{FF2B5EF4-FFF2-40B4-BE49-F238E27FC236}">
                <a16:creationId xmlns:a16="http://schemas.microsoft.com/office/drawing/2014/main" id="{A4A0DB46-F99F-4046-883B-08971605AF03}"/>
              </a:ext>
            </a:extLst>
          </p:cNvPr>
          <p:cNvGrpSpPr/>
          <p:nvPr/>
        </p:nvGrpSpPr>
        <p:grpSpPr>
          <a:xfrm>
            <a:off x="5243213" y="139818"/>
            <a:ext cx="4579737" cy="1226047"/>
            <a:chOff x="7301024" y="236930"/>
            <a:chExt cx="4579737" cy="1226047"/>
          </a:xfrm>
        </p:grpSpPr>
        <p:sp>
          <p:nvSpPr>
            <p:cNvPr id="218" name="Shape 218"/>
            <p:cNvSpPr/>
            <p:nvPr/>
          </p:nvSpPr>
          <p:spPr>
            <a:xfrm>
              <a:off x="7453057" y="388889"/>
              <a:ext cx="922586" cy="922128"/>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219" name="Shape 219"/>
            <p:cNvSpPr/>
            <p:nvPr/>
          </p:nvSpPr>
          <p:spPr>
            <a:xfrm>
              <a:off x="7468684" y="678578"/>
              <a:ext cx="922586" cy="405227"/>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rmAutofit/>
            </a:bodyPr>
            <a:lstStyle>
              <a:lvl1pPr algn="ctr">
                <a:defRPr sz="4700" cap="all">
                  <a:solidFill>
                    <a:srgbClr val="1D1F30"/>
                  </a:solidFill>
                  <a:latin typeface="Avenir Next Demi Bold"/>
                  <a:ea typeface="Avenir Next Demi Bold"/>
                  <a:cs typeface="Avenir Next Demi Bold"/>
                  <a:sym typeface="Avenir Next Demi Bold"/>
                </a:defRPr>
              </a:lvl1pPr>
            </a:lstStyle>
            <a:p>
              <a:r>
                <a:rPr lang="en-US" sz="2350" dirty="0">
                  <a:latin typeface="+mn-lt"/>
                </a:rPr>
                <a:t>55</a:t>
              </a:r>
              <a:r>
                <a:rPr sz="2350" dirty="0">
                  <a:latin typeface="+mn-lt"/>
                </a:rPr>
                <a:t>%</a:t>
              </a:r>
            </a:p>
          </p:txBody>
        </p:sp>
        <p:sp>
          <p:nvSpPr>
            <p:cNvPr id="220" name="Shape 220"/>
            <p:cNvSpPr/>
            <p:nvPr/>
          </p:nvSpPr>
          <p:spPr>
            <a:xfrm>
              <a:off x="7301024" y="236930"/>
              <a:ext cx="1226654" cy="1226047"/>
            </a:xfrm>
            <a:prstGeom prst="ellipse">
              <a:avLst/>
            </a:prstGeom>
            <a:noFill/>
            <a:ln w="76200" cap="flat">
              <a:solidFill>
                <a:srgbClr val="343750"/>
              </a:solidFill>
              <a:prstDash val="solid"/>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grpSp>
          <p:nvGrpSpPr>
            <p:cNvPr id="231" name="Group 231"/>
            <p:cNvGrpSpPr/>
            <p:nvPr/>
          </p:nvGrpSpPr>
          <p:grpSpPr>
            <a:xfrm>
              <a:off x="8747202" y="751308"/>
              <a:ext cx="3133559" cy="259766"/>
              <a:chOff x="0" y="0"/>
              <a:chExt cx="7640154" cy="633666"/>
            </a:xfrm>
          </p:grpSpPr>
          <p:sp>
            <p:nvSpPr>
              <p:cNvPr id="222" name="Shape 222"/>
              <p:cNvSpPr/>
              <p:nvPr/>
            </p:nvSpPr>
            <p:spPr>
              <a:xfrm>
                <a:off x="0" y="0"/>
                <a:ext cx="633667" cy="633667"/>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223" name="Shape 223"/>
              <p:cNvSpPr/>
              <p:nvPr/>
            </p:nvSpPr>
            <p:spPr>
              <a:xfrm>
                <a:off x="875811" y="0"/>
                <a:ext cx="633668" cy="633667"/>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224" name="Shape 224"/>
              <p:cNvSpPr/>
              <p:nvPr/>
            </p:nvSpPr>
            <p:spPr>
              <a:xfrm>
                <a:off x="1751623" y="0"/>
                <a:ext cx="633668" cy="633667"/>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225" name="Shape 225"/>
              <p:cNvSpPr/>
              <p:nvPr/>
            </p:nvSpPr>
            <p:spPr>
              <a:xfrm>
                <a:off x="2627433" y="0"/>
                <a:ext cx="633668" cy="633667"/>
              </a:xfrm>
              <a:prstGeom prst="ellipse">
                <a:avLst/>
              </a:prstGeom>
              <a:solidFill>
                <a:srgbClr val="343650"/>
              </a:soli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226" name="Shape 226"/>
              <p:cNvSpPr/>
              <p:nvPr/>
            </p:nvSpPr>
            <p:spPr>
              <a:xfrm>
                <a:off x="3503245" y="0"/>
                <a:ext cx="633668" cy="633667"/>
              </a:xfrm>
              <a:prstGeom prst="ellipse">
                <a:avLst/>
              </a:prstGeom>
              <a:solidFill>
                <a:srgbClr val="343650"/>
              </a:soli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227" name="Shape 227"/>
              <p:cNvSpPr/>
              <p:nvPr/>
            </p:nvSpPr>
            <p:spPr>
              <a:xfrm>
                <a:off x="4379056" y="0"/>
                <a:ext cx="633668" cy="633667"/>
              </a:xfrm>
              <a:prstGeom prst="ellipse">
                <a:avLst/>
              </a:prstGeom>
              <a:solidFill>
                <a:srgbClr val="343650"/>
              </a:soli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228" name="Shape 228"/>
              <p:cNvSpPr/>
              <p:nvPr/>
            </p:nvSpPr>
            <p:spPr>
              <a:xfrm>
                <a:off x="5254866" y="0"/>
                <a:ext cx="633668" cy="633667"/>
              </a:xfrm>
              <a:prstGeom prst="ellipse">
                <a:avLst/>
              </a:prstGeom>
              <a:solidFill>
                <a:srgbClr val="343650"/>
              </a:soli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229" name="Shape 229"/>
              <p:cNvSpPr/>
              <p:nvPr/>
            </p:nvSpPr>
            <p:spPr>
              <a:xfrm>
                <a:off x="6130676" y="0"/>
                <a:ext cx="633668" cy="633667"/>
              </a:xfrm>
              <a:prstGeom prst="ellipse">
                <a:avLst/>
              </a:prstGeom>
              <a:solidFill>
                <a:srgbClr val="343650"/>
              </a:soli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230" name="Shape 230"/>
              <p:cNvSpPr/>
              <p:nvPr/>
            </p:nvSpPr>
            <p:spPr>
              <a:xfrm>
                <a:off x="7006487" y="0"/>
                <a:ext cx="633668" cy="633667"/>
              </a:xfrm>
              <a:prstGeom prst="ellipse">
                <a:avLst/>
              </a:prstGeom>
              <a:solidFill>
                <a:srgbClr val="343650"/>
              </a:soli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grpSp>
      </p:grpSp>
      <p:sp>
        <p:nvSpPr>
          <p:cNvPr id="6" name="TextBox 5">
            <a:extLst>
              <a:ext uri="{FF2B5EF4-FFF2-40B4-BE49-F238E27FC236}">
                <a16:creationId xmlns:a16="http://schemas.microsoft.com/office/drawing/2014/main" id="{9A837863-F3C1-488E-B7BB-F32922010686}"/>
              </a:ext>
            </a:extLst>
          </p:cNvPr>
          <p:cNvSpPr txBox="1"/>
          <p:nvPr/>
        </p:nvSpPr>
        <p:spPr>
          <a:xfrm>
            <a:off x="6995101" y="248706"/>
            <a:ext cx="3687435" cy="369332"/>
          </a:xfrm>
          <a:prstGeom prst="rect">
            <a:avLst/>
          </a:prstGeom>
          <a:noFill/>
        </p:spPr>
        <p:txBody>
          <a:bodyPr wrap="square" rtlCol="0">
            <a:spAutoFit/>
          </a:bodyPr>
          <a:lstStyle/>
          <a:p>
            <a:r>
              <a:rPr lang="en-US" dirty="0">
                <a:latin typeface="Baskerville Old Face" panose="02020602080505020303" pitchFamily="18" charset="0"/>
              </a:rPr>
              <a:t>Month – to - month</a:t>
            </a:r>
            <a:endParaRPr lang="en-IL" dirty="0">
              <a:latin typeface="Baskerville Old Face" panose="02020602080505020303" pitchFamily="18" charset="0"/>
            </a:endParaRPr>
          </a:p>
        </p:txBody>
      </p:sp>
      <p:grpSp>
        <p:nvGrpSpPr>
          <p:cNvPr id="11" name="Group 10">
            <a:extLst>
              <a:ext uri="{FF2B5EF4-FFF2-40B4-BE49-F238E27FC236}">
                <a16:creationId xmlns:a16="http://schemas.microsoft.com/office/drawing/2014/main" id="{4D62C8DC-97D3-442D-826A-0C659C4AC6C8}"/>
              </a:ext>
            </a:extLst>
          </p:cNvPr>
          <p:cNvGrpSpPr/>
          <p:nvPr/>
        </p:nvGrpSpPr>
        <p:grpSpPr>
          <a:xfrm>
            <a:off x="7555278" y="2241072"/>
            <a:ext cx="4579737" cy="1226047"/>
            <a:chOff x="7334175" y="3436387"/>
            <a:chExt cx="4579737" cy="1226047"/>
          </a:xfrm>
        </p:grpSpPr>
        <p:sp>
          <p:nvSpPr>
            <p:cNvPr id="34" name="Shape 203">
              <a:extLst>
                <a:ext uri="{FF2B5EF4-FFF2-40B4-BE49-F238E27FC236}">
                  <a16:creationId xmlns:a16="http://schemas.microsoft.com/office/drawing/2014/main" id="{F4A18278-EE14-4E8F-9922-A7CF370574CE}"/>
                </a:ext>
              </a:extLst>
            </p:cNvPr>
            <p:cNvSpPr/>
            <p:nvPr/>
          </p:nvSpPr>
          <p:spPr>
            <a:xfrm>
              <a:off x="7486208" y="3588346"/>
              <a:ext cx="922586" cy="922128"/>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35" name="Shape 204">
              <a:extLst>
                <a:ext uri="{FF2B5EF4-FFF2-40B4-BE49-F238E27FC236}">
                  <a16:creationId xmlns:a16="http://schemas.microsoft.com/office/drawing/2014/main" id="{062F1FA2-C650-4909-AF52-D55A22A75EE3}"/>
                </a:ext>
              </a:extLst>
            </p:cNvPr>
            <p:cNvSpPr/>
            <p:nvPr/>
          </p:nvSpPr>
          <p:spPr>
            <a:xfrm>
              <a:off x="7501835" y="3878035"/>
              <a:ext cx="922586" cy="405227"/>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rmAutofit/>
            </a:bodyPr>
            <a:lstStyle>
              <a:lvl1pPr algn="ctr">
                <a:defRPr sz="4700" cap="all">
                  <a:solidFill>
                    <a:srgbClr val="1D1F30"/>
                  </a:solidFill>
                  <a:latin typeface="Avenir Next Demi Bold"/>
                  <a:ea typeface="Avenir Next Demi Bold"/>
                  <a:cs typeface="Avenir Next Demi Bold"/>
                  <a:sym typeface="Avenir Next Demi Bold"/>
                </a:defRPr>
              </a:lvl1pPr>
            </a:lstStyle>
            <a:p>
              <a:r>
                <a:rPr lang="en-US" sz="2350" dirty="0">
                  <a:latin typeface="+mn-lt"/>
                </a:rPr>
                <a:t>20,9</a:t>
              </a:r>
              <a:r>
                <a:rPr sz="2350" dirty="0">
                  <a:latin typeface="+mn-lt"/>
                </a:rPr>
                <a:t>%</a:t>
              </a:r>
            </a:p>
          </p:txBody>
        </p:sp>
        <p:sp>
          <p:nvSpPr>
            <p:cNvPr id="36" name="Shape 205">
              <a:extLst>
                <a:ext uri="{FF2B5EF4-FFF2-40B4-BE49-F238E27FC236}">
                  <a16:creationId xmlns:a16="http://schemas.microsoft.com/office/drawing/2014/main" id="{91E7CB1A-C4E4-4E69-8A14-7A06FEB16162}"/>
                </a:ext>
              </a:extLst>
            </p:cNvPr>
            <p:cNvSpPr/>
            <p:nvPr/>
          </p:nvSpPr>
          <p:spPr>
            <a:xfrm>
              <a:off x="7334175" y="3436387"/>
              <a:ext cx="1226654" cy="1226047"/>
            </a:xfrm>
            <a:prstGeom prst="ellipse">
              <a:avLst/>
            </a:prstGeom>
            <a:noFill/>
            <a:ln w="76200" cap="flat">
              <a:solidFill>
                <a:srgbClr val="343750"/>
              </a:solidFill>
              <a:prstDash val="solid"/>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37" name="Shape 207">
              <a:extLst>
                <a:ext uri="{FF2B5EF4-FFF2-40B4-BE49-F238E27FC236}">
                  <a16:creationId xmlns:a16="http://schemas.microsoft.com/office/drawing/2014/main" id="{418F83C0-6E64-47FC-8D94-46211A10124D}"/>
                </a:ext>
              </a:extLst>
            </p:cNvPr>
            <p:cNvSpPr/>
            <p:nvPr/>
          </p:nvSpPr>
          <p:spPr>
            <a:xfrm>
              <a:off x="8780353" y="3950764"/>
              <a:ext cx="259894" cy="259767"/>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38" name="Shape 208">
              <a:extLst>
                <a:ext uri="{FF2B5EF4-FFF2-40B4-BE49-F238E27FC236}">
                  <a16:creationId xmlns:a16="http://schemas.microsoft.com/office/drawing/2014/main" id="{2F97F429-491F-4AC8-B104-E5AE582FE24A}"/>
                </a:ext>
              </a:extLst>
            </p:cNvPr>
            <p:cNvSpPr/>
            <p:nvPr/>
          </p:nvSpPr>
          <p:spPr>
            <a:xfrm>
              <a:off x="9139561" y="3950764"/>
              <a:ext cx="259894" cy="259767"/>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39" name="Shape 209">
              <a:extLst>
                <a:ext uri="{FF2B5EF4-FFF2-40B4-BE49-F238E27FC236}">
                  <a16:creationId xmlns:a16="http://schemas.microsoft.com/office/drawing/2014/main" id="{BCC04469-F6AB-45E2-8B61-89AF3977290A}"/>
                </a:ext>
              </a:extLst>
            </p:cNvPr>
            <p:cNvSpPr/>
            <p:nvPr/>
          </p:nvSpPr>
          <p:spPr>
            <a:xfrm>
              <a:off x="9498770" y="3950764"/>
              <a:ext cx="259894" cy="259767"/>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40" name="Shape 210">
              <a:extLst>
                <a:ext uri="{FF2B5EF4-FFF2-40B4-BE49-F238E27FC236}">
                  <a16:creationId xmlns:a16="http://schemas.microsoft.com/office/drawing/2014/main" id="{F172259C-1C25-46F5-B41E-197E138F93A4}"/>
                </a:ext>
              </a:extLst>
            </p:cNvPr>
            <p:cNvSpPr/>
            <p:nvPr/>
          </p:nvSpPr>
          <p:spPr>
            <a:xfrm>
              <a:off x="9857977" y="3950764"/>
              <a:ext cx="259894" cy="259767"/>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41" name="Shape 211">
              <a:extLst>
                <a:ext uri="{FF2B5EF4-FFF2-40B4-BE49-F238E27FC236}">
                  <a16:creationId xmlns:a16="http://schemas.microsoft.com/office/drawing/2014/main" id="{A069F1F6-5BCB-40E8-8CE9-BDBE8135ABEE}"/>
                </a:ext>
              </a:extLst>
            </p:cNvPr>
            <p:cNvSpPr/>
            <p:nvPr/>
          </p:nvSpPr>
          <p:spPr>
            <a:xfrm>
              <a:off x="10217186" y="3950764"/>
              <a:ext cx="259894" cy="259767"/>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42" name="Shape 212">
              <a:extLst>
                <a:ext uri="{FF2B5EF4-FFF2-40B4-BE49-F238E27FC236}">
                  <a16:creationId xmlns:a16="http://schemas.microsoft.com/office/drawing/2014/main" id="{70A96E9A-E997-43E0-85C3-3C3F068B7964}"/>
                </a:ext>
              </a:extLst>
            </p:cNvPr>
            <p:cNvSpPr/>
            <p:nvPr/>
          </p:nvSpPr>
          <p:spPr>
            <a:xfrm>
              <a:off x="10576394" y="3950764"/>
              <a:ext cx="259894" cy="259767"/>
            </a:xfrm>
            <a:prstGeom prst="ellipse">
              <a:avLst/>
            </a:prstGeom>
            <a:solidFill>
              <a:srgbClr val="343650"/>
            </a:soli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43" name="Shape 213">
              <a:extLst>
                <a:ext uri="{FF2B5EF4-FFF2-40B4-BE49-F238E27FC236}">
                  <a16:creationId xmlns:a16="http://schemas.microsoft.com/office/drawing/2014/main" id="{518F7BE2-1422-4422-9849-CF3FE7C759D0}"/>
                </a:ext>
              </a:extLst>
            </p:cNvPr>
            <p:cNvSpPr/>
            <p:nvPr/>
          </p:nvSpPr>
          <p:spPr>
            <a:xfrm>
              <a:off x="10935602" y="3950764"/>
              <a:ext cx="259894" cy="259767"/>
            </a:xfrm>
            <a:prstGeom prst="ellipse">
              <a:avLst/>
            </a:prstGeom>
            <a:solidFill>
              <a:srgbClr val="343650"/>
            </a:soli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44" name="Shape 214">
              <a:extLst>
                <a:ext uri="{FF2B5EF4-FFF2-40B4-BE49-F238E27FC236}">
                  <a16:creationId xmlns:a16="http://schemas.microsoft.com/office/drawing/2014/main" id="{E5B8C898-B33D-430B-9AEF-C595C17C871D}"/>
                </a:ext>
              </a:extLst>
            </p:cNvPr>
            <p:cNvSpPr/>
            <p:nvPr/>
          </p:nvSpPr>
          <p:spPr>
            <a:xfrm>
              <a:off x="11294809" y="3950764"/>
              <a:ext cx="259894" cy="259767"/>
            </a:xfrm>
            <a:prstGeom prst="ellipse">
              <a:avLst/>
            </a:prstGeom>
            <a:solidFill>
              <a:srgbClr val="343650"/>
            </a:soli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45" name="Shape 215">
              <a:extLst>
                <a:ext uri="{FF2B5EF4-FFF2-40B4-BE49-F238E27FC236}">
                  <a16:creationId xmlns:a16="http://schemas.microsoft.com/office/drawing/2014/main" id="{EA71EDA7-6EA3-4CDC-9444-F0D77A2750B4}"/>
                </a:ext>
              </a:extLst>
            </p:cNvPr>
            <p:cNvSpPr/>
            <p:nvPr/>
          </p:nvSpPr>
          <p:spPr>
            <a:xfrm>
              <a:off x="11654018" y="3950764"/>
              <a:ext cx="259894" cy="259767"/>
            </a:xfrm>
            <a:prstGeom prst="ellipse">
              <a:avLst/>
            </a:prstGeom>
            <a:solidFill>
              <a:srgbClr val="343650"/>
            </a:soli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48" name="TextBox 47">
              <a:extLst>
                <a:ext uri="{FF2B5EF4-FFF2-40B4-BE49-F238E27FC236}">
                  <a16:creationId xmlns:a16="http://schemas.microsoft.com/office/drawing/2014/main" id="{8463C648-C631-4B54-A778-BCF0E11639C2}"/>
                </a:ext>
              </a:extLst>
            </p:cNvPr>
            <p:cNvSpPr txBox="1"/>
            <p:nvPr/>
          </p:nvSpPr>
          <p:spPr>
            <a:xfrm>
              <a:off x="9542560" y="3561017"/>
              <a:ext cx="1260577" cy="369332"/>
            </a:xfrm>
            <a:prstGeom prst="rect">
              <a:avLst/>
            </a:prstGeom>
            <a:noFill/>
          </p:spPr>
          <p:txBody>
            <a:bodyPr wrap="square" rtlCol="0">
              <a:spAutoFit/>
            </a:bodyPr>
            <a:lstStyle/>
            <a:p>
              <a:r>
                <a:rPr lang="en-US" dirty="0">
                  <a:latin typeface="Baskerville Old Face" panose="02020602080505020303" pitchFamily="18" charset="0"/>
                </a:rPr>
                <a:t>One year</a:t>
              </a:r>
              <a:endParaRPr lang="en-IL" dirty="0">
                <a:latin typeface="Baskerville Old Face" panose="02020602080505020303" pitchFamily="18" charset="0"/>
              </a:endParaRPr>
            </a:p>
          </p:txBody>
        </p:sp>
      </p:grpSp>
      <p:grpSp>
        <p:nvGrpSpPr>
          <p:cNvPr id="10" name="Group 9">
            <a:extLst>
              <a:ext uri="{FF2B5EF4-FFF2-40B4-BE49-F238E27FC236}">
                <a16:creationId xmlns:a16="http://schemas.microsoft.com/office/drawing/2014/main" id="{60B26086-319B-4373-99BE-75E2B893D2BE}"/>
              </a:ext>
            </a:extLst>
          </p:cNvPr>
          <p:cNvGrpSpPr/>
          <p:nvPr/>
        </p:nvGrpSpPr>
        <p:grpSpPr>
          <a:xfrm>
            <a:off x="6428856" y="1119055"/>
            <a:ext cx="4579737" cy="1226047"/>
            <a:chOff x="7301024" y="1792988"/>
            <a:chExt cx="4579737" cy="1226047"/>
          </a:xfrm>
        </p:grpSpPr>
        <p:sp>
          <p:nvSpPr>
            <p:cNvPr id="203" name="Shape 203"/>
            <p:cNvSpPr/>
            <p:nvPr/>
          </p:nvSpPr>
          <p:spPr>
            <a:xfrm>
              <a:off x="7453057" y="1944947"/>
              <a:ext cx="922586" cy="922128"/>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204" name="Shape 204"/>
            <p:cNvSpPr/>
            <p:nvPr/>
          </p:nvSpPr>
          <p:spPr>
            <a:xfrm>
              <a:off x="7468684" y="2234636"/>
              <a:ext cx="922586" cy="405227"/>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rmAutofit/>
            </a:bodyPr>
            <a:lstStyle>
              <a:lvl1pPr algn="ctr">
                <a:defRPr sz="4700" cap="all">
                  <a:solidFill>
                    <a:srgbClr val="1D1F30"/>
                  </a:solidFill>
                  <a:latin typeface="Avenir Next Demi Bold"/>
                  <a:ea typeface="Avenir Next Demi Bold"/>
                  <a:cs typeface="Avenir Next Demi Bold"/>
                  <a:sym typeface="Avenir Next Demi Bold"/>
                </a:defRPr>
              </a:lvl1pPr>
            </a:lstStyle>
            <a:p>
              <a:r>
                <a:rPr lang="en-US" sz="2350" dirty="0">
                  <a:latin typeface="+mn-lt"/>
                </a:rPr>
                <a:t>24,1</a:t>
              </a:r>
              <a:r>
                <a:rPr sz="2350" dirty="0">
                  <a:latin typeface="+mn-lt"/>
                </a:rPr>
                <a:t>%</a:t>
              </a:r>
            </a:p>
          </p:txBody>
        </p:sp>
        <p:sp>
          <p:nvSpPr>
            <p:cNvPr id="205" name="Shape 205"/>
            <p:cNvSpPr/>
            <p:nvPr/>
          </p:nvSpPr>
          <p:spPr>
            <a:xfrm>
              <a:off x="7301024" y="1792988"/>
              <a:ext cx="1226654" cy="1226047"/>
            </a:xfrm>
            <a:prstGeom prst="ellipse">
              <a:avLst/>
            </a:prstGeom>
            <a:noFill/>
            <a:ln w="76200" cap="flat">
              <a:solidFill>
                <a:srgbClr val="343750"/>
              </a:solidFill>
              <a:prstDash val="solid"/>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207" name="Shape 207"/>
            <p:cNvSpPr/>
            <p:nvPr/>
          </p:nvSpPr>
          <p:spPr>
            <a:xfrm>
              <a:off x="8747202" y="2307366"/>
              <a:ext cx="259894" cy="259767"/>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208" name="Shape 208"/>
            <p:cNvSpPr/>
            <p:nvPr/>
          </p:nvSpPr>
          <p:spPr>
            <a:xfrm>
              <a:off x="9106410" y="2307366"/>
              <a:ext cx="259894" cy="259767"/>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209" name="Shape 209"/>
            <p:cNvSpPr/>
            <p:nvPr/>
          </p:nvSpPr>
          <p:spPr>
            <a:xfrm>
              <a:off x="9465619" y="2307366"/>
              <a:ext cx="259894" cy="259767"/>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210" name="Shape 210"/>
            <p:cNvSpPr/>
            <p:nvPr/>
          </p:nvSpPr>
          <p:spPr>
            <a:xfrm>
              <a:off x="9824826" y="2307366"/>
              <a:ext cx="259894" cy="259767"/>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211" name="Shape 211"/>
            <p:cNvSpPr/>
            <p:nvPr/>
          </p:nvSpPr>
          <p:spPr>
            <a:xfrm>
              <a:off x="10184035" y="2307366"/>
              <a:ext cx="259894" cy="259767"/>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212" name="Shape 212"/>
            <p:cNvSpPr/>
            <p:nvPr/>
          </p:nvSpPr>
          <p:spPr>
            <a:xfrm>
              <a:off x="10543243" y="2307366"/>
              <a:ext cx="259894" cy="259767"/>
            </a:xfrm>
            <a:prstGeom prst="ellipse">
              <a:avLst/>
            </a:prstGeom>
            <a:solidFill>
              <a:srgbClr val="343650"/>
            </a:soli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213" name="Shape 213"/>
            <p:cNvSpPr/>
            <p:nvPr/>
          </p:nvSpPr>
          <p:spPr>
            <a:xfrm>
              <a:off x="10902451" y="2307366"/>
              <a:ext cx="259894" cy="259767"/>
            </a:xfrm>
            <a:prstGeom prst="ellipse">
              <a:avLst/>
            </a:prstGeom>
            <a:solidFill>
              <a:srgbClr val="343650"/>
            </a:soli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214" name="Shape 214"/>
            <p:cNvSpPr/>
            <p:nvPr/>
          </p:nvSpPr>
          <p:spPr>
            <a:xfrm>
              <a:off x="11261658" y="2307366"/>
              <a:ext cx="259894" cy="259767"/>
            </a:xfrm>
            <a:prstGeom prst="ellipse">
              <a:avLst/>
            </a:prstGeom>
            <a:solidFill>
              <a:srgbClr val="343650"/>
            </a:soli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215" name="Shape 215"/>
            <p:cNvSpPr/>
            <p:nvPr/>
          </p:nvSpPr>
          <p:spPr>
            <a:xfrm>
              <a:off x="11620867" y="2307366"/>
              <a:ext cx="259894" cy="259767"/>
            </a:xfrm>
            <a:prstGeom prst="ellipse">
              <a:avLst/>
            </a:prstGeom>
            <a:solidFill>
              <a:srgbClr val="343650"/>
            </a:soli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49" name="TextBox 48">
              <a:extLst>
                <a:ext uri="{FF2B5EF4-FFF2-40B4-BE49-F238E27FC236}">
                  <a16:creationId xmlns:a16="http://schemas.microsoft.com/office/drawing/2014/main" id="{99115D00-837F-43DC-96C7-F03E8D8230D9}"/>
                </a:ext>
              </a:extLst>
            </p:cNvPr>
            <p:cNvSpPr txBox="1"/>
            <p:nvPr/>
          </p:nvSpPr>
          <p:spPr>
            <a:xfrm>
              <a:off x="9501590" y="1800965"/>
              <a:ext cx="1260577" cy="369332"/>
            </a:xfrm>
            <a:prstGeom prst="rect">
              <a:avLst/>
            </a:prstGeom>
            <a:noFill/>
          </p:spPr>
          <p:txBody>
            <a:bodyPr wrap="square" rtlCol="0">
              <a:spAutoFit/>
            </a:bodyPr>
            <a:lstStyle/>
            <a:p>
              <a:r>
                <a:rPr lang="en-US" dirty="0">
                  <a:latin typeface="Baskerville Old Face" panose="02020602080505020303" pitchFamily="18" charset="0"/>
                </a:rPr>
                <a:t>Two year</a:t>
              </a:r>
              <a:endParaRPr lang="en-IL" dirty="0">
                <a:latin typeface="Baskerville Old Face" panose="02020602080505020303" pitchFamily="18" charset="0"/>
              </a:endParaRPr>
            </a:p>
          </p:txBody>
        </p:sp>
      </p:grpSp>
      <p:sp>
        <p:nvSpPr>
          <p:cNvPr id="50" name="Rectangle 34">
            <a:extLst>
              <a:ext uri="{FF2B5EF4-FFF2-40B4-BE49-F238E27FC236}">
                <a16:creationId xmlns:a16="http://schemas.microsoft.com/office/drawing/2014/main" id="{3602B6DA-8DEA-4AC5-B1D6-7D82CB42B90F}"/>
              </a:ext>
            </a:extLst>
          </p:cNvPr>
          <p:cNvSpPr/>
          <p:nvPr/>
        </p:nvSpPr>
        <p:spPr>
          <a:xfrm rot="16200000" flipV="1">
            <a:off x="6470103" y="-454346"/>
            <a:ext cx="5297298" cy="6205986"/>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59199" y="93304"/>
                  <a:pt x="0" y="0"/>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1" name="Title 1">
            <a:extLst>
              <a:ext uri="{FF2B5EF4-FFF2-40B4-BE49-F238E27FC236}">
                <a16:creationId xmlns:a16="http://schemas.microsoft.com/office/drawing/2014/main" id="{A66C0CEA-A89B-4F24-A2D2-7C68A4CAE1B1}"/>
              </a:ext>
            </a:extLst>
          </p:cNvPr>
          <p:cNvSpPr txBox="1">
            <a:spLocks/>
          </p:cNvSpPr>
          <p:nvPr/>
        </p:nvSpPr>
        <p:spPr>
          <a:xfrm>
            <a:off x="-210639" y="124047"/>
            <a:ext cx="3520658" cy="775612"/>
          </a:xfrm>
          <a:prstGeom prst="rect">
            <a:avLst/>
          </a:prstGeom>
        </p:spPr>
        <p:txBody>
          <a:bodyPr vert="horz" lIns="0" tIns="0" rIns="0" bIns="0" rtlCol="0" anchor="b">
            <a:noAutofit/>
          </a:bodyPr>
          <a:lstStyle>
            <a:lvl1pPr algn="ctr" defTabSz="914400" rtl="0" eaLnBrk="1" latinLnBrk="0" hangingPunct="1">
              <a:lnSpc>
                <a:spcPct val="90000"/>
              </a:lnSpc>
              <a:spcBef>
                <a:spcPct val="0"/>
              </a:spcBef>
              <a:buNone/>
              <a:defRPr sz="6000" b="1" kern="1200">
                <a:solidFill>
                  <a:schemeClr val="tx1"/>
                </a:solidFill>
                <a:latin typeface="+mj-lt"/>
                <a:ea typeface="+mj-ea"/>
                <a:cs typeface="+mj-cs"/>
              </a:defRPr>
            </a:lvl1pPr>
          </a:lstStyle>
          <a:p>
            <a:r>
              <a:rPr lang="en-US" dirty="0">
                <a:solidFill>
                  <a:schemeClr val="bg1"/>
                </a:solidFill>
                <a:latin typeface="Baskerville Old Face" panose="02020602080505020303" pitchFamily="18" charset="0"/>
              </a:rPr>
              <a:t>Contract</a:t>
            </a:r>
          </a:p>
        </p:txBody>
      </p:sp>
      <p:sp>
        <p:nvSpPr>
          <p:cNvPr id="4" name="TextBox 3">
            <a:extLst>
              <a:ext uri="{FF2B5EF4-FFF2-40B4-BE49-F238E27FC236}">
                <a16:creationId xmlns:a16="http://schemas.microsoft.com/office/drawing/2014/main" id="{0A9AB2E3-F9E7-46F6-8419-A146B42E4CAA}"/>
              </a:ext>
            </a:extLst>
          </p:cNvPr>
          <p:cNvSpPr txBox="1"/>
          <p:nvPr/>
        </p:nvSpPr>
        <p:spPr>
          <a:xfrm>
            <a:off x="136731" y="986067"/>
            <a:ext cx="4541408" cy="5262979"/>
          </a:xfrm>
          <a:prstGeom prst="rect">
            <a:avLst/>
          </a:prstGeom>
          <a:noFill/>
        </p:spPr>
        <p:txBody>
          <a:bodyPr wrap="square" rtlCol="0">
            <a:spAutoFit/>
          </a:bodyPr>
          <a:lstStyle/>
          <a:p>
            <a:pPr algn="just">
              <a:buFont typeface="+mj-lt"/>
              <a:buAutoNum type="arabicPeriod"/>
            </a:pPr>
            <a:r>
              <a:rPr lang="en-US" sz="1600" dirty="0">
                <a:solidFill>
                  <a:schemeClr val="bg1"/>
                </a:solidFill>
                <a:latin typeface="Book Antiqua" panose="02040602050305030304" pitchFamily="18" charset="0"/>
              </a:rPr>
              <a:t>Month-to-month contracts have</a:t>
            </a:r>
          </a:p>
          <a:p>
            <a:pPr algn="just"/>
            <a:r>
              <a:rPr lang="en-US" sz="1600" dirty="0">
                <a:solidFill>
                  <a:schemeClr val="bg1"/>
                </a:solidFill>
                <a:latin typeface="Book Antiqua" panose="02040602050305030304" pitchFamily="18" charset="0"/>
              </a:rPr>
              <a:t> a much higher churn rate compared to</a:t>
            </a:r>
          </a:p>
          <a:p>
            <a:pPr algn="just"/>
            <a:r>
              <a:rPr lang="en-US" sz="1600" dirty="0">
                <a:solidFill>
                  <a:schemeClr val="bg1"/>
                </a:solidFill>
                <a:latin typeface="Book Antiqua" panose="02040602050305030304" pitchFamily="18" charset="0"/>
              </a:rPr>
              <a:t> longer-term contracts. The churn for </a:t>
            </a:r>
          </a:p>
          <a:p>
            <a:pPr algn="just"/>
            <a:r>
              <a:rPr lang="en-US" sz="1600" dirty="0">
                <a:solidFill>
                  <a:schemeClr val="bg1"/>
                </a:solidFill>
                <a:latin typeface="Book Antiqua" panose="02040602050305030304" pitchFamily="18" charset="0"/>
              </a:rPr>
              <a:t>month-to-month is around 1500, while </a:t>
            </a:r>
          </a:p>
          <a:p>
            <a:pPr algn="just"/>
            <a:r>
              <a:rPr lang="en-US" sz="1600" dirty="0">
                <a:solidFill>
                  <a:schemeClr val="bg1"/>
                </a:solidFill>
                <a:latin typeface="Book Antiqua" panose="02040602050305030304" pitchFamily="18" charset="0"/>
              </a:rPr>
              <a:t>for one-year and two-year contracts it drops significantly to under 500.</a:t>
            </a:r>
          </a:p>
          <a:p>
            <a:pPr algn="just">
              <a:buFont typeface="+mj-lt"/>
              <a:buAutoNum type="arabicPeriod"/>
            </a:pPr>
            <a:endParaRPr lang="en-US" sz="1600" dirty="0">
              <a:solidFill>
                <a:schemeClr val="bg1"/>
              </a:solidFill>
              <a:latin typeface="Book Antiqua" panose="02040602050305030304" pitchFamily="18" charset="0"/>
            </a:endParaRPr>
          </a:p>
          <a:p>
            <a:pPr algn="just"/>
            <a:r>
              <a:rPr lang="en-US" sz="1600" dirty="0">
                <a:solidFill>
                  <a:schemeClr val="bg1"/>
                </a:solidFill>
                <a:latin typeface="Book Antiqua" panose="02040602050305030304" pitchFamily="18" charset="0"/>
              </a:rPr>
              <a:t>2.The number of customers on month-to-month contracts is also much higher, over 3000, compared to the longer-term contracts. This suggests month-to-month customers are more likely to churn.</a:t>
            </a:r>
          </a:p>
          <a:p>
            <a:pPr algn="just">
              <a:buFont typeface="+mj-lt"/>
              <a:buAutoNum type="arabicPeriod"/>
            </a:pPr>
            <a:endParaRPr lang="en-US" sz="1600" dirty="0">
              <a:solidFill>
                <a:schemeClr val="bg1"/>
              </a:solidFill>
              <a:latin typeface="Book Antiqua" panose="02040602050305030304" pitchFamily="18" charset="0"/>
            </a:endParaRPr>
          </a:p>
          <a:p>
            <a:pPr algn="just"/>
            <a:r>
              <a:rPr lang="en-US" sz="1600" dirty="0">
                <a:solidFill>
                  <a:schemeClr val="bg1"/>
                </a:solidFill>
                <a:latin typeface="Book Antiqua" panose="02040602050305030304" pitchFamily="18" charset="0"/>
              </a:rPr>
              <a:t>3.For the longer-term one-year and two-year contracts, the churn is still relatively high, around 500 customers. </a:t>
            </a:r>
          </a:p>
          <a:p>
            <a:pPr algn="just"/>
            <a:endParaRPr lang="en-US" sz="1600" dirty="0">
              <a:solidFill>
                <a:schemeClr val="bg1"/>
              </a:solidFill>
              <a:latin typeface="Book Antiqua" panose="02040602050305030304" pitchFamily="18" charset="0"/>
            </a:endParaRPr>
          </a:p>
          <a:p>
            <a:pPr algn="just"/>
            <a:r>
              <a:rPr lang="en-US" sz="1600" dirty="0">
                <a:solidFill>
                  <a:schemeClr val="bg1"/>
                </a:solidFill>
                <a:latin typeface="Book Antiqua" panose="02040602050305030304" pitchFamily="18" charset="0"/>
              </a:rPr>
              <a:t>The key driver of churn appears to</a:t>
            </a:r>
          </a:p>
          <a:p>
            <a:pPr algn="just"/>
            <a:r>
              <a:rPr lang="en-US" sz="1600" dirty="0">
                <a:solidFill>
                  <a:schemeClr val="bg1"/>
                </a:solidFill>
                <a:latin typeface="Book Antiqua" panose="02040602050305030304" pitchFamily="18" charset="0"/>
              </a:rPr>
              <a:t> be the prevalence of month-to-month </a:t>
            </a:r>
          </a:p>
          <a:p>
            <a:pPr algn="just"/>
            <a:r>
              <a:rPr lang="en-US" sz="1600" dirty="0">
                <a:solidFill>
                  <a:schemeClr val="bg1"/>
                </a:solidFill>
                <a:latin typeface="Book Antiqua" panose="02040602050305030304" pitchFamily="18" charset="0"/>
              </a:rPr>
              <a:t>contracts, where customers are </a:t>
            </a:r>
          </a:p>
          <a:p>
            <a:pPr algn="just"/>
            <a:r>
              <a:rPr lang="en-US" sz="1600" dirty="0">
                <a:solidFill>
                  <a:schemeClr val="bg1"/>
                </a:solidFill>
                <a:latin typeface="Book Antiqua" panose="02040602050305030304" pitchFamily="18" charset="0"/>
              </a:rPr>
              <a:t>more likely to cancel their service. </a:t>
            </a:r>
          </a:p>
        </p:txBody>
      </p:sp>
      <p:sp>
        <p:nvSpPr>
          <p:cNvPr id="52" name="Slide Number Placeholder 3">
            <a:extLst>
              <a:ext uri="{FF2B5EF4-FFF2-40B4-BE49-F238E27FC236}">
                <a16:creationId xmlns:a16="http://schemas.microsoft.com/office/drawing/2014/main" id="{9845EB8E-4DDB-4DC5-9F0D-91CD4BCF443E}"/>
              </a:ext>
            </a:extLst>
          </p:cNvPr>
          <p:cNvSpPr txBox="1">
            <a:spLocks/>
          </p:cNvSpPr>
          <p:nvPr/>
        </p:nvSpPr>
        <p:spPr>
          <a:xfrm>
            <a:off x="11658612" y="6369817"/>
            <a:ext cx="367408" cy="27699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B84D2E29-67F4-44D8-B0E3-F54815B4F123}" type="slidenum">
              <a:rPr lang="en-US" sz="1200" smtClean="0">
                <a:solidFill>
                  <a:prstClr val="white"/>
                </a:solidFill>
                <a:latin typeface="Calibri" panose="020F0502020204030204"/>
              </a:rPr>
              <a:pPr algn="ctr"/>
              <a:t>14</a:t>
            </a:fld>
            <a:endParaRPr lang="en-US" sz="1200" dirty="0">
              <a:solidFill>
                <a:prstClr val="white"/>
              </a:solidFill>
              <a:latin typeface="Calibri" panose="020F0502020204030204"/>
            </a:endParaRPr>
          </a:p>
        </p:txBody>
      </p:sp>
    </p:spTree>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group of people sitting at a table&#10;&#10;Description automatically generated">
            <a:extLst>
              <a:ext uri="{FF2B5EF4-FFF2-40B4-BE49-F238E27FC236}">
                <a16:creationId xmlns:a16="http://schemas.microsoft.com/office/drawing/2014/main" id="{31502F11-874F-4885-ABD0-612544FBBE8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0452"/>
          <a:stretch/>
        </p:blipFill>
        <p:spPr>
          <a:xfrm>
            <a:off x="0" y="0"/>
            <a:ext cx="12192000" cy="5980176"/>
          </a:xfrm>
          <a:prstGeom prst="rect">
            <a:avLst/>
          </a:prstGeom>
        </p:spPr>
      </p:pic>
      <p:sp>
        <p:nvSpPr>
          <p:cNvPr id="9" name="Rectangle 8">
            <a:extLst>
              <a:ext uri="{FF2B5EF4-FFF2-40B4-BE49-F238E27FC236}">
                <a16:creationId xmlns:a16="http://schemas.microsoft.com/office/drawing/2014/main" id="{3DF57669-CD27-4D63-92C7-8EF3A5C357E5}"/>
              </a:ext>
            </a:extLst>
          </p:cNvPr>
          <p:cNvSpPr/>
          <p:nvPr/>
        </p:nvSpPr>
        <p:spPr>
          <a:xfrm>
            <a:off x="0" y="-8565"/>
            <a:ext cx="12192000" cy="6158155"/>
          </a:xfrm>
          <a:prstGeom prst="rect">
            <a:avLst/>
          </a:prstGeom>
          <a:gradFill flip="none" rotWithShape="1">
            <a:gsLst>
              <a:gs pos="0">
                <a:schemeClr val="bg1">
                  <a:alpha val="8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A3E492A7-4C5A-440B-8EAA-19B798FBF8ED}"/>
              </a:ext>
            </a:extLst>
          </p:cNvPr>
          <p:cNvSpPr>
            <a:spLocks noGrp="1"/>
          </p:cNvSpPr>
          <p:nvPr>
            <p:ph type="title"/>
          </p:nvPr>
        </p:nvSpPr>
        <p:spPr>
          <a:xfrm>
            <a:off x="1684076" y="98056"/>
            <a:ext cx="9154049" cy="775612"/>
          </a:xfrm>
        </p:spPr>
        <p:txBody>
          <a:bodyPr>
            <a:noAutofit/>
          </a:bodyPr>
          <a:lstStyle/>
          <a:p>
            <a:r>
              <a:rPr lang="en-US" sz="4800" dirty="0">
                <a:solidFill>
                  <a:srgbClr val="652D74"/>
                </a:solidFill>
                <a:latin typeface="Baskerville Old Face" panose="02020602080505020303" pitchFamily="18" charset="0"/>
              </a:rPr>
              <a:t>Partner and Senior Citizen Analysis </a:t>
            </a:r>
          </a:p>
        </p:txBody>
      </p:sp>
      <p:sp>
        <p:nvSpPr>
          <p:cNvPr id="4" name="Slide Number Placeholder 3">
            <a:extLst>
              <a:ext uri="{FF2B5EF4-FFF2-40B4-BE49-F238E27FC236}">
                <a16:creationId xmlns:a16="http://schemas.microsoft.com/office/drawing/2014/main" id="{93FCD812-9A69-4271-B1D2-147C08454199}"/>
              </a:ext>
            </a:extLst>
          </p:cNvPr>
          <p:cNvSpPr>
            <a:spLocks noGrp="1"/>
          </p:cNvSpPr>
          <p:nvPr>
            <p:ph type="sldNum" sz="quarter" idx="4"/>
          </p:nvPr>
        </p:nvSpPr>
        <p:spPr/>
        <p:txBody>
          <a:bodyPr/>
          <a:lstStyle/>
          <a:p>
            <a:fld id="{B84D2E29-67F4-44D8-B0E3-F54815B4F123}" type="slidenum">
              <a:rPr lang="en-US" smtClean="0"/>
              <a:t>15</a:t>
            </a:fld>
            <a:endParaRPr lang="en-US"/>
          </a:p>
        </p:txBody>
      </p:sp>
      <p:sp>
        <p:nvSpPr>
          <p:cNvPr id="20" name="TextBox 48">
            <a:extLst>
              <a:ext uri="{FF2B5EF4-FFF2-40B4-BE49-F238E27FC236}">
                <a16:creationId xmlns:a16="http://schemas.microsoft.com/office/drawing/2014/main" id="{294431A7-8ABB-468F-82D4-7ADC47473D6A}"/>
              </a:ext>
            </a:extLst>
          </p:cNvPr>
          <p:cNvSpPr txBox="1"/>
          <p:nvPr/>
        </p:nvSpPr>
        <p:spPr>
          <a:xfrm>
            <a:off x="301451" y="3829373"/>
            <a:ext cx="5296450" cy="2954655"/>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i="0" dirty="0">
                <a:solidFill>
                  <a:srgbClr val="652D74"/>
                </a:solidFill>
                <a:effectLst/>
                <a:latin typeface="Book Antiqua" panose="02040602050305030304" pitchFamily="18" charset="0"/>
              </a:rPr>
              <a:t>Pie Chart - Partner:</a:t>
            </a:r>
          </a:p>
          <a:p>
            <a:pPr algn="just"/>
            <a:endParaRPr lang="en-US" sz="1600" b="0" i="0" dirty="0">
              <a:solidFill>
                <a:srgbClr val="652D74"/>
              </a:solidFill>
              <a:effectLst/>
              <a:latin typeface="Book Antiqua" panose="02040602050305030304" pitchFamily="18" charset="0"/>
            </a:endParaRPr>
          </a:p>
          <a:p>
            <a:pPr algn="just"/>
            <a:r>
              <a:rPr lang="en-US" sz="1600" b="0" i="0" dirty="0">
                <a:solidFill>
                  <a:srgbClr val="652D74"/>
                </a:solidFill>
                <a:effectLst/>
                <a:latin typeface="Book Antiqua" panose="02040602050305030304" pitchFamily="18" charset="0"/>
              </a:rPr>
              <a:t>48.3% of customers have a partner, while 51.7% do not have a partner. </a:t>
            </a:r>
          </a:p>
          <a:p>
            <a:pPr algn="just"/>
            <a:endParaRPr lang="en-US" sz="1600" b="0" i="0" dirty="0">
              <a:solidFill>
                <a:srgbClr val="652D74"/>
              </a:solidFill>
              <a:effectLst/>
              <a:latin typeface="Book Antiqua" panose="02040602050305030304" pitchFamily="18" charset="0"/>
            </a:endParaRPr>
          </a:p>
          <a:p>
            <a:pPr algn="just"/>
            <a:r>
              <a:rPr lang="en-US" sz="1600" b="0" i="0" dirty="0">
                <a:solidFill>
                  <a:srgbClr val="652D74"/>
                </a:solidFill>
                <a:effectLst/>
                <a:latin typeface="Book Antiqua" panose="02040602050305030304" pitchFamily="18" charset="0"/>
              </a:rPr>
              <a:t>The data suggests that the customer base is fairly evenly split between those with and without a partner, but having a partner appears to be associated with a lower churn rate. This could indicate that the presence of a partner provides additional stability, support, or incentive for customers to maintain their relationship with the service provider.</a:t>
            </a:r>
          </a:p>
        </p:txBody>
      </p:sp>
      <p:sp>
        <p:nvSpPr>
          <p:cNvPr id="26" name="TextBox 48">
            <a:extLst>
              <a:ext uri="{FF2B5EF4-FFF2-40B4-BE49-F238E27FC236}">
                <a16:creationId xmlns:a16="http://schemas.microsoft.com/office/drawing/2014/main" id="{2FA7086D-9680-4451-8219-E77CA99EA213}"/>
              </a:ext>
            </a:extLst>
          </p:cNvPr>
          <p:cNvSpPr txBox="1"/>
          <p:nvPr/>
        </p:nvSpPr>
        <p:spPr>
          <a:xfrm>
            <a:off x="6632198" y="3795712"/>
            <a:ext cx="5120880" cy="2954655"/>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i="0" dirty="0">
                <a:solidFill>
                  <a:srgbClr val="652D74"/>
                </a:solidFill>
                <a:effectLst/>
                <a:latin typeface="Book Antiqua" panose="02040602050305030304" pitchFamily="18" charset="0"/>
              </a:rPr>
              <a:t>Senior Citizen Distribution (Pie Chart) Observation:</a:t>
            </a:r>
          </a:p>
          <a:p>
            <a:pPr algn="just"/>
            <a:endParaRPr lang="en-US" sz="1600" b="0" i="0" dirty="0">
              <a:solidFill>
                <a:srgbClr val="652D74"/>
              </a:solidFill>
              <a:effectLst/>
              <a:latin typeface="Book Antiqua" panose="02040602050305030304" pitchFamily="18" charset="0"/>
            </a:endParaRPr>
          </a:p>
          <a:p>
            <a:pPr algn="just"/>
            <a:r>
              <a:rPr lang="en-US" sz="1600" b="0" i="0" dirty="0">
                <a:solidFill>
                  <a:srgbClr val="652D74"/>
                </a:solidFill>
                <a:effectLst/>
                <a:latin typeface="Book Antiqua" panose="02040602050305030304" pitchFamily="18" charset="0"/>
              </a:rPr>
              <a:t>The majority of customers (83.8%) are not senior citizens (0), while only 16.2% are senior citizens (1). This indicates that the customer base is predominantly non-senior citizens.</a:t>
            </a:r>
          </a:p>
          <a:p>
            <a:pPr algn="just"/>
            <a:endParaRPr lang="en-US" sz="1600" b="0" i="0" dirty="0">
              <a:solidFill>
                <a:srgbClr val="652D74"/>
              </a:solidFill>
              <a:effectLst/>
              <a:latin typeface="Book Antiqua" panose="02040602050305030304" pitchFamily="18" charset="0"/>
            </a:endParaRPr>
          </a:p>
          <a:p>
            <a:pPr algn="just"/>
            <a:r>
              <a:rPr lang="en-US" sz="1600" b="0" i="0" dirty="0">
                <a:solidFill>
                  <a:srgbClr val="652D74"/>
                </a:solidFill>
                <a:effectLst/>
                <a:latin typeface="Book Antiqua" panose="02040602050305030304" pitchFamily="18" charset="0"/>
              </a:rPr>
              <a:t>Churn by Senior Citizen Status (Bar Chart) Observation: For non-senior citizens (0), there are far more customers who do not churn compared to those who churn . For senior citizens (1), the proportion of churners is relatively higher compared to non-churners .</a:t>
            </a:r>
          </a:p>
        </p:txBody>
      </p:sp>
      <p:sp>
        <p:nvSpPr>
          <p:cNvPr id="29" name="Freeform 200">
            <a:extLst>
              <a:ext uri="{FF2B5EF4-FFF2-40B4-BE49-F238E27FC236}">
                <a16:creationId xmlns:a16="http://schemas.microsoft.com/office/drawing/2014/main" id="{7A5D25D2-0432-40C6-9121-3F9933D910AF}"/>
              </a:ext>
            </a:extLst>
          </p:cNvPr>
          <p:cNvSpPr>
            <a:spLocks noEditPoints="1"/>
          </p:cNvSpPr>
          <p:nvPr/>
        </p:nvSpPr>
        <p:spPr bwMode="auto">
          <a:xfrm>
            <a:off x="4602163" y="3581400"/>
            <a:ext cx="334963" cy="309563"/>
          </a:xfrm>
          <a:custGeom>
            <a:avLst/>
            <a:gdLst>
              <a:gd name="T0" fmla="*/ 70 w 89"/>
              <a:gd name="T1" fmla="*/ 32 h 82"/>
              <a:gd name="T2" fmla="*/ 49 w 89"/>
              <a:gd name="T3" fmla="*/ 48 h 82"/>
              <a:gd name="T4" fmla="*/ 40 w 89"/>
              <a:gd name="T5" fmla="*/ 44 h 82"/>
              <a:gd name="T6" fmla="*/ 25 w 89"/>
              <a:gd name="T7" fmla="*/ 47 h 82"/>
              <a:gd name="T8" fmla="*/ 27 w 89"/>
              <a:gd name="T9" fmla="*/ 36 h 82"/>
              <a:gd name="T10" fmla="*/ 27 w 89"/>
              <a:gd name="T11" fmla="*/ 32 h 82"/>
              <a:gd name="T12" fmla="*/ 27 w 89"/>
              <a:gd name="T13" fmla="*/ 31 h 82"/>
              <a:gd name="T14" fmla="*/ 34 w 89"/>
              <a:gd name="T15" fmla="*/ 20 h 82"/>
              <a:gd name="T16" fmla="*/ 29 w 89"/>
              <a:gd name="T17" fmla="*/ 17 h 82"/>
              <a:gd name="T18" fmla="*/ 23 w 89"/>
              <a:gd name="T19" fmla="*/ 25 h 82"/>
              <a:gd name="T20" fmla="*/ 20 w 89"/>
              <a:gd name="T21" fmla="*/ 26 h 82"/>
              <a:gd name="T22" fmla="*/ 19 w 89"/>
              <a:gd name="T23" fmla="*/ 23 h 82"/>
              <a:gd name="T24" fmla="*/ 27 w 89"/>
              <a:gd name="T25" fmla="*/ 13 h 82"/>
              <a:gd name="T26" fmla="*/ 30 w 89"/>
              <a:gd name="T27" fmla="*/ 12 h 82"/>
              <a:gd name="T28" fmla="*/ 38 w 89"/>
              <a:gd name="T29" fmla="*/ 18 h 82"/>
              <a:gd name="T30" fmla="*/ 39 w 89"/>
              <a:gd name="T31" fmla="*/ 21 h 82"/>
              <a:gd name="T32" fmla="*/ 34 w 89"/>
              <a:gd name="T33" fmla="*/ 28 h 82"/>
              <a:gd name="T34" fmla="*/ 32 w 89"/>
              <a:gd name="T35" fmla="*/ 31 h 82"/>
              <a:gd name="T36" fmla="*/ 31 w 89"/>
              <a:gd name="T37" fmla="*/ 33 h 82"/>
              <a:gd name="T38" fmla="*/ 32 w 89"/>
              <a:gd name="T39" fmla="*/ 34 h 82"/>
              <a:gd name="T40" fmla="*/ 34 w 89"/>
              <a:gd name="T41" fmla="*/ 35 h 82"/>
              <a:gd name="T42" fmla="*/ 36 w 89"/>
              <a:gd name="T43" fmla="*/ 36 h 82"/>
              <a:gd name="T44" fmla="*/ 37 w 89"/>
              <a:gd name="T45" fmla="*/ 35 h 82"/>
              <a:gd name="T46" fmla="*/ 48 w 89"/>
              <a:gd name="T47" fmla="*/ 20 h 82"/>
              <a:gd name="T48" fmla="*/ 48 w 89"/>
              <a:gd name="T49" fmla="*/ 17 h 82"/>
              <a:gd name="T50" fmla="*/ 26 w 89"/>
              <a:gd name="T51" fmla="*/ 1 h 82"/>
              <a:gd name="T52" fmla="*/ 25 w 89"/>
              <a:gd name="T53" fmla="*/ 1 h 82"/>
              <a:gd name="T54" fmla="*/ 23 w 89"/>
              <a:gd name="T55" fmla="*/ 1 h 82"/>
              <a:gd name="T56" fmla="*/ 8 w 89"/>
              <a:gd name="T57" fmla="*/ 22 h 82"/>
              <a:gd name="T58" fmla="*/ 1 w 89"/>
              <a:gd name="T59" fmla="*/ 60 h 82"/>
              <a:gd name="T60" fmla="*/ 16 w 89"/>
              <a:gd name="T61" fmla="*/ 76 h 82"/>
              <a:gd name="T62" fmla="*/ 48 w 89"/>
              <a:gd name="T63" fmla="*/ 82 h 82"/>
              <a:gd name="T64" fmla="*/ 89 w 89"/>
              <a:gd name="T65" fmla="*/ 54 h 82"/>
              <a:gd name="T66" fmla="*/ 70 w 89"/>
              <a:gd name="T67" fmla="*/ 32 h 82"/>
              <a:gd name="T68" fmla="*/ 76 w 89"/>
              <a:gd name="T69" fmla="*/ 62 h 82"/>
              <a:gd name="T70" fmla="*/ 68 w 89"/>
              <a:gd name="T71" fmla="*/ 66 h 82"/>
              <a:gd name="T72" fmla="*/ 68 w 89"/>
              <a:gd name="T73" fmla="*/ 66 h 82"/>
              <a:gd name="T74" fmla="*/ 67 w 89"/>
              <a:gd name="T75" fmla="*/ 66 h 82"/>
              <a:gd name="T76" fmla="*/ 66 w 89"/>
              <a:gd name="T77" fmla="*/ 66 h 82"/>
              <a:gd name="T78" fmla="*/ 66 w 89"/>
              <a:gd name="T79" fmla="*/ 66 h 82"/>
              <a:gd name="T80" fmla="*/ 58 w 89"/>
              <a:gd name="T81" fmla="*/ 62 h 82"/>
              <a:gd name="T82" fmla="*/ 57 w 89"/>
              <a:gd name="T83" fmla="*/ 59 h 82"/>
              <a:gd name="T84" fmla="*/ 60 w 89"/>
              <a:gd name="T85" fmla="*/ 58 h 82"/>
              <a:gd name="T86" fmla="*/ 65 w 89"/>
              <a:gd name="T87" fmla="*/ 61 h 82"/>
              <a:gd name="T88" fmla="*/ 65 w 89"/>
              <a:gd name="T89" fmla="*/ 52 h 82"/>
              <a:gd name="T90" fmla="*/ 63 w 89"/>
              <a:gd name="T91" fmla="*/ 52 h 82"/>
              <a:gd name="T92" fmla="*/ 61 w 89"/>
              <a:gd name="T93" fmla="*/ 50 h 82"/>
              <a:gd name="T94" fmla="*/ 63 w 89"/>
              <a:gd name="T95" fmla="*/ 48 h 82"/>
              <a:gd name="T96" fmla="*/ 65 w 89"/>
              <a:gd name="T97" fmla="*/ 48 h 82"/>
              <a:gd name="T98" fmla="*/ 65 w 89"/>
              <a:gd name="T99" fmla="*/ 44 h 82"/>
              <a:gd name="T100" fmla="*/ 67 w 89"/>
              <a:gd name="T101" fmla="*/ 42 h 82"/>
              <a:gd name="T102" fmla="*/ 69 w 89"/>
              <a:gd name="T103" fmla="*/ 44 h 82"/>
              <a:gd name="T104" fmla="*/ 69 w 89"/>
              <a:gd name="T105" fmla="*/ 48 h 82"/>
              <a:gd name="T106" fmla="*/ 71 w 89"/>
              <a:gd name="T107" fmla="*/ 48 h 82"/>
              <a:gd name="T108" fmla="*/ 73 w 89"/>
              <a:gd name="T109" fmla="*/ 50 h 82"/>
              <a:gd name="T110" fmla="*/ 71 w 89"/>
              <a:gd name="T111" fmla="*/ 52 h 82"/>
              <a:gd name="T112" fmla="*/ 69 w 89"/>
              <a:gd name="T113" fmla="*/ 52 h 82"/>
              <a:gd name="T114" fmla="*/ 69 w 89"/>
              <a:gd name="T115" fmla="*/ 61 h 82"/>
              <a:gd name="T116" fmla="*/ 74 w 89"/>
              <a:gd name="T117" fmla="*/ 58 h 82"/>
              <a:gd name="T118" fmla="*/ 77 w 89"/>
              <a:gd name="T119" fmla="*/ 59 h 82"/>
              <a:gd name="T120" fmla="*/ 76 w 89"/>
              <a:gd name="T121" fmla="*/ 6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9" h="82">
                <a:moveTo>
                  <a:pt x="70" y="32"/>
                </a:moveTo>
                <a:cubicBezTo>
                  <a:pt x="61" y="32"/>
                  <a:pt x="52" y="36"/>
                  <a:pt x="49" y="48"/>
                </a:cubicBezTo>
                <a:cubicBezTo>
                  <a:pt x="47" y="46"/>
                  <a:pt x="44" y="45"/>
                  <a:pt x="40" y="44"/>
                </a:cubicBezTo>
                <a:cubicBezTo>
                  <a:pt x="36" y="44"/>
                  <a:pt x="30" y="44"/>
                  <a:pt x="25" y="47"/>
                </a:cubicBezTo>
                <a:cubicBezTo>
                  <a:pt x="27" y="36"/>
                  <a:pt x="27" y="36"/>
                  <a:pt x="27" y="36"/>
                </a:cubicBezTo>
                <a:cubicBezTo>
                  <a:pt x="27" y="32"/>
                  <a:pt x="27" y="32"/>
                  <a:pt x="27" y="32"/>
                </a:cubicBezTo>
                <a:cubicBezTo>
                  <a:pt x="27" y="32"/>
                  <a:pt x="27" y="31"/>
                  <a:pt x="27" y="31"/>
                </a:cubicBezTo>
                <a:cubicBezTo>
                  <a:pt x="34" y="20"/>
                  <a:pt x="34" y="20"/>
                  <a:pt x="34" y="20"/>
                </a:cubicBezTo>
                <a:cubicBezTo>
                  <a:pt x="29" y="17"/>
                  <a:pt x="29" y="17"/>
                  <a:pt x="29" y="17"/>
                </a:cubicBezTo>
                <a:cubicBezTo>
                  <a:pt x="23" y="25"/>
                  <a:pt x="23" y="25"/>
                  <a:pt x="23" y="25"/>
                </a:cubicBezTo>
                <a:cubicBezTo>
                  <a:pt x="22" y="26"/>
                  <a:pt x="21" y="26"/>
                  <a:pt x="20" y="26"/>
                </a:cubicBezTo>
                <a:cubicBezTo>
                  <a:pt x="19" y="25"/>
                  <a:pt x="19" y="24"/>
                  <a:pt x="19" y="23"/>
                </a:cubicBezTo>
                <a:cubicBezTo>
                  <a:pt x="27" y="13"/>
                  <a:pt x="27" y="13"/>
                  <a:pt x="27" y="13"/>
                </a:cubicBezTo>
                <a:cubicBezTo>
                  <a:pt x="28" y="12"/>
                  <a:pt x="29" y="12"/>
                  <a:pt x="30" y="12"/>
                </a:cubicBezTo>
                <a:cubicBezTo>
                  <a:pt x="38" y="18"/>
                  <a:pt x="38" y="18"/>
                  <a:pt x="38" y="18"/>
                </a:cubicBezTo>
                <a:cubicBezTo>
                  <a:pt x="39" y="19"/>
                  <a:pt x="39" y="20"/>
                  <a:pt x="39" y="21"/>
                </a:cubicBezTo>
                <a:cubicBezTo>
                  <a:pt x="34" y="28"/>
                  <a:pt x="34" y="28"/>
                  <a:pt x="34" y="28"/>
                </a:cubicBezTo>
                <a:cubicBezTo>
                  <a:pt x="32" y="31"/>
                  <a:pt x="32" y="31"/>
                  <a:pt x="32" y="31"/>
                </a:cubicBezTo>
                <a:cubicBezTo>
                  <a:pt x="31" y="31"/>
                  <a:pt x="31" y="32"/>
                  <a:pt x="31" y="33"/>
                </a:cubicBezTo>
                <a:cubicBezTo>
                  <a:pt x="31" y="33"/>
                  <a:pt x="32" y="34"/>
                  <a:pt x="32" y="34"/>
                </a:cubicBezTo>
                <a:cubicBezTo>
                  <a:pt x="34" y="35"/>
                  <a:pt x="34" y="35"/>
                  <a:pt x="34" y="35"/>
                </a:cubicBezTo>
                <a:cubicBezTo>
                  <a:pt x="35" y="36"/>
                  <a:pt x="35" y="36"/>
                  <a:pt x="36" y="36"/>
                </a:cubicBezTo>
                <a:cubicBezTo>
                  <a:pt x="36" y="36"/>
                  <a:pt x="37" y="36"/>
                  <a:pt x="37" y="35"/>
                </a:cubicBezTo>
                <a:cubicBezTo>
                  <a:pt x="48" y="20"/>
                  <a:pt x="48" y="20"/>
                  <a:pt x="48" y="20"/>
                </a:cubicBezTo>
                <a:cubicBezTo>
                  <a:pt x="49" y="19"/>
                  <a:pt x="49" y="18"/>
                  <a:pt x="48" y="17"/>
                </a:cubicBezTo>
                <a:cubicBezTo>
                  <a:pt x="26" y="1"/>
                  <a:pt x="26" y="1"/>
                  <a:pt x="26" y="1"/>
                </a:cubicBezTo>
                <a:cubicBezTo>
                  <a:pt x="26" y="1"/>
                  <a:pt x="25" y="0"/>
                  <a:pt x="25" y="1"/>
                </a:cubicBezTo>
                <a:cubicBezTo>
                  <a:pt x="24" y="1"/>
                  <a:pt x="24" y="1"/>
                  <a:pt x="23" y="1"/>
                </a:cubicBezTo>
                <a:cubicBezTo>
                  <a:pt x="23" y="1"/>
                  <a:pt x="8" y="20"/>
                  <a:pt x="8" y="22"/>
                </a:cubicBezTo>
                <a:cubicBezTo>
                  <a:pt x="4" y="38"/>
                  <a:pt x="0" y="55"/>
                  <a:pt x="1" y="60"/>
                </a:cubicBezTo>
                <a:cubicBezTo>
                  <a:pt x="1" y="66"/>
                  <a:pt x="6" y="72"/>
                  <a:pt x="16" y="76"/>
                </a:cubicBezTo>
                <a:cubicBezTo>
                  <a:pt x="25" y="80"/>
                  <a:pt x="37" y="82"/>
                  <a:pt x="48" y="82"/>
                </a:cubicBezTo>
                <a:cubicBezTo>
                  <a:pt x="68" y="82"/>
                  <a:pt x="89" y="75"/>
                  <a:pt x="89" y="54"/>
                </a:cubicBezTo>
                <a:cubicBezTo>
                  <a:pt x="89" y="40"/>
                  <a:pt x="79" y="32"/>
                  <a:pt x="70" y="32"/>
                </a:cubicBezTo>
                <a:close/>
                <a:moveTo>
                  <a:pt x="76" y="62"/>
                </a:moveTo>
                <a:cubicBezTo>
                  <a:pt x="68" y="66"/>
                  <a:pt x="68" y="66"/>
                  <a:pt x="68" y="66"/>
                </a:cubicBezTo>
                <a:cubicBezTo>
                  <a:pt x="68" y="66"/>
                  <a:pt x="68" y="66"/>
                  <a:pt x="68" y="66"/>
                </a:cubicBezTo>
                <a:cubicBezTo>
                  <a:pt x="68" y="66"/>
                  <a:pt x="67" y="66"/>
                  <a:pt x="67" y="66"/>
                </a:cubicBezTo>
                <a:cubicBezTo>
                  <a:pt x="67" y="66"/>
                  <a:pt x="66" y="66"/>
                  <a:pt x="66" y="66"/>
                </a:cubicBezTo>
                <a:cubicBezTo>
                  <a:pt x="66" y="66"/>
                  <a:pt x="66" y="66"/>
                  <a:pt x="66" y="66"/>
                </a:cubicBezTo>
                <a:cubicBezTo>
                  <a:pt x="58" y="62"/>
                  <a:pt x="58" y="62"/>
                  <a:pt x="58" y="62"/>
                </a:cubicBezTo>
                <a:cubicBezTo>
                  <a:pt x="57" y="61"/>
                  <a:pt x="57" y="60"/>
                  <a:pt x="57" y="59"/>
                </a:cubicBezTo>
                <a:cubicBezTo>
                  <a:pt x="58" y="58"/>
                  <a:pt x="59" y="58"/>
                  <a:pt x="60" y="58"/>
                </a:cubicBezTo>
                <a:cubicBezTo>
                  <a:pt x="65" y="61"/>
                  <a:pt x="65" y="61"/>
                  <a:pt x="65" y="61"/>
                </a:cubicBezTo>
                <a:cubicBezTo>
                  <a:pt x="65" y="52"/>
                  <a:pt x="65" y="52"/>
                  <a:pt x="65" y="52"/>
                </a:cubicBezTo>
                <a:cubicBezTo>
                  <a:pt x="63" y="52"/>
                  <a:pt x="63" y="52"/>
                  <a:pt x="63" y="52"/>
                </a:cubicBezTo>
                <a:cubicBezTo>
                  <a:pt x="62" y="52"/>
                  <a:pt x="61" y="51"/>
                  <a:pt x="61" y="50"/>
                </a:cubicBezTo>
                <a:cubicBezTo>
                  <a:pt x="61" y="49"/>
                  <a:pt x="62" y="48"/>
                  <a:pt x="63" y="48"/>
                </a:cubicBezTo>
                <a:cubicBezTo>
                  <a:pt x="65" y="48"/>
                  <a:pt x="65" y="48"/>
                  <a:pt x="65" y="48"/>
                </a:cubicBezTo>
                <a:cubicBezTo>
                  <a:pt x="65" y="44"/>
                  <a:pt x="65" y="44"/>
                  <a:pt x="65" y="44"/>
                </a:cubicBezTo>
                <a:cubicBezTo>
                  <a:pt x="65" y="43"/>
                  <a:pt x="66" y="42"/>
                  <a:pt x="67" y="42"/>
                </a:cubicBezTo>
                <a:cubicBezTo>
                  <a:pt x="68" y="42"/>
                  <a:pt x="69" y="43"/>
                  <a:pt x="69" y="44"/>
                </a:cubicBezTo>
                <a:cubicBezTo>
                  <a:pt x="69" y="48"/>
                  <a:pt x="69" y="48"/>
                  <a:pt x="69" y="48"/>
                </a:cubicBezTo>
                <a:cubicBezTo>
                  <a:pt x="71" y="48"/>
                  <a:pt x="71" y="48"/>
                  <a:pt x="71" y="48"/>
                </a:cubicBezTo>
                <a:cubicBezTo>
                  <a:pt x="72" y="48"/>
                  <a:pt x="73" y="49"/>
                  <a:pt x="73" y="50"/>
                </a:cubicBezTo>
                <a:cubicBezTo>
                  <a:pt x="73" y="51"/>
                  <a:pt x="72" y="52"/>
                  <a:pt x="71" y="52"/>
                </a:cubicBezTo>
                <a:cubicBezTo>
                  <a:pt x="69" y="52"/>
                  <a:pt x="69" y="52"/>
                  <a:pt x="69" y="52"/>
                </a:cubicBezTo>
                <a:cubicBezTo>
                  <a:pt x="69" y="61"/>
                  <a:pt x="69" y="61"/>
                  <a:pt x="69" y="61"/>
                </a:cubicBezTo>
                <a:cubicBezTo>
                  <a:pt x="74" y="58"/>
                  <a:pt x="74" y="58"/>
                  <a:pt x="74" y="58"/>
                </a:cubicBezTo>
                <a:cubicBezTo>
                  <a:pt x="75" y="58"/>
                  <a:pt x="76" y="58"/>
                  <a:pt x="77" y="59"/>
                </a:cubicBezTo>
                <a:cubicBezTo>
                  <a:pt x="77" y="60"/>
                  <a:pt x="77" y="61"/>
                  <a:pt x="76" y="6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31" name="Group 30">
            <a:extLst>
              <a:ext uri="{FF2B5EF4-FFF2-40B4-BE49-F238E27FC236}">
                <a16:creationId xmlns:a16="http://schemas.microsoft.com/office/drawing/2014/main" id="{8DCDE953-5513-43B6-BC81-93E8C15E49F7}"/>
              </a:ext>
            </a:extLst>
          </p:cNvPr>
          <p:cNvGrpSpPr/>
          <p:nvPr/>
        </p:nvGrpSpPr>
        <p:grpSpPr>
          <a:xfrm>
            <a:off x="7235826" y="3463925"/>
            <a:ext cx="360363" cy="361950"/>
            <a:chOff x="8445501" y="1787525"/>
            <a:chExt cx="360363" cy="361950"/>
          </a:xfrm>
          <a:solidFill>
            <a:schemeClr val="bg1"/>
          </a:solidFill>
        </p:grpSpPr>
        <p:sp>
          <p:nvSpPr>
            <p:cNvPr id="32" name="Freeform 311">
              <a:extLst>
                <a:ext uri="{FF2B5EF4-FFF2-40B4-BE49-F238E27FC236}">
                  <a16:creationId xmlns:a16="http://schemas.microsoft.com/office/drawing/2014/main" id="{68157EF5-2A4B-49E2-8F19-007313D51088}"/>
                </a:ext>
              </a:extLst>
            </p:cNvPr>
            <p:cNvSpPr>
              <a:spLocks/>
            </p:cNvSpPr>
            <p:nvPr/>
          </p:nvSpPr>
          <p:spPr bwMode="auto">
            <a:xfrm>
              <a:off x="84899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312">
              <a:extLst>
                <a:ext uri="{FF2B5EF4-FFF2-40B4-BE49-F238E27FC236}">
                  <a16:creationId xmlns:a16="http://schemas.microsoft.com/office/drawing/2014/main" id="{1F4B6D62-F7E1-4830-A198-A5D5E7BCCDC5}"/>
                </a:ext>
              </a:extLst>
            </p:cNvPr>
            <p:cNvSpPr>
              <a:spLocks/>
            </p:cNvSpPr>
            <p:nvPr/>
          </p:nvSpPr>
          <p:spPr bwMode="auto">
            <a:xfrm>
              <a:off x="8445501" y="1882775"/>
              <a:ext cx="134938" cy="190500"/>
            </a:xfrm>
            <a:custGeom>
              <a:avLst/>
              <a:gdLst>
                <a:gd name="T0" fmla="*/ 15 w 36"/>
                <a:gd name="T1" fmla="*/ 51 h 51"/>
                <a:gd name="T2" fmla="*/ 36 w 36"/>
                <a:gd name="T3" fmla="*/ 51 h 51"/>
                <a:gd name="T4" fmla="*/ 36 w 36"/>
                <a:gd name="T5" fmla="*/ 39 h 51"/>
                <a:gd name="T6" fmla="*/ 36 w 36"/>
                <a:gd name="T7" fmla="*/ 38 h 51"/>
                <a:gd name="T8" fmla="*/ 30 w 36"/>
                <a:gd name="T9" fmla="*/ 22 h 51"/>
                <a:gd name="T10" fmla="*/ 22 w 36"/>
                <a:gd name="T11" fmla="*/ 19 h 51"/>
                <a:gd name="T12" fmla="*/ 19 w 36"/>
                <a:gd name="T13" fmla="*/ 27 h 51"/>
                <a:gd name="T14" fmla="*/ 20 w 36"/>
                <a:gd name="T15" fmla="*/ 33 h 51"/>
                <a:gd name="T16" fmla="*/ 14 w 36"/>
                <a:gd name="T17" fmla="*/ 26 h 51"/>
                <a:gd name="T18" fmla="*/ 7 w 36"/>
                <a:gd name="T19" fmla="*/ 2 h 51"/>
                <a:gd name="T20" fmla="*/ 1 w 36"/>
                <a:gd name="T21" fmla="*/ 1 h 51"/>
                <a:gd name="T22" fmla="*/ 0 w 36"/>
                <a:gd name="T23" fmla="*/ 3 h 51"/>
                <a:gd name="T24" fmla="*/ 0 w 36"/>
                <a:gd name="T25" fmla="*/ 35 h 51"/>
                <a:gd name="T26" fmla="*/ 1 w 36"/>
                <a:gd name="T27" fmla="*/ 37 h 51"/>
                <a:gd name="T28" fmla="*/ 15 w 36"/>
                <a:gd name="T2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15" y="51"/>
                  </a:moveTo>
                  <a:cubicBezTo>
                    <a:pt x="36" y="51"/>
                    <a:pt x="36" y="51"/>
                    <a:pt x="36" y="51"/>
                  </a:cubicBezTo>
                  <a:cubicBezTo>
                    <a:pt x="36" y="39"/>
                    <a:pt x="36" y="39"/>
                    <a:pt x="36" y="39"/>
                  </a:cubicBezTo>
                  <a:cubicBezTo>
                    <a:pt x="36" y="39"/>
                    <a:pt x="36" y="39"/>
                    <a:pt x="36" y="38"/>
                  </a:cubicBezTo>
                  <a:cubicBezTo>
                    <a:pt x="36" y="38"/>
                    <a:pt x="32" y="26"/>
                    <a:pt x="30" y="22"/>
                  </a:cubicBezTo>
                  <a:cubicBezTo>
                    <a:pt x="28" y="19"/>
                    <a:pt x="24" y="18"/>
                    <a:pt x="22" y="19"/>
                  </a:cubicBezTo>
                  <a:cubicBezTo>
                    <a:pt x="20" y="20"/>
                    <a:pt x="18" y="23"/>
                    <a:pt x="19" y="27"/>
                  </a:cubicBezTo>
                  <a:cubicBezTo>
                    <a:pt x="20" y="33"/>
                    <a:pt x="20" y="33"/>
                    <a:pt x="20" y="33"/>
                  </a:cubicBezTo>
                  <a:cubicBezTo>
                    <a:pt x="14" y="26"/>
                    <a:pt x="14" y="26"/>
                    <a:pt x="14" y="26"/>
                  </a:cubicBezTo>
                  <a:cubicBezTo>
                    <a:pt x="14" y="13"/>
                    <a:pt x="12" y="5"/>
                    <a:pt x="7" y="2"/>
                  </a:cubicBezTo>
                  <a:cubicBezTo>
                    <a:pt x="4" y="0"/>
                    <a:pt x="2" y="1"/>
                    <a:pt x="1" y="1"/>
                  </a:cubicBezTo>
                  <a:cubicBezTo>
                    <a:pt x="1" y="1"/>
                    <a:pt x="0" y="2"/>
                    <a:pt x="0" y="3"/>
                  </a:cubicBezTo>
                  <a:cubicBezTo>
                    <a:pt x="0" y="35"/>
                    <a:pt x="0" y="35"/>
                    <a:pt x="0" y="35"/>
                  </a:cubicBezTo>
                  <a:cubicBezTo>
                    <a:pt x="0" y="36"/>
                    <a:pt x="0" y="36"/>
                    <a:pt x="1" y="37"/>
                  </a:cubicBezTo>
                  <a:cubicBezTo>
                    <a:pt x="4" y="39"/>
                    <a:pt x="12" y="48"/>
                    <a:pt x="1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313">
              <a:extLst>
                <a:ext uri="{FF2B5EF4-FFF2-40B4-BE49-F238E27FC236}">
                  <a16:creationId xmlns:a16="http://schemas.microsoft.com/office/drawing/2014/main" id="{A2C27E12-5110-490D-80D3-9A239FD9A287}"/>
                </a:ext>
              </a:extLst>
            </p:cNvPr>
            <p:cNvSpPr>
              <a:spLocks/>
            </p:cNvSpPr>
            <p:nvPr/>
          </p:nvSpPr>
          <p:spPr bwMode="auto">
            <a:xfrm>
              <a:off x="8655051" y="2089150"/>
              <a:ext cx="104775" cy="60325"/>
            </a:xfrm>
            <a:custGeom>
              <a:avLst/>
              <a:gdLst>
                <a:gd name="T0" fmla="*/ 26 w 28"/>
                <a:gd name="T1" fmla="*/ 0 h 16"/>
                <a:gd name="T2" fmla="*/ 24 w 28"/>
                <a:gd name="T3" fmla="*/ 0 h 16"/>
                <a:gd name="T4" fmla="*/ 4 w 28"/>
                <a:gd name="T5" fmla="*/ 0 h 16"/>
                <a:gd name="T6" fmla="*/ 2 w 28"/>
                <a:gd name="T7" fmla="*/ 0 h 16"/>
                <a:gd name="T8" fmla="*/ 0 w 28"/>
                <a:gd name="T9" fmla="*/ 2 h 16"/>
                <a:gd name="T10" fmla="*/ 0 w 28"/>
                <a:gd name="T11" fmla="*/ 14 h 16"/>
                <a:gd name="T12" fmla="*/ 2 w 28"/>
                <a:gd name="T13" fmla="*/ 16 h 16"/>
                <a:gd name="T14" fmla="*/ 26 w 28"/>
                <a:gd name="T15" fmla="*/ 16 h 16"/>
                <a:gd name="T16" fmla="*/ 28 w 28"/>
                <a:gd name="T17" fmla="*/ 14 h 16"/>
                <a:gd name="T18" fmla="*/ 28 w 28"/>
                <a:gd name="T19" fmla="*/ 2 h 16"/>
                <a:gd name="T20" fmla="*/ 26 w 2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26" y="0"/>
                  </a:moveTo>
                  <a:cubicBezTo>
                    <a:pt x="24" y="0"/>
                    <a:pt x="24" y="0"/>
                    <a:pt x="24" y="0"/>
                  </a:cubicBezTo>
                  <a:cubicBezTo>
                    <a:pt x="4" y="0"/>
                    <a:pt x="4" y="0"/>
                    <a:pt x="4" y="0"/>
                  </a:cubicBezTo>
                  <a:cubicBezTo>
                    <a:pt x="2" y="0"/>
                    <a:pt x="2" y="0"/>
                    <a:pt x="2" y="0"/>
                  </a:cubicBezTo>
                  <a:cubicBezTo>
                    <a:pt x="1" y="0"/>
                    <a:pt x="0" y="1"/>
                    <a:pt x="0" y="2"/>
                  </a:cubicBezTo>
                  <a:cubicBezTo>
                    <a:pt x="0" y="14"/>
                    <a:pt x="0" y="14"/>
                    <a:pt x="0" y="14"/>
                  </a:cubicBezTo>
                  <a:cubicBezTo>
                    <a:pt x="0" y="15"/>
                    <a:pt x="1" y="16"/>
                    <a:pt x="2" y="16"/>
                  </a:cubicBezTo>
                  <a:cubicBezTo>
                    <a:pt x="26" y="16"/>
                    <a:pt x="26" y="16"/>
                    <a:pt x="26" y="16"/>
                  </a:cubicBezTo>
                  <a:cubicBezTo>
                    <a:pt x="27" y="16"/>
                    <a:pt x="28" y="15"/>
                    <a:pt x="28" y="14"/>
                  </a:cubicBezTo>
                  <a:cubicBezTo>
                    <a:pt x="28" y="2"/>
                    <a:pt x="28" y="2"/>
                    <a:pt x="28" y="2"/>
                  </a:cubicBezTo>
                  <a:cubicBezTo>
                    <a:pt x="28" y="1"/>
                    <a:pt x="27"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314">
              <a:extLst>
                <a:ext uri="{FF2B5EF4-FFF2-40B4-BE49-F238E27FC236}">
                  <a16:creationId xmlns:a16="http://schemas.microsoft.com/office/drawing/2014/main" id="{661A0FD7-7EBA-4E6F-BCF2-3C791AB7B08B}"/>
                </a:ext>
              </a:extLst>
            </p:cNvPr>
            <p:cNvSpPr>
              <a:spLocks/>
            </p:cNvSpPr>
            <p:nvPr/>
          </p:nvSpPr>
          <p:spPr bwMode="auto">
            <a:xfrm>
              <a:off x="8670926" y="1882775"/>
              <a:ext cx="134938" cy="190500"/>
            </a:xfrm>
            <a:custGeom>
              <a:avLst/>
              <a:gdLst>
                <a:gd name="T0" fmla="*/ 35 w 36"/>
                <a:gd name="T1" fmla="*/ 1 h 51"/>
                <a:gd name="T2" fmla="*/ 29 w 36"/>
                <a:gd name="T3" fmla="*/ 2 h 51"/>
                <a:gd name="T4" fmla="*/ 22 w 36"/>
                <a:gd name="T5" fmla="*/ 26 h 51"/>
                <a:gd name="T6" fmla="*/ 16 w 36"/>
                <a:gd name="T7" fmla="*/ 33 h 51"/>
                <a:gd name="T8" fmla="*/ 17 w 36"/>
                <a:gd name="T9" fmla="*/ 27 h 51"/>
                <a:gd name="T10" fmla="*/ 14 w 36"/>
                <a:gd name="T11" fmla="*/ 19 h 51"/>
                <a:gd name="T12" fmla="*/ 6 w 36"/>
                <a:gd name="T13" fmla="*/ 22 h 51"/>
                <a:gd name="T14" fmla="*/ 0 w 36"/>
                <a:gd name="T15" fmla="*/ 38 h 51"/>
                <a:gd name="T16" fmla="*/ 0 w 36"/>
                <a:gd name="T17" fmla="*/ 39 h 51"/>
                <a:gd name="T18" fmla="*/ 0 w 36"/>
                <a:gd name="T19" fmla="*/ 51 h 51"/>
                <a:gd name="T20" fmla="*/ 21 w 36"/>
                <a:gd name="T21" fmla="*/ 51 h 51"/>
                <a:gd name="T22" fmla="*/ 35 w 36"/>
                <a:gd name="T23" fmla="*/ 36 h 51"/>
                <a:gd name="T24" fmla="*/ 36 w 36"/>
                <a:gd name="T25" fmla="*/ 35 h 51"/>
                <a:gd name="T26" fmla="*/ 36 w 36"/>
                <a:gd name="T27" fmla="*/ 3 h 51"/>
                <a:gd name="T28" fmla="*/ 35 w 36"/>
                <a:gd name="T2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35" y="1"/>
                  </a:moveTo>
                  <a:cubicBezTo>
                    <a:pt x="34" y="1"/>
                    <a:pt x="32" y="0"/>
                    <a:pt x="29" y="2"/>
                  </a:cubicBezTo>
                  <a:cubicBezTo>
                    <a:pt x="24" y="5"/>
                    <a:pt x="22" y="13"/>
                    <a:pt x="22" y="26"/>
                  </a:cubicBezTo>
                  <a:cubicBezTo>
                    <a:pt x="16" y="33"/>
                    <a:pt x="16" y="33"/>
                    <a:pt x="16" y="33"/>
                  </a:cubicBezTo>
                  <a:cubicBezTo>
                    <a:pt x="17" y="27"/>
                    <a:pt x="17" y="27"/>
                    <a:pt x="17" y="27"/>
                  </a:cubicBezTo>
                  <a:cubicBezTo>
                    <a:pt x="18" y="23"/>
                    <a:pt x="16" y="20"/>
                    <a:pt x="14" y="19"/>
                  </a:cubicBezTo>
                  <a:cubicBezTo>
                    <a:pt x="12" y="18"/>
                    <a:pt x="8" y="19"/>
                    <a:pt x="6" y="22"/>
                  </a:cubicBezTo>
                  <a:cubicBezTo>
                    <a:pt x="4" y="26"/>
                    <a:pt x="0" y="38"/>
                    <a:pt x="0" y="38"/>
                  </a:cubicBezTo>
                  <a:cubicBezTo>
                    <a:pt x="0" y="39"/>
                    <a:pt x="0" y="39"/>
                    <a:pt x="0" y="39"/>
                  </a:cubicBezTo>
                  <a:cubicBezTo>
                    <a:pt x="0" y="51"/>
                    <a:pt x="0" y="51"/>
                    <a:pt x="0" y="51"/>
                  </a:cubicBezTo>
                  <a:cubicBezTo>
                    <a:pt x="21" y="51"/>
                    <a:pt x="21" y="51"/>
                    <a:pt x="21" y="51"/>
                  </a:cubicBezTo>
                  <a:cubicBezTo>
                    <a:pt x="24" y="48"/>
                    <a:pt x="33" y="39"/>
                    <a:pt x="35" y="36"/>
                  </a:cubicBezTo>
                  <a:cubicBezTo>
                    <a:pt x="36" y="36"/>
                    <a:pt x="36" y="36"/>
                    <a:pt x="36" y="35"/>
                  </a:cubicBezTo>
                  <a:cubicBezTo>
                    <a:pt x="36" y="3"/>
                    <a:pt x="36" y="3"/>
                    <a:pt x="36" y="3"/>
                  </a:cubicBezTo>
                  <a:cubicBezTo>
                    <a:pt x="36" y="2"/>
                    <a:pt x="35" y="1"/>
                    <a:pt x="3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315">
              <a:extLst>
                <a:ext uri="{FF2B5EF4-FFF2-40B4-BE49-F238E27FC236}">
                  <a16:creationId xmlns:a16="http://schemas.microsoft.com/office/drawing/2014/main" id="{8434E7E1-6282-495E-98B5-DABADB5F5F6B}"/>
                </a:ext>
              </a:extLst>
            </p:cNvPr>
            <p:cNvSpPr>
              <a:spLocks/>
            </p:cNvSpPr>
            <p:nvPr/>
          </p:nvSpPr>
          <p:spPr bwMode="auto">
            <a:xfrm>
              <a:off x="8599488" y="1863725"/>
              <a:ext cx="52388" cy="82550"/>
            </a:xfrm>
            <a:custGeom>
              <a:avLst/>
              <a:gdLst>
                <a:gd name="T0" fmla="*/ 33 w 33"/>
                <a:gd name="T1" fmla="*/ 0 h 52"/>
                <a:gd name="T2" fmla="*/ 0 w 33"/>
                <a:gd name="T3" fmla="*/ 0 h 52"/>
                <a:gd name="T4" fmla="*/ 16 w 33"/>
                <a:gd name="T5" fmla="*/ 52 h 52"/>
                <a:gd name="T6" fmla="*/ 33 w 33"/>
                <a:gd name="T7" fmla="*/ 0 h 52"/>
              </a:gdLst>
              <a:ahLst/>
              <a:cxnLst>
                <a:cxn ang="0">
                  <a:pos x="T0" y="T1"/>
                </a:cxn>
                <a:cxn ang="0">
                  <a:pos x="T2" y="T3"/>
                </a:cxn>
                <a:cxn ang="0">
                  <a:pos x="T4" y="T5"/>
                </a:cxn>
                <a:cxn ang="0">
                  <a:pos x="T6" y="T7"/>
                </a:cxn>
              </a:cxnLst>
              <a:rect l="0" t="0" r="r" b="b"/>
              <a:pathLst>
                <a:path w="33" h="52">
                  <a:moveTo>
                    <a:pt x="33" y="0"/>
                  </a:moveTo>
                  <a:lnTo>
                    <a:pt x="0" y="0"/>
                  </a:lnTo>
                  <a:lnTo>
                    <a:pt x="16" y="52"/>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316">
              <a:extLst>
                <a:ext uri="{FF2B5EF4-FFF2-40B4-BE49-F238E27FC236}">
                  <a16:creationId xmlns:a16="http://schemas.microsoft.com/office/drawing/2014/main" id="{7807666C-5E5B-418B-8272-8AD54AA4031A}"/>
                </a:ext>
              </a:extLst>
            </p:cNvPr>
            <p:cNvSpPr>
              <a:spLocks/>
            </p:cNvSpPr>
            <p:nvPr/>
          </p:nvSpPr>
          <p:spPr bwMode="auto">
            <a:xfrm>
              <a:off x="8523288" y="1795463"/>
              <a:ext cx="53975" cy="52388"/>
            </a:xfrm>
            <a:custGeom>
              <a:avLst/>
              <a:gdLst>
                <a:gd name="T0" fmla="*/ 34 w 34"/>
                <a:gd name="T1" fmla="*/ 33 h 33"/>
                <a:gd name="T2" fmla="*/ 26 w 34"/>
                <a:gd name="T3" fmla="*/ 0 h 33"/>
                <a:gd name="T4" fmla="*/ 0 w 34"/>
                <a:gd name="T5" fmla="*/ 33 h 33"/>
                <a:gd name="T6" fmla="*/ 34 w 34"/>
                <a:gd name="T7" fmla="*/ 33 h 33"/>
              </a:gdLst>
              <a:ahLst/>
              <a:cxnLst>
                <a:cxn ang="0">
                  <a:pos x="T0" y="T1"/>
                </a:cxn>
                <a:cxn ang="0">
                  <a:pos x="T2" y="T3"/>
                </a:cxn>
                <a:cxn ang="0">
                  <a:pos x="T4" y="T5"/>
                </a:cxn>
                <a:cxn ang="0">
                  <a:pos x="T6" y="T7"/>
                </a:cxn>
              </a:cxnLst>
              <a:rect l="0" t="0" r="r" b="b"/>
              <a:pathLst>
                <a:path w="34" h="33">
                  <a:moveTo>
                    <a:pt x="34" y="33"/>
                  </a:moveTo>
                  <a:lnTo>
                    <a:pt x="26" y="0"/>
                  </a:lnTo>
                  <a:lnTo>
                    <a:pt x="0" y="33"/>
                  </a:lnTo>
                  <a:lnTo>
                    <a:pt x="3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317">
              <a:extLst>
                <a:ext uri="{FF2B5EF4-FFF2-40B4-BE49-F238E27FC236}">
                  <a16:creationId xmlns:a16="http://schemas.microsoft.com/office/drawing/2014/main" id="{12A477F8-7CC4-4279-95E2-9D26035E86F5}"/>
                </a:ext>
              </a:extLst>
            </p:cNvPr>
            <p:cNvSpPr>
              <a:spLocks/>
            </p:cNvSpPr>
            <p:nvPr/>
          </p:nvSpPr>
          <p:spPr bwMode="auto">
            <a:xfrm>
              <a:off x="8580438" y="1787525"/>
              <a:ext cx="90488" cy="60325"/>
            </a:xfrm>
            <a:custGeom>
              <a:avLst/>
              <a:gdLst>
                <a:gd name="T0" fmla="*/ 0 w 57"/>
                <a:gd name="T1" fmla="*/ 0 h 38"/>
                <a:gd name="T2" fmla="*/ 7 w 57"/>
                <a:gd name="T3" fmla="*/ 38 h 38"/>
                <a:gd name="T4" fmla="*/ 47 w 57"/>
                <a:gd name="T5" fmla="*/ 38 h 38"/>
                <a:gd name="T6" fmla="*/ 57 w 57"/>
                <a:gd name="T7" fmla="*/ 0 h 38"/>
                <a:gd name="T8" fmla="*/ 0 w 57"/>
                <a:gd name="T9" fmla="*/ 0 h 38"/>
              </a:gdLst>
              <a:ahLst/>
              <a:cxnLst>
                <a:cxn ang="0">
                  <a:pos x="T0" y="T1"/>
                </a:cxn>
                <a:cxn ang="0">
                  <a:pos x="T2" y="T3"/>
                </a:cxn>
                <a:cxn ang="0">
                  <a:pos x="T4" y="T5"/>
                </a:cxn>
                <a:cxn ang="0">
                  <a:pos x="T6" y="T7"/>
                </a:cxn>
                <a:cxn ang="0">
                  <a:pos x="T8" y="T9"/>
                </a:cxn>
              </a:cxnLst>
              <a:rect l="0" t="0" r="r" b="b"/>
              <a:pathLst>
                <a:path w="57" h="38">
                  <a:moveTo>
                    <a:pt x="0" y="0"/>
                  </a:moveTo>
                  <a:lnTo>
                    <a:pt x="7" y="38"/>
                  </a:lnTo>
                  <a:lnTo>
                    <a:pt x="47" y="38"/>
                  </a:lnTo>
                  <a:lnTo>
                    <a:pt x="57"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318">
              <a:extLst>
                <a:ext uri="{FF2B5EF4-FFF2-40B4-BE49-F238E27FC236}">
                  <a16:creationId xmlns:a16="http://schemas.microsoft.com/office/drawing/2014/main" id="{474B568D-F4D7-4FFB-985D-57D39BB7E89E}"/>
                </a:ext>
              </a:extLst>
            </p:cNvPr>
            <p:cNvSpPr>
              <a:spLocks/>
            </p:cNvSpPr>
            <p:nvPr/>
          </p:nvSpPr>
          <p:spPr bwMode="auto">
            <a:xfrm>
              <a:off x="8632826" y="1863725"/>
              <a:ext cx="93663" cy="104775"/>
            </a:xfrm>
            <a:custGeom>
              <a:avLst/>
              <a:gdLst>
                <a:gd name="T0" fmla="*/ 21 w 59"/>
                <a:gd name="T1" fmla="*/ 0 h 66"/>
                <a:gd name="T2" fmla="*/ 0 w 59"/>
                <a:gd name="T3" fmla="*/ 66 h 66"/>
                <a:gd name="T4" fmla="*/ 0 w 59"/>
                <a:gd name="T5" fmla="*/ 66 h 66"/>
                <a:gd name="T6" fmla="*/ 59 w 59"/>
                <a:gd name="T7" fmla="*/ 0 h 66"/>
                <a:gd name="T8" fmla="*/ 21 w 59"/>
                <a:gd name="T9" fmla="*/ 0 h 66"/>
              </a:gdLst>
              <a:ahLst/>
              <a:cxnLst>
                <a:cxn ang="0">
                  <a:pos x="T0" y="T1"/>
                </a:cxn>
                <a:cxn ang="0">
                  <a:pos x="T2" y="T3"/>
                </a:cxn>
                <a:cxn ang="0">
                  <a:pos x="T4" y="T5"/>
                </a:cxn>
                <a:cxn ang="0">
                  <a:pos x="T6" y="T7"/>
                </a:cxn>
                <a:cxn ang="0">
                  <a:pos x="T8" y="T9"/>
                </a:cxn>
              </a:cxnLst>
              <a:rect l="0" t="0" r="r" b="b"/>
              <a:pathLst>
                <a:path w="59" h="66">
                  <a:moveTo>
                    <a:pt x="21" y="0"/>
                  </a:moveTo>
                  <a:lnTo>
                    <a:pt x="0" y="66"/>
                  </a:lnTo>
                  <a:lnTo>
                    <a:pt x="0" y="66"/>
                  </a:lnTo>
                  <a:lnTo>
                    <a:pt x="59" y="0"/>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319">
              <a:extLst>
                <a:ext uri="{FF2B5EF4-FFF2-40B4-BE49-F238E27FC236}">
                  <a16:creationId xmlns:a16="http://schemas.microsoft.com/office/drawing/2014/main" id="{B434E5D1-B9BF-4361-8530-08DBC2229069}"/>
                </a:ext>
              </a:extLst>
            </p:cNvPr>
            <p:cNvSpPr>
              <a:spLocks/>
            </p:cNvSpPr>
            <p:nvPr/>
          </p:nvSpPr>
          <p:spPr bwMode="auto">
            <a:xfrm>
              <a:off x="8674101" y="1795463"/>
              <a:ext cx="52388" cy="52388"/>
            </a:xfrm>
            <a:custGeom>
              <a:avLst/>
              <a:gdLst>
                <a:gd name="T0" fmla="*/ 0 w 33"/>
                <a:gd name="T1" fmla="*/ 33 h 33"/>
                <a:gd name="T2" fmla="*/ 33 w 33"/>
                <a:gd name="T3" fmla="*/ 33 h 33"/>
                <a:gd name="T4" fmla="*/ 7 w 33"/>
                <a:gd name="T5" fmla="*/ 0 h 33"/>
                <a:gd name="T6" fmla="*/ 0 w 33"/>
                <a:gd name="T7" fmla="*/ 33 h 33"/>
              </a:gdLst>
              <a:ahLst/>
              <a:cxnLst>
                <a:cxn ang="0">
                  <a:pos x="T0" y="T1"/>
                </a:cxn>
                <a:cxn ang="0">
                  <a:pos x="T2" y="T3"/>
                </a:cxn>
                <a:cxn ang="0">
                  <a:pos x="T4" y="T5"/>
                </a:cxn>
                <a:cxn ang="0">
                  <a:pos x="T6" y="T7"/>
                </a:cxn>
              </a:cxnLst>
              <a:rect l="0" t="0" r="r" b="b"/>
              <a:pathLst>
                <a:path w="33" h="33">
                  <a:moveTo>
                    <a:pt x="0" y="33"/>
                  </a:moveTo>
                  <a:lnTo>
                    <a:pt x="33" y="33"/>
                  </a:lnTo>
                  <a:lnTo>
                    <a:pt x="7"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320">
              <a:extLst>
                <a:ext uri="{FF2B5EF4-FFF2-40B4-BE49-F238E27FC236}">
                  <a16:creationId xmlns:a16="http://schemas.microsoft.com/office/drawing/2014/main" id="{97FCC8AB-21D3-4720-B6AC-94B9B5A8327A}"/>
                </a:ext>
              </a:extLst>
            </p:cNvPr>
            <p:cNvSpPr>
              <a:spLocks/>
            </p:cNvSpPr>
            <p:nvPr/>
          </p:nvSpPr>
          <p:spPr bwMode="auto">
            <a:xfrm>
              <a:off x="8523288" y="1863725"/>
              <a:ext cx="95250" cy="107950"/>
            </a:xfrm>
            <a:custGeom>
              <a:avLst/>
              <a:gdLst>
                <a:gd name="T0" fmla="*/ 60 w 60"/>
                <a:gd name="T1" fmla="*/ 66 h 68"/>
                <a:gd name="T2" fmla="*/ 36 w 60"/>
                <a:gd name="T3" fmla="*/ 0 h 68"/>
                <a:gd name="T4" fmla="*/ 0 w 60"/>
                <a:gd name="T5" fmla="*/ 0 h 68"/>
                <a:gd name="T6" fmla="*/ 60 w 60"/>
                <a:gd name="T7" fmla="*/ 68 h 68"/>
                <a:gd name="T8" fmla="*/ 60 w 60"/>
                <a:gd name="T9" fmla="*/ 66 h 68"/>
              </a:gdLst>
              <a:ahLst/>
              <a:cxnLst>
                <a:cxn ang="0">
                  <a:pos x="T0" y="T1"/>
                </a:cxn>
                <a:cxn ang="0">
                  <a:pos x="T2" y="T3"/>
                </a:cxn>
                <a:cxn ang="0">
                  <a:pos x="T4" y="T5"/>
                </a:cxn>
                <a:cxn ang="0">
                  <a:pos x="T6" y="T7"/>
                </a:cxn>
                <a:cxn ang="0">
                  <a:pos x="T8" y="T9"/>
                </a:cxn>
              </a:cxnLst>
              <a:rect l="0" t="0" r="r" b="b"/>
              <a:pathLst>
                <a:path w="60" h="68">
                  <a:moveTo>
                    <a:pt x="60" y="66"/>
                  </a:moveTo>
                  <a:lnTo>
                    <a:pt x="36" y="0"/>
                  </a:lnTo>
                  <a:lnTo>
                    <a:pt x="0" y="0"/>
                  </a:lnTo>
                  <a:lnTo>
                    <a:pt x="60" y="68"/>
                  </a:lnTo>
                  <a:lnTo>
                    <a:pt x="6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42" name="Freeform 21">
            <a:extLst>
              <a:ext uri="{FF2B5EF4-FFF2-40B4-BE49-F238E27FC236}">
                <a16:creationId xmlns:a16="http://schemas.microsoft.com/office/drawing/2014/main" id="{05D1DCCD-0F64-4DB9-BF41-65186BC9CFE6}"/>
              </a:ext>
            </a:extLst>
          </p:cNvPr>
          <p:cNvSpPr>
            <a:spLocks noEditPoints="1"/>
          </p:cNvSpPr>
          <p:nvPr/>
        </p:nvSpPr>
        <p:spPr bwMode="auto">
          <a:xfrm>
            <a:off x="5942012" y="4876496"/>
            <a:ext cx="346075" cy="347663"/>
          </a:xfrm>
          <a:custGeom>
            <a:avLst/>
            <a:gdLst>
              <a:gd name="T0" fmla="*/ 47 w 92"/>
              <a:gd name="T1" fmla="*/ 0 h 92"/>
              <a:gd name="T2" fmla="*/ 46 w 92"/>
              <a:gd name="T3" fmla="*/ 0 h 92"/>
              <a:gd name="T4" fmla="*/ 13 w 92"/>
              <a:gd name="T5" fmla="*/ 14 h 92"/>
              <a:gd name="T6" fmla="*/ 0 w 92"/>
              <a:gd name="T7" fmla="*/ 47 h 92"/>
              <a:gd name="T8" fmla="*/ 45 w 92"/>
              <a:gd name="T9" fmla="*/ 92 h 92"/>
              <a:gd name="T10" fmla="*/ 46 w 92"/>
              <a:gd name="T11" fmla="*/ 92 h 92"/>
              <a:gd name="T12" fmla="*/ 92 w 92"/>
              <a:gd name="T13" fmla="*/ 45 h 92"/>
              <a:gd name="T14" fmla="*/ 47 w 92"/>
              <a:gd name="T15" fmla="*/ 0 h 92"/>
              <a:gd name="T16" fmla="*/ 44 w 92"/>
              <a:gd name="T17" fmla="*/ 24 h 92"/>
              <a:gd name="T18" fmla="*/ 46 w 92"/>
              <a:gd name="T19" fmla="*/ 22 h 92"/>
              <a:gd name="T20" fmla="*/ 48 w 92"/>
              <a:gd name="T21" fmla="*/ 24 h 92"/>
              <a:gd name="T22" fmla="*/ 48 w 92"/>
              <a:gd name="T23" fmla="*/ 52 h 92"/>
              <a:gd name="T24" fmla="*/ 46 w 92"/>
              <a:gd name="T25" fmla="*/ 54 h 92"/>
              <a:gd name="T26" fmla="*/ 44 w 92"/>
              <a:gd name="T27" fmla="*/ 52 h 92"/>
              <a:gd name="T28" fmla="*/ 44 w 92"/>
              <a:gd name="T29" fmla="*/ 24 h 92"/>
              <a:gd name="T30" fmla="*/ 46 w 92"/>
              <a:gd name="T31" fmla="*/ 70 h 92"/>
              <a:gd name="T32" fmla="*/ 46 w 92"/>
              <a:gd name="T33" fmla="*/ 70 h 92"/>
              <a:gd name="T34" fmla="*/ 42 w 92"/>
              <a:gd name="T35" fmla="*/ 66 h 92"/>
              <a:gd name="T36" fmla="*/ 46 w 92"/>
              <a:gd name="T37" fmla="*/ 62 h 92"/>
              <a:gd name="T38" fmla="*/ 46 w 92"/>
              <a:gd name="T39" fmla="*/ 62 h 92"/>
              <a:gd name="T40" fmla="*/ 50 w 92"/>
              <a:gd name="T41" fmla="*/ 66 h 92"/>
              <a:gd name="T42" fmla="*/ 46 w 92"/>
              <a:gd name="T43" fmla="*/ 7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 h="92">
                <a:moveTo>
                  <a:pt x="47" y="0"/>
                </a:moveTo>
                <a:cubicBezTo>
                  <a:pt x="46" y="0"/>
                  <a:pt x="46" y="0"/>
                  <a:pt x="46" y="0"/>
                </a:cubicBezTo>
                <a:cubicBezTo>
                  <a:pt x="34" y="0"/>
                  <a:pt x="22" y="5"/>
                  <a:pt x="13" y="14"/>
                </a:cubicBezTo>
                <a:cubicBezTo>
                  <a:pt x="5" y="23"/>
                  <a:pt x="0" y="35"/>
                  <a:pt x="0" y="47"/>
                </a:cubicBezTo>
                <a:cubicBezTo>
                  <a:pt x="0" y="72"/>
                  <a:pt x="20" y="92"/>
                  <a:pt x="45" y="92"/>
                </a:cubicBezTo>
                <a:cubicBezTo>
                  <a:pt x="46" y="92"/>
                  <a:pt x="46" y="92"/>
                  <a:pt x="46" y="92"/>
                </a:cubicBezTo>
                <a:cubicBezTo>
                  <a:pt x="72" y="92"/>
                  <a:pt x="92" y="71"/>
                  <a:pt x="92" y="45"/>
                </a:cubicBezTo>
                <a:cubicBezTo>
                  <a:pt x="92" y="20"/>
                  <a:pt x="72" y="0"/>
                  <a:pt x="47" y="0"/>
                </a:cubicBezTo>
                <a:close/>
                <a:moveTo>
                  <a:pt x="44" y="24"/>
                </a:moveTo>
                <a:cubicBezTo>
                  <a:pt x="44" y="23"/>
                  <a:pt x="45" y="22"/>
                  <a:pt x="46" y="22"/>
                </a:cubicBezTo>
                <a:cubicBezTo>
                  <a:pt x="47" y="22"/>
                  <a:pt x="48" y="23"/>
                  <a:pt x="48" y="24"/>
                </a:cubicBezTo>
                <a:cubicBezTo>
                  <a:pt x="48" y="52"/>
                  <a:pt x="48" y="52"/>
                  <a:pt x="48" y="52"/>
                </a:cubicBezTo>
                <a:cubicBezTo>
                  <a:pt x="48" y="53"/>
                  <a:pt x="47" y="54"/>
                  <a:pt x="46" y="54"/>
                </a:cubicBezTo>
                <a:cubicBezTo>
                  <a:pt x="45" y="54"/>
                  <a:pt x="44" y="53"/>
                  <a:pt x="44" y="52"/>
                </a:cubicBezTo>
                <a:lnTo>
                  <a:pt x="44" y="24"/>
                </a:lnTo>
                <a:close/>
                <a:moveTo>
                  <a:pt x="46" y="70"/>
                </a:moveTo>
                <a:cubicBezTo>
                  <a:pt x="46" y="70"/>
                  <a:pt x="46" y="70"/>
                  <a:pt x="46" y="70"/>
                </a:cubicBezTo>
                <a:cubicBezTo>
                  <a:pt x="44" y="70"/>
                  <a:pt x="42" y="68"/>
                  <a:pt x="42" y="66"/>
                </a:cubicBezTo>
                <a:cubicBezTo>
                  <a:pt x="42" y="64"/>
                  <a:pt x="44" y="62"/>
                  <a:pt x="46" y="62"/>
                </a:cubicBezTo>
                <a:cubicBezTo>
                  <a:pt x="46" y="62"/>
                  <a:pt x="46" y="62"/>
                  <a:pt x="46" y="62"/>
                </a:cubicBezTo>
                <a:cubicBezTo>
                  <a:pt x="48" y="62"/>
                  <a:pt x="50" y="64"/>
                  <a:pt x="50" y="66"/>
                </a:cubicBezTo>
                <a:cubicBezTo>
                  <a:pt x="50" y="68"/>
                  <a:pt x="48" y="70"/>
                  <a:pt x="46"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43" name="Group 42">
            <a:extLst>
              <a:ext uri="{FF2B5EF4-FFF2-40B4-BE49-F238E27FC236}">
                <a16:creationId xmlns:a16="http://schemas.microsoft.com/office/drawing/2014/main" id="{65247569-9256-4F3D-8E97-52B166CCBF15}"/>
              </a:ext>
            </a:extLst>
          </p:cNvPr>
          <p:cNvGrpSpPr/>
          <p:nvPr/>
        </p:nvGrpSpPr>
        <p:grpSpPr>
          <a:xfrm>
            <a:off x="5900738" y="2209800"/>
            <a:ext cx="360363" cy="314325"/>
            <a:chOff x="4833938" y="19050"/>
            <a:chExt cx="360363" cy="314325"/>
          </a:xfrm>
          <a:solidFill>
            <a:schemeClr val="bg1"/>
          </a:solidFill>
        </p:grpSpPr>
        <p:sp>
          <p:nvSpPr>
            <p:cNvPr id="44" name="Freeform 61">
              <a:extLst>
                <a:ext uri="{FF2B5EF4-FFF2-40B4-BE49-F238E27FC236}">
                  <a16:creationId xmlns:a16="http://schemas.microsoft.com/office/drawing/2014/main" id="{65A211B8-C4EF-48B7-AE76-62F797D5C080}"/>
                </a:ext>
              </a:extLst>
            </p:cNvPr>
            <p:cNvSpPr>
              <a:spLocks/>
            </p:cNvSpPr>
            <p:nvPr/>
          </p:nvSpPr>
          <p:spPr bwMode="auto">
            <a:xfrm>
              <a:off x="4833938" y="19050"/>
              <a:ext cx="263525" cy="314325"/>
            </a:xfrm>
            <a:custGeom>
              <a:avLst/>
              <a:gdLst>
                <a:gd name="T0" fmla="*/ 68 w 70"/>
                <a:gd name="T1" fmla="*/ 7 h 84"/>
                <a:gd name="T2" fmla="*/ 55 w 70"/>
                <a:gd name="T3" fmla="*/ 3 h 84"/>
                <a:gd name="T4" fmla="*/ 42 w 70"/>
                <a:gd name="T5" fmla="*/ 0 h 84"/>
                <a:gd name="T6" fmla="*/ 20 w 70"/>
                <a:gd name="T7" fmla="*/ 0 h 84"/>
                <a:gd name="T8" fmla="*/ 12 w 70"/>
                <a:gd name="T9" fmla="*/ 8 h 84"/>
                <a:gd name="T10" fmla="*/ 13 w 70"/>
                <a:gd name="T11" fmla="*/ 13 h 84"/>
                <a:gd name="T12" fmla="*/ 8 w 70"/>
                <a:gd name="T13" fmla="*/ 20 h 84"/>
                <a:gd name="T14" fmla="*/ 9 w 70"/>
                <a:gd name="T15" fmla="*/ 25 h 84"/>
                <a:gd name="T16" fmla="*/ 4 w 70"/>
                <a:gd name="T17" fmla="*/ 32 h 84"/>
                <a:gd name="T18" fmla="*/ 5 w 70"/>
                <a:gd name="T19" fmla="*/ 37 h 84"/>
                <a:gd name="T20" fmla="*/ 0 w 70"/>
                <a:gd name="T21" fmla="*/ 44 h 84"/>
                <a:gd name="T22" fmla="*/ 8 w 70"/>
                <a:gd name="T23" fmla="*/ 52 h 84"/>
                <a:gd name="T24" fmla="*/ 33 w 70"/>
                <a:gd name="T25" fmla="*/ 52 h 84"/>
                <a:gd name="T26" fmla="*/ 30 w 70"/>
                <a:gd name="T27" fmla="*/ 74 h 84"/>
                <a:gd name="T28" fmla="*/ 39 w 70"/>
                <a:gd name="T29" fmla="*/ 84 h 84"/>
                <a:gd name="T30" fmla="*/ 46 w 70"/>
                <a:gd name="T31" fmla="*/ 77 h 84"/>
                <a:gd name="T32" fmla="*/ 68 w 70"/>
                <a:gd name="T33" fmla="*/ 45 h 84"/>
                <a:gd name="T34" fmla="*/ 70 w 70"/>
                <a:gd name="T35" fmla="*/ 43 h 84"/>
                <a:gd name="T36" fmla="*/ 70 w 70"/>
                <a:gd name="T37" fmla="*/ 9 h 84"/>
                <a:gd name="T38" fmla="*/ 68 w 70"/>
                <a:gd name="T39" fmla="*/ 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4">
                  <a:moveTo>
                    <a:pt x="68" y="7"/>
                  </a:moveTo>
                  <a:cubicBezTo>
                    <a:pt x="62" y="6"/>
                    <a:pt x="58" y="5"/>
                    <a:pt x="55" y="3"/>
                  </a:cubicBezTo>
                  <a:cubicBezTo>
                    <a:pt x="52" y="2"/>
                    <a:pt x="48" y="0"/>
                    <a:pt x="42" y="0"/>
                  </a:cubicBezTo>
                  <a:cubicBezTo>
                    <a:pt x="20" y="0"/>
                    <a:pt x="20" y="0"/>
                    <a:pt x="20" y="0"/>
                  </a:cubicBezTo>
                  <a:cubicBezTo>
                    <a:pt x="16" y="0"/>
                    <a:pt x="12" y="4"/>
                    <a:pt x="12" y="8"/>
                  </a:cubicBezTo>
                  <a:cubicBezTo>
                    <a:pt x="12" y="10"/>
                    <a:pt x="12" y="11"/>
                    <a:pt x="13" y="13"/>
                  </a:cubicBezTo>
                  <a:cubicBezTo>
                    <a:pt x="10" y="14"/>
                    <a:pt x="8" y="17"/>
                    <a:pt x="8" y="20"/>
                  </a:cubicBezTo>
                  <a:cubicBezTo>
                    <a:pt x="8" y="22"/>
                    <a:pt x="8" y="23"/>
                    <a:pt x="9" y="25"/>
                  </a:cubicBezTo>
                  <a:cubicBezTo>
                    <a:pt x="6" y="26"/>
                    <a:pt x="4" y="29"/>
                    <a:pt x="4" y="32"/>
                  </a:cubicBezTo>
                  <a:cubicBezTo>
                    <a:pt x="4" y="34"/>
                    <a:pt x="4" y="35"/>
                    <a:pt x="5" y="37"/>
                  </a:cubicBezTo>
                  <a:cubicBezTo>
                    <a:pt x="2" y="38"/>
                    <a:pt x="0" y="41"/>
                    <a:pt x="0" y="44"/>
                  </a:cubicBezTo>
                  <a:cubicBezTo>
                    <a:pt x="0" y="49"/>
                    <a:pt x="4" y="52"/>
                    <a:pt x="8" y="52"/>
                  </a:cubicBezTo>
                  <a:cubicBezTo>
                    <a:pt x="33" y="52"/>
                    <a:pt x="33" y="52"/>
                    <a:pt x="33" y="52"/>
                  </a:cubicBezTo>
                  <a:cubicBezTo>
                    <a:pt x="32" y="57"/>
                    <a:pt x="28" y="68"/>
                    <a:pt x="30" y="74"/>
                  </a:cubicBezTo>
                  <a:cubicBezTo>
                    <a:pt x="33" y="83"/>
                    <a:pt x="38" y="84"/>
                    <a:pt x="39" y="84"/>
                  </a:cubicBezTo>
                  <a:cubicBezTo>
                    <a:pt x="43" y="84"/>
                    <a:pt x="46" y="81"/>
                    <a:pt x="46" y="77"/>
                  </a:cubicBezTo>
                  <a:cubicBezTo>
                    <a:pt x="46" y="64"/>
                    <a:pt x="58" y="45"/>
                    <a:pt x="68" y="45"/>
                  </a:cubicBezTo>
                  <a:cubicBezTo>
                    <a:pt x="69" y="45"/>
                    <a:pt x="70" y="44"/>
                    <a:pt x="70" y="43"/>
                  </a:cubicBezTo>
                  <a:cubicBezTo>
                    <a:pt x="70" y="9"/>
                    <a:pt x="70" y="9"/>
                    <a:pt x="70" y="9"/>
                  </a:cubicBezTo>
                  <a:cubicBezTo>
                    <a:pt x="70" y="8"/>
                    <a:pt x="69" y="7"/>
                    <a:pt x="6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62">
              <a:extLst>
                <a:ext uri="{FF2B5EF4-FFF2-40B4-BE49-F238E27FC236}">
                  <a16:creationId xmlns:a16="http://schemas.microsoft.com/office/drawing/2014/main" id="{7CE9425A-E6C3-4631-935D-53B5489FB7DF}"/>
                </a:ext>
              </a:extLst>
            </p:cNvPr>
            <p:cNvSpPr>
              <a:spLocks noEditPoints="1"/>
            </p:cNvSpPr>
            <p:nvPr/>
          </p:nvSpPr>
          <p:spPr bwMode="auto">
            <a:xfrm>
              <a:off x="5103813" y="19050"/>
              <a:ext cx="90488" cy="179388"/>
            </a:xfrm>
            <a:custGeom>
              <a:avLst/>
              <a:gdLst>
                <a:gd name="T0" fmla="*/ 22 w 24"/>
                <a:gd name="T1" fmla="*/ 0 h 48"/>
                <a:gd name="T2" fmla="*/ 2 w 24"/>
                <a:gd name="T3" fmla="*/ 0 h 48"/>
                <a:gd name="T4" fmla="*/ 0 w 24"/>
                <a:gd name="T5" fmla="*/ 2 h 48"/>
                <a:gd name="T6" fmla="*/ 0 w 24"/>
                <a:gd name="T7" fmla="*/ 46 h 48"/>
                <a:gd name="T8" fmla="*/ 2 w 24"/>
                <a:gd name="T9" fmla="*/ 48 h 48"/>
                <a:gd name="T10" fmla="*/ 22 w 24"/>
                <a:gd name="T11" fmla="*/ 48 h 48"/>
                <a:gd name="T12" fmla="*/ 24 w 24"/>
                <a:gd name="T13" fmla="*/ 46 h 48"/>
                <a:gd name="T14" fmla="*/ 24 w 24"/>
                <a:gd name="T15" fmla="*/ 2 h 48"/>
                <a:gd name="T16" fmla="*/ 22 w 24"/>
                <a:gd name="T17" fmla="*/ 0 h 48"/>
                <a:gd name="T18" fmla="*/ 10 w 24"/>
                <a:gd name="T19" fmla="*/ 11 h 48"/>
                <a:gd name="T20" fmla="*/ 8 w 24"/>
                <a:gd name="T21" fmla="*/ 9 h 48"/>
                <a:gd name="T22" fmla="*/ 10 w 24"/>
                <a:gd name="T23" fmla="*/ 7 h 48"/>
                <a:gd name="T24" fmla="*/ 12 w 24"/>
                <a:gd name="T25" fmla="*/ 9 h 48"/>
                <a:gd name="T26" fmla="*/ 10 w 24"/>
                <a:gd name="T27" fmla="*/ 1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2" y="0"/>
                  </a:moveTo>
                  <a:cubicBezTo>
                    <a:pt x="2" y="0"/>
                    <a:pt x="2" y="0"/>
                    <a:pt x="2" y="0"/>
                  </a:cubicBezTo>
                  <a:cubicBezTo>
                    <a:pt x="1" y="0"/>
                    <a:pt x="0" y="1"/>
                    <a:pt x="0" y="2"/>
                  </a:cubicBezTo>
                  <a:cubicBezTo>
                    <a:pt x="0" y="46"/>
                    <a:pt x="0" y="46"/>
                    <a:pt x="0" y="46"/>
                  </a:cubicBezTo>
                  <a:cubicBezTo>
                    <a:pt x="0" y="47"/>
                    <a:pt x="1" y="48"/>
                    <a:pt x="2" y="48"/>
                  </a:cubicBezTo>
                  <a:cubicBezTo>
                    <a:pt x="22" y="48"/>
                    <a:pt x="22" y="48"/>
                    <a:pt x="22" y="48"/>
                  </a:cubicBezTo>
                  <a:cubicBezTo>
                    <a:pt x="23" y="48"/>
                    <a:pt x="24" y="47"/>
                    <a:pt x="24" y="46"/>
                  </a:cubicBezTo>
                  <a:cubicBezTo>
                    <a:pt x="24" y="2"/>
                    <a:pt x="24" y="2"/>
                    <a:pt x="24" y="2"/>
                  </a:cubicBezTo>
                  <a:cubicBezTo>
                    <a:pt x="24" y="1"/>
                    <a:pt x="23" y="0"/>
                    <a:pt x="22" y="0"/>
                  </a:cubicBezTo>
                  <a:close/>
                  <a:moveTo>
                    <a:pt x="10" y="11"/>
                  </a:moveTo>
                  <a:cubicBezTo>
                    <a:pt x="9" y="11"/>
                    <a:pt x="8" y="10"/>
                    <a:pt x="8" y="9"/>
                  </a:cubicBezTo>
                  <a:cubicBezTo>
                    <a:pt x="8" y="8"/>
                    <a:pt x="9" y="7"/>
                    <a:pt x="10" y="7"/>
                  </a:cubicBezTo>
                  <a:cubicBezTo>
                    <a:pt x="11" y="7"/>
                    <a:pt x="12" y="8"/>
                    <a:pt x="12" y="9"/>
                  </a:cubicBezTo>
                  <a:cubicBezTo>
                    <a:pt x="12" y="10"/>
                    <a:pt x="11" y="11"/>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3" name="Picture 2">
            <a:extLst>
              <a:ext uri="{FF2B5EF4-FFF2-40B4-BE49-F238E27FC236}">
                <a16:creationId xmlns:a16="http://schemas.microsoft.com/office/drawing/2014/main" id="{381D9CBF-506F-4957-9C16-068431927959}"/>
              </a:ext>
            </a:extLst>
          </p:cNvPr>
          <p:cNvPicPr>
            <a:picLocks noChangeAspect="1"/>
          </p:cNvPicPr>
          <p:nvPr/>
        </p:nvPicPr>
        <p:blipFill>
          <a:blip r:embed="rId4"/>
          <a:stretch>
            <a:fillRect/>
          </a:stretch>
        </p:blipFill>
        <p:spPr>
          <a:xfrm>
            <a:off x="125743" y="898451"/>
            <a:ext cx="5403899" cy="2707630"/>
          </a:xfrm>
          <a:prstGeom prst="rect">
            <a:avLst/>
          </a:prstGeom>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FE70CC05-3433-4D66-8F6C-7C8518D5F042}"/>
              </a:ext>
            </a:extLst>
          </p:cNvPr>
          <p:cNvPicPr>
            <a:picLocks noChangeAspect="1"/>
          </p:cNvPicPr>
          <p:nvPr/>
        </p:nvPicPr>
        <p:blipFill>
          <a:blip r:embed="rId5"/>
          <a:stretch>
            <a:fillRect/>
          </a:stretch>
        </p:blipFill>
        <p:spPr>
          <a:xfrm>
            <a:off x="6632197" y="898451"/>
            <a:ext cx="5403899" cy="268294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3078320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34">
            <a:extLst>
              <a:ext uri="{FF2B5EF4-FFF2-40B4-BE49-F238E27FC236}">
                <a16:creationId xmlns:a16="http://schemas.microsoft.com/office/drawing/2014/main" id="{F60CD08F-EBE2-4B65-BA6B-D1A5EB5F42BA}"/>
              </a:ext>
            </a:extLst>
          </p:cNvPr>
          <p:cNvSpPr/>
          <p:nvPr/>
        </p:nvSpPr>
        <p:spPr>
          <a:xfrm flipH="1" flipV="1">
            <a:off x="-2" y="5630572"/>
            <a:ext cx="11289323" cy="1227428"/>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A11A548-7F61-4795-AD72-2678C8F9B209}"/>
              </a:ext>
            </a:extLst>
          </p:cNvPr>
          <p:cNvSpPr>
            <a:spLocks noGrp="1"/>
          </p:cNvSpPr>
          <p:nvPr>
            <p:ph type="title"/>
          </p:nvPr>
        </p:nvSpPr>
        <p:spPr>
          <a:xfrm>
            <a:off x="609600" y="365126"/>
            <a:ext cx="6420439" cy="775612"/>
          </a:xfrm>
        </p:spPr>
        <p:txBody>
          <a:bodyPr>
            <a:normAutofit/>
          </a:bodyPr>
          <a:lstStyle/>
          <a:p>
            <a:pPr algn="l"/>
            <a:r>
              <a:rPr lang="en-US" sz="3200" b="1" i="0" dirty="0">
                <a:solidFill>
                  <a:srgbClr val="652D74"/>
                </a:solidFill>
                <a:effectLst/>
                <a:latin typeface="Baskerville Old Face" panose="02020602080505020303" pitchFamily="18" charset="0"/>
              </a:rPr>
              <a:t>Correlation between numerical feature.</a:t>
            </a:r>
          </a:p>
        </p:txBody>
      </p:sp>
      <p:sp>
        <p:nvSpPr>
          <p:cNvPr id="4" name="Slide Number Placeholder 3">
            <a:extLst>
              <a:ext uri="{FF2B5EF4-FFF2-40B4-BE49-F238E27FC236}">
                <a16:creationId xmlns:a16="http://schemas.microsoft.com/office/drawing/2014/main" id="{2D1F42AE-A010-4798-9D6E-0E95ACB644C2}"/>
              </a:ext>
            </a:extLst>
          </p:cNvPr>
          <p:cNvSpPr>
            <a:spLocks noGrp="1"/>
          </p:cNvSpPr>
          <p:nvPr>
            <p:ph type="sldNum" sz="quarter" idx="4"/>
          </p:nvPr>
        </p:nvSpPr>
        <p:spPr/>
        <p:txBody>
          <a:bodyPr/>
          <a:lstStyle/>
          <a:p>
            <a:fld id="{B84D2E29-67F4-44D8-B0E3-F54815B4F123}" type="slidenum">
              <a:rPr lang="en-US" smtClean="0"/>
              <a:pPr/>
              <a:t>16</a:t>
            </a:fld>
            <a:endParaRPr lang="en-US" dirty="0"/>
          </a:p>
        </p:txBody>
      </p:sp>
      <p:sp>
        <p:nvSpPr>
          <p:cNvPr id="12" name="Rectangle 11">
            <a:extLst>
              <a:ext uri="{FF2B5EF4-FFF2-40B4-BE49-F238E27FC236}">
                <a16:creationId xmlns:a16="http://schemas.microsoft.com/office/drawing/2014/main" id="{8B0C1C0B-8FB8-49CF-9CA8-246F4CF76454}"/>
              </a:ext>
            </a:extLst>
          </p:cNvPr>
          <p:cNvSpPr/>
          <p:nvPr/>
        </p:nvSpPr>
        <p:spPr>
          <a:xfrm>
            <a:off x="7628526" y="1093765"/>
            <a:ext cx="3893574" cy="4955203"/>
          </a:xfrm>
          <a:prstGeom prst="rect">
            <a:avLst/>
          </a:prstGeom>
        </p:spPr>
        <p:txBody>
          <a:bodyPr wrap="square" lIns="0" tIns="0" rIns="0" bIns="0">
            <a:spAutoFit/>
          </a:bodyPr>
          <a:lstStyle/>
          <a:p>
            <a:pPr algn="l"/>
            <a:r>
              <a:rPr lang="en-US" sz="1400" b="0" i="0" dirty="0">
                <a:effectLst/>
                <a:latin typeface="Book Antiqua" panose="02040602050305030304" pitchFamily="18" charset="0"/>
              </a:rPr>
              <a:t>Here are the observations from the correlation matrix:</a:t>
            </a:r>
          </a:p>
          <a:p>
            <a:pPr algn="l"/>
            <a:endParaRPr lang="en-US" sz="1400" b="0" i="0" dirty="0">
              <a:effectLst/>
              <a:latin typeface="Book Antiqua" panose="02040602050305030304" pitchFamily="18" charset="0"/>
            </a:endParaRPr>
          </a:p>
          <a:p>
            <a:pPr algn="l"/>
            <a:r>
              <a:rPr lang="en-US" sz="1400" b="0" i="0" dirty="0">
                <a:effectLst/>
                <a:latin typeface="Book Antiqua" panose="02040602050305030304" pitchFamily="18" charset="0"/>
              </a:rPr>
              <a:t>MonthlyCharges and TotalCharges:</a:t>
            </a:r>
          </a:p>
          <a:p>
            <a:pPr algn="l"/>
            <a:r>
              <a:rPr lang="en-US" sz="1400" b="0" i="0" dirty="0">
                <a:effectLst/>
                <a:latin typeface="Book Antiqua" panose="02040602050305030304" pitchFamily="18" charset="0"/>
              </a:rPr>
              <a:t>The correlation coefficient is 0.65, indicating a moderate positive correlation. Higher monthly charges tend to be associated with higher total charges. </a:t>
            </a:r>
          </a:p>
          <a:p>
            <a:pPr algn="l"/>
            <a:endParaRPr lang="en-US" sz="1400" b="0" i="0" dirty="0">
              <a:effectLst/>
              <a:latin typeface="Book Antiqua" panose="02040602050305030304" pitchFamily="18" charset="0"/>
            </a:endParaRPr>
          </a:p>
          <a:p>
            <a:pPr algn="l"/>
            <a:endParaRPr lang="en-US" sz="1400" dirty="0">
              <a:latin typeface="Book Antiqua" panose="02040602050305030304" pitchFamily="18" charset="0"/>
            </a:endParaRPr>
          </a:p>
          <a:p>
            <a:pPr algn="l"/>
            <a:r>
              <a:rPr lang="en-US" sz="1400" b="0" i="0" dirty="0">
                <a:effectLst/>
                <a:latin typeface="Book Antiqua" panose="02040602050305030304" pitchFamily="18" charset="0"/>
              </a:rPr>
              <a:t>TotalCharges and Tenure:</a:t>
            </a:r>
          </a:p>
          <a:p>
            <a:pPr algn="l"/>
            <a:r>
              <a:rPr lang="en-US" sz="1400" b="0" i="0" dirty="0">
                <a:effectLst/>
                <a:latin typeface="Book Antiqua" panose="02040602050305030304" pitchFamily="18" charset="0"/>
              </a:rPr>
              <a:t>The correlation coefficient is 0.83, which shows a strong positive correlation. Customers with a longer tenure are likely to have higher total charges. </a:t>
            </a:r>
          </a:p>
          <a:p>
            <a:pPr algn="l"/>
            <a:endParaRPr lang="en-US" sz="1400" dirty="0">
              <a:latin typeface="Book Antiqua" panose="02040602050305030304" pitchFamily="18" charset="0"/>
            </a:endParaRPr>
          </a:p>
          <a:p>
            <a:pPr algn="l"/>
            <a:endParaRPr lang="en-US" sz="1400" dirty="0">
              <a:latin typeface="Book Antiqua" panose="02040602050305030304" pitchFamily="18" charset="0"/>
            </a:endParaRPr>
          </a:p>
          <a:p>
            <a:pPr algn="l"/>
            <a:endParaRPr lang="en-US" sz="1400" dirty="0">
              <a:latin typeface="Book Antiqua" panose="02040602050305030304" pitchFamily="18" charset="0"/>
            </a:endParaRPr>
          </a:p>
          <a:p>
            <a:pPr algn="l"/>
            <a:r>
              <a:rPr lang="en-US" sz="1400" b="0" i="0" dirty="0">
                <a:effectLst/>
                <a:latin typeface="Book Antiqua" panose="02040602050305030304" pitchFamily="18" charset="0"/>
              </a:rPr>
              <a:t>MonthlyCharges and Tenure:</a:t>
            </a:r>
          </a:p>
          <a:p>
            <a:pPr algn="l"/>
            <a:r>
              <a:rPr lang="en-US" sz="1400" b="0" i="0" dirty="0">
                <a:effectLst/>
                <a:latin typeface="Book Antiqua" panose="02040602050305030304" pitchFamily="18" charset="0"/>
              </a:rPr>
              <a:t>The correlation coefficient is 0.25, suggesting a weak positive correlation. There is only a slight tendency for customers with higher monthly charges to have longer tenure.</a:t>
            </a:r>
          </a:p>
        </p:txBody>
      </p:sp>
      <p:sp>
        <p:nvSpPr>
          <p:cNvPr id="21" name="Rectangle 20">
            <a:extLst>
              <a:ext uri="{FF2B5EF4-FFF2-40B4-BE49-F238E27FC236}">
                <a16:creationId xmlns:a16="http://schemas.microsoft.com/office/drawing/2014/main" id="{5571CFD3-0772-4E3B-BFE8-D41C5244E13B}"/>
              </a:ext>
            </a:extLst>
          </p:cNvPr>
          <p:cNvSpPr/>
          <p:nvPr/>
        </p:nvSpPr>
        <p:spPr>
          <a:xfrm>
            <a:off x="376821" y="6134402"/>
            <a:ext cx="10912500" cy="553998"/>
          </a:xfrm>
          <a:prstGeom prst="rect">
            <a:avLst/>
          </a:prstGeom>
        </p:spPr>
        <p:txBody>
          <a:bodyPr wrap="square" lIns="0" tIns="0" rIns="0" bIns="0">
            <a:spAutoFit/>
          </a:bodyPr>
          <a:lstStyle/>
          <a:p>
            <a:r>
              <a:rPr lang="en-US" dirty="0">
                <a:solidFill>
                  <a:schemeClr val="bg1"/>
                </a:solidFill>
                <a:latin typeface="Book Antiqua" panose="02040602050305030304" pitchFamily="18" charset="0"/>
              </a:rPr>
              <a:t>Observations:</a:t>
            </a:r>
          </a:p>
          <a:p>
            <a:r>
              <a:rPr lang="en-US" dirty="0">
                <a:solidFill>
                  <a:schemeClr val="bg1"/>
                </a:solidFill>
                <a:latin typeface="Book Antiqua" panose="02040602050305030304" pitchFamily="18" charset="0"/>
              </a:rPr>
              <a:t>The Columns “Total Charges” and “tenure” are very highly correlated.</a:t>
            </a:r>
          </a:p>
        </p:txBody>
      </p:sp>
      <p:cxnSp>
        <p:nvCxnSpPr>
          <p:cNvPr id="25" name="Straight Connector 24">
            <a:extLst>
              <a:ext uri="{FF2B5EF4-FFF2-40B4-BE49-F238E27FC236}">
                <a16:creationId xmlns:a16="http://schemas.microsoft.com/office/drawing/2014/main" id="{EA938F8A-8D1F-4BCD-A96F-9AEB4D2D688F}"/>
              </a:ext>
            </a:extLst>
          </p:cNvPr>
          <p:cNvCxnSpPr/>
          <p:nvPr/>
        </p:nvCxnSpPr>
        <p:spPr>
          <a:xfrm>
            <a:off x="7669161" y="2911417"/>
            <a:ext cx="4532671"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19FBDD5-D57E-40DC-8205-A3C721A13919}"/>
              </a:ext>
            </a:extLst>
          </p:cNvPr>
          <p:cNvCxnSpPr/>
          <p:nvPr/>
        </p:nvCxnSpPr>
        <p:spPr>
          <a:xfrm>
            <a:off x="7669161" y="4557413"/>
            <a:ext cx="4532671"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B6E3B2EF-D10F-43C8-9218-68A9C68DA652}"/>
              </a:ext>
            </a:extLst>
          </p:cNvPr>
          <p:cNvGrpSpPr/>
          <p:nvPr/>
        </p:nvGrpSpPr>
        <p:grpSpPr>
          <a:xfrm>
            <a:off x="6468857" y="3301027"/>
            <a:ext cx="866776" cy="866776"/>
            <a:chOff x="6468857" y="3301027"/>
            <a:chExt cx="866776" cy="866776"/>
          </a:xfrm>
        </p:grpSpPr>
        <p:grpSp>
          <p:nvGrpSpPr>
            <p:cNvPr id="15" name="Group 14">
              <a:extLst>
                <a:ext uri="{FF2B5EF4-FFF2-40B4-BE49-F238E27FC236}">
                  <a16:creationId xmlns:a16="http://schemas.microsoft.com/office/drawing/2014/main" id="{AAB00F0A-8FF9-49FE-8F82-6AC6E3ABB14D}"/>
                </a:ext>
              </a:extLst>
            </p:cNvPr>
            <p:cNvGrpSpPr/>
            <p:nvPr/>
          </p:nvGrpSpPr>
          <p:grpSpPr>
            <a:xfrm>
              <a:off x="6468857" y="3301027"/>
              <a:ext cx="866776" cy="866776"/>
              <a:chOff x="6705600" y="1238250"/>
              <a:chExt cx="866776" cy="866776"/>
            </a:xfrm>
          </p:grpSpPr>
          <p:sp>
            <p:nvSpPr>
              <p:cNvPr id="17" name="Oval 16">
                <a:extLst>
                  <a:ext uri="{FF2B5EF4-FFF2-40B4-BE49-F238E27FC236}">
                    <a16:creationId xmlns:a16="http://schemas.microsoft.com/office/drawing/2014/main" id="{E8720380-6353-4026-AA03-E4E6C6BBE8F9}"/>
                  </a:ext>
                </a:extLst>
              </p:cNvPr>
              <p:cNvSpPr/>
              <p:nvPr/>
            </p:nvSpPr>
            <p:spPr>
              <a:xfrm>
                <a:off x="6705600" y="1238250"/>
                <a:ext cx="866776" cy="866776"/>
              </a:xfrm>
              <a:prstGeom prst="ellipse">
                <a:avLst/>
              </a:prstGeom>
              <a:gradFill>
                <a:gsLst>
                  <a:gs pos="2100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Oval 17">
                <a:extLst>
                  <a:ext uri="{FF2B5EF4-FFF2-40B4-BE49-F238E27FC236}">
                    <a16:creationId xmlns:a16="http://schemas.microsoft.com/office/drawing/2014/main" id="{4A35B550-AE1B-485C-91F5-C9FA070127CE}"/>
                  </a:ext>
                </a:extLst>
              </p:cNvPr>
              <p:cNvSpPr/>
              <p:nvPr/>
            </p:nvSpPr>
            <p:spPr>
              <a:xfrm>
                <a:off x="6800851" y="1333501"/>
                <a:ext cx="676275" cy="676275"/>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8" name="Group 27">
              <a:extLst>
                <a:ext uri="{FF2B5EF4-FFF2-40B4-BE49-F238E27FC236}">
                  <a16:creationId xmlns:a16="http://schemas.microsoft.com/office/drawing/2014/main" id="{D938FF5F-8DF2-4925-9BAE-D3DC67DAB8BE}"/>
                </a:ext>
              </a:extLst>
            </p:cNvPr>
            <p:cNvGrpSpPr/>
            <p:nvPr/>
          </p:nvGrpSpPr>
          <p:grpSpPr>
            <a:xfrm>
              <a:off x="6722064" y="3562171"/>
              <a:ext cx="360363" cy="344488"/>
              <a:chOff x="4833938" y="3983038"/>
              <a:chExt cx="360363" cy="344488"/>
            </a:xfrm>
            <a:solidFill>
              <a:schemeClr val="accent1"/>
            </a:solidFill>
          </p:grpSpPr>
          <p:sp>
            <p:nvSpPr>
              <p:cNvPr id="29" name="Freeform 76">
                <a:extLst>
                  <a:ext uri="{FF2B5EF4-FFF2-40B4-BE49-F238E27FC236}">
                    <a16:creationId xmlns:a16="http://schemas.microsoft.com/office/drawing/2014/main" id="{5B2B1AD7-3F99-47C3-879B-7E6B1F00C8C8}"/>
                  </a:ext>
                </a:extLst>
              </p:cNvPr>
              <p:cNvSpPr>
                <a:spLocks/>
              </p:cNvSpPr>
              <p:nvPr/>
            </p:nvSpPr>
            <p:spPr bwMode="auto">
              <a:xfrm>
                <a:off x="4833938" y="4179888"/>
                <a:ext cx="74613" cy="128588"/>
              </a:xfrm>
              <a:custGeom>
                <a:avLst/>
                <a:gdLst>
                  <a:gd name="T0" fmla="*/ 18 w 20"/>
                  <a:gd name="T1" fmla="*/ 0 h 34"/>
                  <a:gd name="T2" fmla="*/ 2 w 20"/>
                  <a:gd name="T3" fmla="*/ 0 h 34"/>
                  <a:gd name="T4" fmla="*/ 0 w 20"/>
                  <a:gd name="T5" fmla="*/ 2 h 34"/>
                  <a:gd name="T6" fmla="*/ 0 w 20"/>
                  <a:gd name="T7" fmla="*/ 32 h 34"/>
                  <a:gd name="T8" fmla="*/ 2 w 20"/>
                  <a:gd name="T9" fmla="*/ 34 h 34"/>
                  <a:gd name="T10" fmla="*/ 18 w 20"/>
                  <a:gd name="T11" fmla="*/ 34 h 34"/>
                  <a:gd name="T12" fmla="*/ 20 w 20"/>
                  <a:gd name="T13" fmla="*/ 32 h 34"/>
                  <a:gd name="T14" fmla="*/ 20 w 20"/>
                  <a:gd name="T15" fmla="*/ 2 h 34"/>
                  <a:gd name="T16" fmla="*/ 18 w 20"/>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8" y="0"/>
                    </a:moveTo>
                    <a:cubicBezTo>
                      <a:pt x="2" y="0"/>
                      <a:pt x="2" y="0"/>
                      <a:pt x="2" y="0"/>
                    </a:cubicBezTo>
                    <a:cubicBezTo>
                      <a:pt x="1" y="0"/>
                      <a:pt x="0" y="1"/>
                      <a:pt x="0" y="2"/>
                    </a:cubicBezTo>
                    <a:cubicBezTo>
                      <a:pt x="0" y="32"/>
                      <a:pt x="0" y="32"/>
                      <a:pt x="0" y="32"/>
                    </a:cubicBezTo>
                    <a:cubicBezTo>
                      <a:pt x="0" y="33"/>
                      <a:pt x="1" y="34"/>
                      <a:pt x="2" y="34"/>
                    </a:cubicBezTo>
                    <a:cubicBezTo>
                      <a:pt x="18" y="34"/>
                      <a:pt x="18" y="34"/>
                      <a:pt x="18" y="34"/>
                    </a:cubicBezTo>
                    <a:cubicBezTo>
                      <a:pt x="19" y="34"/>
                      <a:pt x="20" y="33"/>
                      <a:pt x="20" y="32"/>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77">
                <a:extLst>
                  <a:ext uri="{FF2B5EF4-FFF2-40B4-BE49-F238E27FC236}">
                    <a16:creationId xmlns:a16="http://schemas.microsoft.com/office/drawing/2014/main" id="{601333FD-2B5A-4476-82DB-98409CE8E2D1}"/>
                  </a:ext>
                </a:extLst>
              </p:cNvPr>
              <p:cNvSpPr>
                <a:spLocks/>
              </p:cNvSpPr>
              <p:nvPr/>
            </p:nvSpPr>
            <p:spPr bwMode="auto">
              <a:xfrm>
                <a:off x="4916488" y="4194176"/>
                <a:ext cx="277813" cy="133350"/>
              </a:xfrm>
              <a:custGeom>
                <a:avLst/>
                <a:gdLst>
                  <a:gd name="T0" fmla="*/ 73 w 74"/>
                  <a:gd name="T1" fmla="*/ 13 h 35"/>
                  <a:gd name="T2" fmla="*/ 59 w 74"/>
                  <a:gd name="T3" fmla="*/ 8 h 35"/>
                  <a:gd name="T4" fmla="*/ 47 w 74"/>
                  <a:gd name="T5" fmla="*/ 12 h 35"/>
                  <a:gd name="T6" fmla="*/ 47 w 74"/>
                  <a:gd name="T7" fmla="*/ 14 h 35"/>
                  <a:gd name="T8" fmla="*/ 45 w 74"/>
                  <a:gd name="T9" fmla="*/ 21 h 35"/>
                  <a:gd name="T10" fmla="*/ 38 w 74"/>
                  <a:gd name="T11" fmla="*/ 24 h 35"/>
                  <a:gd name="T12" fmla="*/ 18 w 74"/>
                  <a:gd name="T13" fmla="*/ 24 h 35"/>
                  <a:gd name="T14" fmla="*/ 16 w 74"/>
                  <a:gd name="T15" fmla="*/ 22 h 35"/>
                  <a:gd name="T16" fmla="*/ 18 w 74"/>
                  <a:gd name="T17" fmla="*/ 20 h 35"/>
                  <a:gd name="T18" fmla="*/ 38 w 74"/>
                  <a:gd name="T19" fmla="*/ 20 h 35"/>
                  <a:gd name="T20" fmla="*/ 42 w 74"/>
                  <a:gd name="T21" fmla="*/ 18 h 35"/>
                  <a:gd name="T22" fmla="*/ 43 w 74"/>
                  <a:gd name="T23" fmla="*/ 14 h 35"/>
                  <a:gd name="T24" fmla="*/ 38 w 74"/>
                  <a:gd name="T25" fmla="*/ 8 h 35"/>
                  <a:gd name="T26" fmla="*/ 27 w 74"/>
                  <a:gd name="T27" fmla="*/ 8 h 35"/>
                  <a:gd name="T28" fmla="*/ 26 w 74"/>
                  <a:gd name="T29" fmla="*/ 8 h 35"/>
                  <a:gd name="T30" fmla="*/ 25 w 74"/>
                  <a:gd name="T31" fmla="*/ 7 h 35"/>
                  <a:gd name="T32" fmla="*/ 8 w 74"/>
                  <a:gd name="T33" fmla="*/ 0 h 35"/>
                  <a:gd name="T34" fmla="*/ 2 w 74"/>
                  <a:gd name="T35" fmla="*/ 0 h 35"/>
                  <a:gd name="T36" fmla="*/ 0 w 74"/>
                  <a:gd name="T37" fmla="*/ 2 h 35"/>
                  <a:gd name="T38" fmla="*/ 0 w 74"/>
                  <a:gd name="T39" fmla="*/ 24 h 35"/>
                  <a:gd name="T40" fmla="*/ 1 w 74"/>
                  <a:gd name="T41" fmla="*/ 26 h 35"/>
                  <a:gd name="T42" fmla="*/ 16 w 74"/>
                  <a:gd name="T43" fmla="*/ 31 h 35"/>
                  <a:gd name="T44" fmla="*/ 32 w 74"/>
                  <a:gd name="T45" fmla="*/ 35 h 35"/>
                  <a:gd name="T46" fmla="*/ 49 w 74"/>
                  <a:gd name="T47" fmla="*/ 29 h 35"/>
                  <a:gd name="T48" fmla="*/ 73 w 74"/>
                  <a:gd name="T49" fmla="*/ 16 h 35"/>
                  <a:gd name="T50" fmla="*/ 74 w 74"/>
                  <a:gd name="T51" fmla="*/ 14 h 35"/>
                  <a:gd name="T52" fmla="*/ 73 w 74"/>
                  <a:gd name="T53"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 h="35">
                    <a:moveTo>
                      <a:pt x="73" y="13"/>
                    </a:moveTo>
                    <a:cubicBezTo>
                      <a:pt x="69" y="8"/>
                      <a:pt x="65" y="7"/>
                      <a:pt x="59" y="8"/>
                    </a:cubicBezTo>
                    <a:cubicBezTo>
                      <a:pt x="47" y="12"/>
                      <a:pt x="47" y="12"/>
                      <a:pt x="47" y="12"/>
                    </a:cubicBezTo>
                    <a:cubicBezTo>
                      <a:pt x="47" y="13"/>
                      <a:pt x="47" y="13"/>
                      <a:pt x="47" y="14"/>
                    </a:cubicBezTo>
                    <a:cubicBezTo>
                      <a:pt x="47" y="17"/>
                      <a:pt x="47" y="19"/>
                      <a:pt x="45" y="21"/>
                    </a:cubicBezTo>
                    <a:cubicBezTo>
                      <a:pt x="43" y="23"/>
                      <a:pt x="41" y="24"/>
                      <a:pt x="38" y="24"/>
                    </a:cubicBezTo>
                    <a:cubicBezTo>
                      <a:pt x="18" y="24"/>
                      <a:pt x="18" y="24"/>
                      <a:pt x="18" y="24"/>
                    </a:cubicBezTo>
                    <a:cubicBezTo>
                      <a:pt x="17" y="24"/>
                      <a:pt x="16" y="23"/>
                      <a:pt x="16" y="22"/>
                    </a:cubicBezTo>
                    <a:cubicBezTo>
                      <a:pt x="16" y="21"/>
                      <a:pt x="17" y="20"/>
                      <a:pt x="18" y="20"/>
                    </a:cubicBezTo>
                    <a:cubicBezTo>
                      <a:pt x="38" y="20"/>
                      <a:pt x="38" y="20"/>
                      <a:pt x="38" y="20"/>
                    </a:cubicBezTo>
                    <a:cubicBezTo>
                      <a:pt x="40" y="20"/>
                      <a:pt x="41" y="19"/>
                      <a:pt x="42" y="18"/>
                    </a:cubicBezTo>
                    <a:cubicBezTo>
                      <a:pt x="43" y="17"/>
                      <a:pt x="43" y="16"/>
                      <a:pt x="43" y="14"/>
                    </a:cubicBezTo>
                    <a:cubicBezTo>
                      <a:pt x="43" y="12"/>
                      <a:pt x="42" y="8"/>
                      <a:pt x="38" y="8"/>
                    </a:cubicBezTo>
                    <a:cubicBezTo>
                      <a:pt x="27" y="8"/>
                      <a:pt x="27" y="8"/>
                      <a:pt x="27" y="8"/>
                    </a:cubicBezTo>
                    <a:cubicBezTo>
                      <a:pt x="26" y="8"/>
                      <a:pt x="26" y="8"/>
                      <a:pt x="26" y="8"/>
                    </a:cubicBezTo>
                    <a:cubicBezTo>
                      <a:pt x="25" y="8"/>
                      <a:pt x="25" y="8"/>
                      <a:pt x="25" y="7"/>
                    </a:cubicBezTo>
                    <a:cubicBezTo>
                      <a:pt x="23" y="6"/>
                      <a:pt x="17" y="0"/>
                      <a:pt x="8" y="0"/>
                    </a:cubicBezTo>
                    <a:cubicBezTo>
                      <a:pt x="2" y="0"/>
                      <a:pt x="2" y="0"/>
                      <a:pt x="2" y="0"/>
                    </a:cubicBezTo>
                    <a:cubicBezTo>
                      <a:pt x="1" y="0"/>
                      <a:pt x="0" y="1"/>
                      <a:pt x="0" y="2"/>
                    </a:cubicBezTo>
                    <a:cubicBezTo>
                      <a:pt x="0" y="24"/>
                      <a:pt x="0" y="24"/>
                      <a:pt x="0" y="24"/>
                    </a:cubicBezTo>
                    <a:cubicBezTo>
                      <a:pt x="0" y="25"/>
                      <a:pt x="1" y="26"/>
                      <a:pt x="1" y="26"/>
                    </a:cubicBezTo>
                    <a:cubicBezTo>
                      <a:pt x="8" y="28"/>
                      <a:pt x="12" y="30"/>
                      <a:pt x="16" y="31"/>
                    </a:cubicBezTo>
                    <a:cubicBezTo>
                      <a:pt x="24" y="34"/>
                      <a:pt x="28" y="35"/>
                      <a:pt x="32" y="35"/>
                    </a:cubicBezTo>
                    <a:cubicBezTo>
                      <a:pt x="37" y="35"/>
                      <a:pt x="41" y="33"/>
                      <a:pt x="49" y="29"/>
                    </a:cubicBezTo>
                    <a:cubicBezTo>
                      <a:pt x="54" y="26"/>
                      <a:pt x="62" y="21"/>
                      <a:pt x="73" y="16"/>
                    </a:cubicBezTo>
                    <a:cubicBezTo>
                      <a:pt x="73" y="15"/>
                      <a:pt x="74" y="15"/>
                      <a:pt x="74" y="14"/>
                    </a:cubicBezTo>
                    <a:cubicBezTo>
                      <a:pt x="74" y="14"/>
                      <a:pt x="74" y="13"/>
                      <a:pt x="7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78">
                <a:extLst>
                  <a:ext uri="{FF2B5EF4-FFF2-40B4-BE49-F238E27FC236}">
                    <a16:creationId xmlns:a16="http://schemas.microsoft.com/office/drawing/2014/main" id="{91EA57DC-1843-4D27-AA00-2DBFF272DCE0}"/>
                  </a:ext>
                </a:extLst>
              </p:cNvPr>
              <p:cNvSpPr>
                <a:spLocks noEditPoints="1"/>
              </p:cNvSpPr>
              <p:nvPr/>
            </p:nvSpPr>
            <p:spPr bwMode="auto">
              <a:xfrm>
                <a:off x="5037138" y="3983038"/>
                <a:ext cx="104775" cy="106363"/>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12 w 28"/>
                  <a:gd name="T11" fmla="*/ 10 h 28"/>
                  <a:gd name="T12" fmla="*/ 14 w 28"/>
                  <a:gd name="T13" fmla="*/ 8 h 28"/>
                  <a:gd name="T14" fmla="*/ 16 w 28"/>
                  <a:gd name="T15" fmla="*/ 10 h 28"/>
                  <a:gd name="T16" fmla="*/ 16 w 28"/>
                  <a:gd name="T17" fmla="*/ 18 h 28"/>
                  <a:gd name="T18" fmla="*/ 14 w 28"/>
                  <a:gd name="T19" fmla="*/ 20 h 28"/>
                  <a:gd name="T20" fmla="*/ 12 w 28"/>
                  <a:gd name="T21" fmla="*/ 18 h 28"/>
                  <a:gd name="T22" fmla="*/ 12 w 28"/>
                  <a:gd name="T23"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12" y="10"/>
                    </a:moveTo>
                    <a:cubicBezTo>
                      <a:pt x="12" y="9"/>
                      <a:pt x="13" y="8"/>
                      <a:pt x="14" y="8"/>
                    </a:cubicBezTo>
                    <a:cubicBezTo>
                      <a:pt x="15" y="8"/>
                      <a:pt x="16" y="9"/>
                      <a:pt x="16" y="10"/>
                    </a:cubicBezTo>
                    <a:cubicBezTo>
                      <a:pt x="16" y="18"/>
                      <a:pt x="16" y="18"/>
                      <a:pt x="16" y="18"/>
                    </a:cubicBezTo>
                    <a:cubicBezTo>
                      <a:pt x="16" y="19"/>
                      <a:pt x="15" y="20"/>
                      <a:pt x="14" y="20"/>
                    </a:cubicBezTo>
                    <a:cubicBezTo>
                      <a:pt x="13" y="20"/>
                      <a:pt x="12" y="19"/>
                      <a:pt x="12" y="18"/>
                    </a:cubicBez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79">
                <a:extLst>
                  <a:ext uri="{FF2B5EF4-FFF2-40B4-BE49-F238E27FC236}">
                    <a16:creationId xmlns:a16="http://schemas.microsoft.com/office/drawing/2014/main" id="{1643BE21-BE4D-4AE7-BE1A-5CADBFE25361}"/>
                  </a:ext>
                </a:extLst>
              </p:cNvPr>
              <p:cNvSpPr>
                <a:spLocks noEditPoints="1"/>
              </p:cNvSpPr>
              <p:nvPr/>
            </p:nvSpPr>
            <p:spPr bwMode="auto">
              <a:xfrm>
                <a:off x="4968875" y="4089401"/>
                <a:ext cx="104775" cy="104775"/>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12 w 28"/>
                  <a:gd name="T11" fmla="*/ 10 h 28"/>
                  <a:gd name="T12" fmla="*/ 14 w 28"/>
                  <a:gd name="T13" fmla="*/ 8 h 28"/>
                  <a:gd name="T14" fmla="*/ 16 w 28"/>
                  <a:gd name="T15" fmla="*/ 10 h 28"/>
                  <a:gd name="T16" fmla="*/ 16 w 28"/>
                  <a:gd name="T17" fmla="*/ 18 h 28"/>
                  <a:gd name="T18" fmla="*/ 14 w 28"/>
                  <a:gd name="T19" fmla="*/ 20 h 28"/>
                  <a:gd name="T20" fmla="*/ 12 w 28"/>
                  <a:gd name="T21" fmla="*/ 18 h 28"/>
                  <a:gd name="T22" fmla="*/ 12 w 28"/>
                  <a:gd name="T23"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12" y="10"/>
                    </a:moveTo>
                    <a:cubicBezTo>
                      <a:pt x="12" y="9"/>
                      <a:pt x="13" y="8"/>
                      <a:pt x="14" y="8"/>
                    </a:cubicBezTo>
                    <a:cubicBezTo>
                      <a:pt x="15" y="8"/>
                      <a:pt x="16" y="9"/>
                      <a:pt x="16" y="10"/>
                    </a:cubicBezTo>
                    <a:cubicBezTo>
                      <a:pt x="16" y="18"/>
                      <a:pt x="16" y="18"/>
                      <a:pt x="16" y="18"/>
                    </a:cubicBezTo>
                    <a:cubicBezTo>
                      <a:pt x="16" y="19"/>
                      <a:pt x="15" y="20"/>
                      <a:pt x="14" y="20"/>
                    </a:cubicBezTo>
                    <a:cubicBezTo>
                      <a:pt x="13" y="20"/>
                      <a:pt x="12" y="19"/>
                      <a:pt x="12" y="18"/>
                    </a:cubicBez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42" name="Group 41">
            <a:extLst>
              <a:ext uri="{FF2B5EF4-FFF2-40B4-BE49-F238E27FC236}">
                <a16:creationId xmlns:a16="http://schemas.microsoft.com/office/drawing/2014/main" id="{9FD860A7-32CC-4002-BDB8-A9E0CB4858CE}"/>
              </a:ext>
            </a:extLst>
          </p:cNvPr>
          <p:cNvGrpSpPr/>
          <p:nvPr/>
        </p:nvGrpSpPr>
        <p:grpSpPr>
          <a:xfrm>
            <a:off x="6468857" y="4976205"/>
            <a:ext cx="866776" cy="866776"/>
            <a:chOff x="6468857" y="4976205"/>
            <a:chExt cx="866776" cy="866776"/>
          </a:xfrm>
        </p:grpSpPr>
        <p:grpSp>
          <p:nvGrpSpPr>
            <p:cNvPr id="20" name="Group 19">
              <a:extLst>
                <a:ext uri="{FF2B5EF4-FFF2-40B4-BE49-F238E27FC236}">
                  <a16:creationId xmlns:a16="http://schemas.microsoft.com/office/drawing/2014/main" id="{CB7D27A5-556B-417B-B0EE-897F2649D109}"/>
                </a:ext>
              </a:extLst>
            </p:cNvPr>
            <p:cNvGrpSpPr/>
            <p:nvPr/>
          </p:nvGrpSpPr>
          <p:grpSpPr>
            <a:xfrm>
              <a:off x="6468857" y="4976205"/>
              <a:ext cx="866776" cy="866776"/>
              <a:chOff x="6705600" y="1238250"/>
              <a:chExt cx="866776" cy="866776"/>
            </a:xfrm>
          </p:grpSpPr>
          <p:sp>
            <p:nvSpPr>
              <p:cNvPr id="22" name="Oval 21">
                <a:extLst>
                  <a:ext uri="{FF2B5EF4-FFF2-40B4-BE49-F238E27FC236}">
                    <a16:creationId xmlns:a16="http://schemas.microsoft.com/office/drawing/2014/main" id="{9F88E9E5-CD0D-4949-AFDC-1FF41740A4E9}"/>
                  </a:ext>
                </a:extLst>
              </p:cNvPr>
              <p:cNvSpPr/>
              <p:nvPr/>
            </p:nvSpPr>
            <p:spPr>
              <a:xfrm>
                <a:off x="6705600" y="1238250"/>
                <a:ext cx="866776" cy="866776"/>
              </a:xfrm>
              <a:prstGeom prst="ellipse">
                <a:avLst/>
              </a:prstGeom>
              <a:gradFill>
                <a:gsLst>
                  <a:gs pos="2100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3" name="Oval 22">
                <a:extLst>
                  <a:ext uri="{FF2B5EF4-FFF2-40B4-BE49-F238E27FC236}">
                    <a16:creationId xmlns:a16="http://schemas.microsoft.com/office/drawing/2014/main" id="{C2E39987-BF7A-4372-9CBE-35BA1CAC6CA0}"/>
                  </a:ext>
                </a:extLst>
              </p:cNvPr>
              <p:cNvSpPr/>
              <p:nvPr/>
            </p:nvSpPr>
            <p:spPr>
              <a:xfrm>
                <a:off x="6800851" y="1333501"/>
                <a:ext cx="676275" cy="676275"/>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a:extLst>
                <a:ext uri="{FF2B5EF4-FFF2-40B4-BE49-F238E27FC236}">
                  <a16:creationId xmlns:a16="http://schemas.microsoft.com/office/drawing/2014/main" id="{E3D91512-9E0B-4EA8-A132-1A5B0CCF507C}"/>
                </a:ext>
              </a:extLst>
            </p:cNvPr>
            <p:cNvGrpSpPr/>
            <p:nvPr/>
          </p:nvGrpSpPr>
          <p:grpSpPr>
            <a:xfrm>
              <a:off x="6722064" y="5233381"/>
              <a:ext cx="360363" cy="352425"/>
              <a:chOff x="2676526" y="4681538"/>
              <a:chExt cx="360363" cy="352425"/>
            </a:xfrm>
            <a:solidFill>
              <a:schemeClr val="accent1"/>
            </a:solidFill>
          </p:grpSpPr>
          <p:sp>
            <p:nvSpPr>
              <p:cNvPr id="34" name="Freeform 26">
                <a:extLst>
                  <a:ext uri="{FF2B5EF4-FFF2-40B4-BE49-F238E27FC236}">
                    <a16:creationId xmlns:a16="http://schemas.microsoft.com/office/drawing/2014/main" id="{B778D83E-7188-492D-90A2-66BD9910069A}"/>
                  </a:ext>
                </a:extLst>
              </p:cNvPr>
              <p:cNvSpPr>
                <a:spLocks/>
              </p:cNvSpPr>
              <p:nvPr/>
            </p:nvSpPr>
            <p:spPr bwMode="auto">
              <a:xfrm>
                <a:off x="2676526" y="4794250"/>
                <a:ext cx="360363" cy="239713"/>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18 h 64"/>
                  <a:gd name="T18" fmla="*/ 66 w 96"/>
                  <a:gd name="T19" fmla="*/ 16 h 64"/>
                  <a:gd name="T20" fmla="*/ 54 w 96"/>
                  <a:gd name="T21" fmla="*/ 16 h 64"/>
                  <a:gd name="T22" fmla="*/ 52 w 96"/>
                  <a:gd name="T23" fmla="*/ 18 h 64"/>
                  <a:gd name="T24" fmla="*/ 52 w 96"/>
                  <a:gd name="T25" fmla="*/ 60 h 64"/>
                  <a:gd name="T26" fmla="*/ 44 w 96"/>
                  <a:gd name="T27" fmla="*/ 60 h 64"/>
                  <a:gd name="T28" fmla="*/ 44 w 96"/>
                  <a:gd name="T29" fmla="*/ 34 h 64"/>
                  <a:gd name="T30" fmla="*/ 42 w 96"/>
                  <a:gd name="T31" fmla="*/ 32 h 64"/>
                  <a:gd name="T32" fmla="*/ 30 w 96"/>
                  <a:gd name="T33" fmla="*/ 32 h 64"/>
                  <a:gd name="T34" fmla="*/ 28 w 96"/>
                  <a:gd name="T35" fmla="*/ 34 h 64"/>
                  <a:gd name="T36" fmla="*/ 28 w 96"/>
                  <a:gd name="T37" fmla="*/ 60 h 64"/>
                  <a:gd name="T38" fmla="*/ 20 w 96"/>
                  <a:gd name="T39" fmla="*/ 60 h 64"/>
                  <a:gd name="T40" fmla="*/ 20 w 96"/>
                  <a:gd name="T41" fmla="*/ 50 h 64"/>
                  <a:gd name="T42" fmla="*/ 18 w 96"/>
                  <a:gd name="T43" fmla="*/ 48 h 64"/>
                  <a:gd name="T44" fmla="*/ 6 w 96"/>
                  <a:gd name="T45" fmla="*/ 48 h 64"/>
                  <a:gd name="T46" fmla="*/ 4 w 96"/>
                  <a:gd name="T47" fmla="*/ 50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18"/>
                      <a:pt x="68" y="18"/>
                      <a:pt x="68" y="18"/>
                    </a:cubicBezTo>
                    <a:cubicBezTo>
                      <a:pt x="68" y="17"/>
                      <a:pt x="67" y="16"/>
                      <a:pt x="66" y="16"/>
                    </a:cubicBezTo>
                    <a:cubicBezTo>
                      <a:pt x="54" y="16"/>
                      <a:pt x="54" y="16"/>
                      <a:pt x="54" y="16"/>
                    </a:cubicBezTo>
                    <a:cubicBezTo>
                      <a:pt x="53" y="16"/>
                      <a:pt x="52" y="17"/>
                      <a:pt x="52" y="18"/>
                    </a:cubicBezTo>
                    <a:cubicBezTo>
                      <a:pt x="52" y="60"/>
                      <a:pt x="52" y="60"/>
                      <a:pt x="52" y="60"/>
                    </a:cubicBezTo>
                    <a:cubicBezTo>
                      <a:pt x="44" y="60"/>
                      <a:pt x="44" y="60"/>
                      <a:pt x="44" y="60"/>
                    </a:cubicBezTo>
                    <a:cubicBezTo>
                      <a:pt x="44" y="34"/>
                      <a:pt x="44" y="34"/>
                      <a:pt x="44" y="34"/>
                    </a:cubicBezTo>
                    <a:cubicBezTo>
                      <a:pt x="44" y="33"/>
                      <a:pt x="43" y="32"/>
                      <a:pt x="42" y="32"/>
                    </a:cubicBezTo>
                    <a:cubicBezTo>
                      <a:pt x="30" y="32"/>
                      <a:pt x="30" y="32"/>
                      <a:pt x="30" y="32"/>
                    </a:cubicBezTo>
                    <a:cubicBezTo>
                      <a:pt x="29" y="32"/>
                      <a:pt x="28" y="33"/>
                      <a:pt x="28" y="34"/>
                    </a:cubicBezTo>
                    <a:cubicBezTo>
                      <a:pt x="28" y="60"/>
                      <a:pt x="28" y="60"/>
                      <a:pt x="28" y="60"/>
                    </a:cubicBezTo>
                    <a:cubicBezTo>
                      <a:pt x="20" y="60"/>
                      <a:pt x="20" y="60"/>
                      <a:pt x="20" y="60"/>
                    </a:cubicBezTo>
                    <a:cubicBezTo>
                      <a:pt x="20" y="50"/>
                      <a:pt x="20" y="50"/>
                      <a:pt x="20" y="50"/>
                    </a:cubicBezTo>
                    <a:cubicBezTo>
                      <a:pt x="20" y="49"/>
                      <a:pt x="19" y="48"/>
                      <a:pt x="18" y="48"/>
                    </a:cubicBezTo>
                    <a:cubicBezTo>
                      <a:pt x="6" y="48"/>
                      <a:pt x="6" y="48"/>
                      <a:pt x="6" y="48"/>
                    </a:cubicBezTo>
                    <a:cubicBezTo>
                      <a:pt x="5" y="48"/>
                      <a:pt x="4" y="49"/>
                      <a:pt x="4" y="50"/>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27">
                <a:extLst>
                  <a:ext uri="{FF2B5EF4-FFF2-40B4-BE49-F238E27FC236}">
                    <a16:creationId xmlns:a16="http://schemas.microsoft.com/office/drawing/2014/main" id="{554294EA-37B2-49C2-8C26-C3485A727D75}"/>
                  </a:ext>
                </a:extLst>
              </p:cNvPr>
              <p:cNvSpPr>
                <a:spLocks/>
              </p:cNvSpPr>
              <p:nvPr/>
            </p:nvSpPr>
            <p:spPr bwMode="auto">
              <a:xfrm>
                <a:off x="2714626" y="4681538"/>
                <a:ext cx="285750" cy="203200"/>
              </a:xfrm>
              <a:custGeom>
                <a:avLst/>
                <a:gdLst>
                  <a:gd name="T0" fmla="*/ 2 w 76"/>
                  <a:gd name="T1" fmla="*/ 54 h 54"/>
                  <a:gd name="T2" fmla="*/ 3 w 76"/>
                  <a:gd name="T3" fmla="*/ 54 h 54"/>
                  <a:gd name="T4" fmla="*/ 71 w 76"/>
                  <a:gd name="T5" fmla="*/ 8 h 54"/>
                  <a:gd name="T6" fmla="*/ 70 w 76"/>
                  <a:gd name="T7" fmla="*/ 20 h 54"/>
                  <a:gd name="T8" fmla="*/ 72 w 76"/>
                  <a:gd name="T9" fmla="*/ 22 h 54"/>
                  <a:gd name="T10" fmla="*/ 72 w 76"/>
                  <a:gd name="T11" fmla="*/ 22 h 54"/>
                  <a:gd name="T12" fmla="*/ 74 w 76"/>
                  <a:gd name="T13" fmla="*/ 20 h 54"/>
                  <a:gd name="T14" fmla="*/ 76 w 76"/>
                  <a:gd name="T15" fmla="*/ 4 h 54"/>
                  <a:gd name="T16" fmla="*/ 74 w 76"/>
                  <a:gd name="T17" fmla="*/ 2 h 54"/>
                  <a:gd name="T18" fmla="*/ 58 w 76"/>
                  <a:gd name="T19" fmla="*/ 0 h 54"/>
                  <a:gd name="T20" fmla="*/ 56 w 76"/>
                  <a:gd name="T21" fmla="*/ 2 h 54"/>
                  <a:gd name="T22" fmla="*/ 58 w 76"/>
                  <a:gd name="T23" fmla="*/ 4 h 54"/>
                  <a:gd name="T24" fmla="*/ 68 w 76"/>
                  <a:gd name="T25" fmla="*/ 5 h 54"/>
                  <a:gd name="T26" fmla="*/ 1 w 76"/>
                  <a:gd name="T27" fmla="*/ 50 h 54"/>
                  <a:gd name="T28" fmla="*/ 0 w 76"/>
                  <a:gd name="T29" fmla="*/ 53 h 54"/>
                  <a:gd name="T30" fmla="*/ 2 w 76"/>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54">
                    <a:moveTo>
                      <a:pt x="2" y="54"/>
                    </a:moveTo>
                    <a:cubicBezTo>
                      <a:pt x="2" y="54"/>
                      <a:pt x="3" y="54"/>
                      <a:pt x="3" y="54"/>
                    </a:cubicBezTo>
                    <a:cubicBezTo>
                      <a:pt x="71" y="8"/>
                      <a:pt x="71" y="8"/>
                      <a:pt x="71" y="8"/>
                    </a:cubicBezTo>
                    <a:cubicBezTo>
                      <a:pt x="70" y="20"/>
                      <a:pt x="70" y="20"/>
                      <a:pt x="70" y="20"/>
                    </a:cubicBezTo>
                    <a:cubicBezTo>
                      <a:pt x="70" y="21"/>
                      <a:pt x="71" y="22"/>
                      <a:pt x="72" y="22"/>
                    </a:cubicBezTo>
                    <a:cubicBezTo>
                      <a:pt x="72" y="22"/>
                      <a:pt x="72" y="22"/>
                      <a:pt x="72" y="22"/>
                    </a:cubicBezTo>
                    <a:cubicBezTo>
                      <a:pt x="73" y="22"/>
                      <a:pt x="74" y="21"/>
                      <a:pt x="74" y="20"/>
                    </a:cubicBezTo>
                    <a:cubicBezTo>
                      <a:pt x="76" y="4"/>
                      <a:pt x="76" y="4"/>
                      <a:pt x="76" y="4"/>
                    </a:cubicBezTo>
                    <a:cubicBezTo>
                      <a:pt x="76" y="3"/>
                      <a:pt x="75" y="2"/>
                      <a:pt x="74" y="2"/>
                    </a:cubicBezTo>
                    <a:cubicBezTo>
                      <a:pt x="74" y="2"/>
                      <a:pt x="58" y="0"/>
                      <a:pt x="58" y="0"/>
                    </a:cubicBezTo>
                    <a:cubicBezTo>
                      <a:pt x="57" y="0"/>
                      <a:pt x="56" y="1"/>
                      <a:pt x="56" y="2"/>
                    </a:cubicBezTo>
                    <a:cubicBezTo>
                      <a:pt x="56" y="3"/>
                      <a:pt x="57" y="4"/>
                      <a:pt x="58" y="4"/>
                    </a:cubicBezTo>
                    <a:cubicBezTo>
                      <a:pt x="68" y="5"/>
                      <a:pt x="68" y="5"/>
                      <a:pt x="68" y="5"/>
                    </a:cubicBezTo>
                    <a:cubicBezTo>
                      <a:pt x="1" y="50"/>
                      <a:pt x="1" y="50"/>
                      <a:pt x="1" y="50"/>
                    </a:cubicBezTo>
                    <a:cubicBezTo>
                      <a:pt x="0" y="51"/>
                      <a:pt x="0" y="52"/>
                      <a:pt x="0" y="53"/>
                    </a:cubicBezTo>
                    <a:cubicBezTo>
                      <a:pt x="1" y="54"/>
                      <a:pt x="1" y="54"/>
                      <a:pt x="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40" name="Group 39">
            <a:extLst>
              <a:ext uri="{FF2B5EF4-FFF2-40B4-BE49-F238E27FC236}">
                <a16:creationId xmlns:a16="http://schemas.microsoft.com/office/drawing/2014/main" id="{23731F5F-18F2-485D-97B0-BBE267E5E573}"/>
              </a:ext>
            </a:extLst>
          </p:cNvPr>
          <p:cNvGrpSpPr/>
          <p:nvPr/>
        </p:nvGrpSpPr>
        <p:grpSpPr>
          <a:xfrm>
            <a:off x="6468857" y="1655031"/>
            <a:ext cx="866776" cy="866776"/>
            <a:chOff x="6468857" y="1655031"/>
            <a:chExt cx="866776" cy="866776"/>
          </a:xfrm>
        </p:grpSpPr>
        <p:grpSp>
          <p:nvGrpSpPr>
            <p:cNvPr id="10" name="Group 9">
              <a:extLst>
                <a:ext uri="{FF2B5EF4-FFF2-40B4-BE49-F238E27FC236}">
                  <a16:creationId xmlns:a16="http://schemas.microsoft.com/office/drawing/2014/main" id="{2EB978E7-A19C-4366-B94D-EEC57A5AE8DC}"/>
                </a:ext>
              </a:extLst>
            </p:cNvPr>
            <p:cNvGrpSpPr/>
            <p:nvPr/>
          </p:nvGrpSpPr>
          <p:grpSpPr>
            <a:xfrm>
              <a:off x="6468857" y="1655031"/>
              <a:ext cx="866776" cy="866776"/>
              <a:chOff x="6705600" y="1238250"/>
              <a:chExt cx="866776" cy="866776"/>
            </a:xfrm>
          </p:grpSpPr>
          <p:sp>
            <p:nvSpPr>
              <p:cNvPr id="9" name="Oval 8">
                <a:extLst>
                  <a:ext uri="{FF2B5EF4-FFF2-40B4-BE49-F238E27FC236}">
                    <a16:creationId xmlns:a16="http://schemas.microsoft.com/office/drawing/2014/main" id="{4A46D147-0CC5-4735-AE1F-65BCC6509DC0}"/>
                  </a:ext>
                </a:extLst>
              </p:cNvPr>
              <p:cNvSpPr/>
              <p:nvPr/>
            </p:nvSpPr>
            <p:spPr>
              <a:xfrm>
                <a:off x="6705600" y="1238250"/>
                <a:ext cx="866776" cy="866776"/>
              </a:xfrm>
              <a:prstGeom prst="ellipse">
                <a:avLst/>
              </a:prstGeom>
              <a:gradFill>
                <a:gsLst>
                  <a:gs pos="2100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Oval 7">
                <a:extLst>
                  <a:ext uri="{FF2B5EF4-FFF2-40B4-BE49-F238E27FC236}">
                    <a16:creationId xmlns:a16="http://schemas.microsoft.com/office/drawing/2014/main" id="{97103F70-3F4B-4955-9BCE-2928397D6D93}"/>
                  </a:ext>
                </a:extLst>
              </p:cNvPr>
              <p:cNvSpPr/>
              <p:nvPr/>
            </p:nvSpPr>
            <p:spPr>
              <a:xfrm>
                <a:off x="6800851" y="1333501"/>
                <a:ext cx="676275" cy="676275"/>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 name="Group 35">
              <a:extLst>
                <a:ext uri="{FF2B5EF4-FFF2-40B4-BE49-F238E27FC236}">
                  <a16:creationId xmlns:a16="http://schemas.microsoft.com/office/drawing/2014/main" id="{51C3C6FB-F663-4CEB-B8B8-BE75520C94D3}"/>
                </a:ext>
              </a:extLst>
            </p:cNvPr>
            <p:cNvGrpSpPr/>
            <p:nvPr/>
          </p:nvGrpSpPr>
          <p:grpSpPr>
            <a:xfrm>
              <a:off x="6722064" y="1908238"/>
              <a:ext cx="360363" cy="360363"/>
              <a:chOff x="3397251" y="1066800"/>
              <a:chExt cx="360363" cy="360363"/>
            </a:xfrm>
            <a:solidFill>
              <a:schemeClr val="accent1"/>
            </a:solidFill>
          </p:grpSpPr>
          <p:sp>
            <p:nvSpPr>
              <p:cNvPr id="37" name="Freeform 282">
                <a:extLst>
                  <a:ext uri="{FF2B5EF4-FFF2-40B4-BE49-F238E27FC236}">
                    <a16:creationId xmlns:a16="http://schemas.microsoft.com/office/drawing/2014/main" id="{7242EC86-718F-46F4-AC76-D0A7B9616611}"/>
                  </a:ext>
                </a:extLst>
              </p:cNvPr>
              <p:cNvSpPr>
                <a:spLocks/>
              </p:cNvSpPr>
              <p:nvPr/>
            </p:nvSpPr>
            <p:spPr bwMode="auto">
              <a:xfrm>
                <a:off x="3397251" y="1187450"/>
                <a:ext cx="360363" cy="239713"/>
              </a:xfrm>
              <a:custGeom>
                <a:avLst/>
                <a:gdLst>
                  <a:gd name="T0" fmla="*/ 94 w 96"/>
                  <a:gd name="T1" fmla="*/ 40 h 64"/>
                  <a:gd name="T2" fmla="*/ 28 w 96"/>
                  <a:gd name="T3" fmla="*/ 40 h 64"/>
                  <a:gd name="T4" fmla="*/ 28 w 96"/>
                  <a:gd name="T5" fmla="*/ 26 h 64"/>
                  <a:gd name="T6" fmla="*/ 40 w 96"/>
                  <a:gd name="T7" fmla="*/ 2 h 64"/>
                  <a:gd name="T8" fmla="*/ 38 w 96"/>
                  <a:gd name="T9" fmla="*/ 0 h 64"/>
                  <a:gd name="T10" fmla="*/ 2 w 96"/>
                  <a:gd name="T11" fmla="*/ 0 h 64"/>
                  <a:gd name="T12" fmla="*/ 0 w 96"/>
                  <a:gd name="T13" fmla="*/ 2 h 64"/>
                  <a:gd name="T14" fmla="*/ 12 w 96"/>
                  <a:gd name="T15" fmla="*/ 26 h 64"/>
                  <a:gd name="T16" fmla="*/ 12 w 96"/>
                  <a:gd name="T17" fmla="*/ 40 h 64"/>
                  <a:gd name="T18" fmla="*/ 2 w 96"/>
                  <a:gd name="T19" fmla="*/ 40 h 64"/>
                  <a:gd name="T20" fmla="*/ 0 w 96"/>
                  <a:gd name="T21" fmla="*/ 42 h 64"/>
                  <a:gd name="T22" fmla="*/ 2 w 96"/>
                  <a:gd name="T23" fmla="*/ 44 h 64"/>
                  <a:gd name="T24" fmla="*/ 42 w 96"/>
                  <a:gd name="T25" fmla="*/ 44 h 64"/>
                  <a:gd name="T26" fmla="*/ 28 w 96"/>
                  <a:gd name="T27" fmla="*/ 61 h 64"/>
                  <a:gd name="T28" fmla="*/ 28 w 96"/>
                  <a:gd name="T29" fmla="*/ 63 h 64"/>
                  <a:gd name="T30" fmla="*/ 30 w 96"/>
                  <a:gd name="T31" fmla="*/ 64 h 64"/>
                  <a:gd name="T32" fmla="*/ 62 w 96"/>
                  <a:gd name="T33" fmla="*/ 64 h 64"/>
                  <a:gd name="T34" fmla="*/ 64 w 96"/>
                  <a:gd name="T35" fmla="*/ 63 h 64"/>
                  <a:gd name="T36" fmla="*/ 64 w 96"/>
                  <a:gd name="T37" fmla="*/ 61 h 64"/>
                  <a:gd name="T38" fmla="*/ 50 w 96"/>
                  <a:gd name="T39" fmla="*/ 44 h 64"/>
                  <a:gd name="T40" fmla="*/ 94 w 96"/>
                  <a:gd name="T41" fmla="*/ 44 h 64"/>
                  <a:gd name="T42" fmla="*/ 96 w 96"/>
                  <a:gd name="T43" fmla="*/ 42 h 64"/>
                  <a:gd name="T44" fmla="*/ 94 w 96"/>
                  <a:gd name="T45" fmla="*/ 4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64">
                    <a:moveTo>
                      <a:pt x="94" y="40"/>
                    </a:moveTo>
                    <a:cubicBezTo>
                      <a:pt x="28" y="40"/>
                      <a:pt x="28" y="40"/>
                      <a:pt x="28" y="40"/>
                    </a:cubicBezTo>
                    <a:cubicBezTo>
                      <a:pt x="28" y="26"/>
                      <a:pt x="28" y="26"/>
                      <a:pt x="28" y="26"/>
                    </a:cubicBezTo>
                    <a:cubicBezTo>
                      <a:pt x="36" y="22"/>
                      <a:pt x="40" y="11"/>
                      <a:pt x="40" y="2"/>
                    </a:cubicBezTo>
                    <a:cubicBezTo>
                      <a:pt x="40" y="1"/>
                      <a:pt x="39" y="0"/>
                      <a:pt x="38" y="0"/>
                    </a:cubicBezTo>
                    <a:cubicBezTo>
                      <a:pt x="2" y="0"/>
                      <a:pt x="2" y="0"/>
                      <a:pt x="2" y="0"/>
                    </a:cubicBezTo>
                    <a:cubicBezTo>
                      <a:pt x="1" y="0"/>
                      <a:pt x="0" y="1"/>
                      <a:pt x="0" y="2"/>
                    </a:cubicBezTo>
                    <a:cubicBezTo>
                      <a:pt x="0" y="11"/>
                      <a:pt x="4" y="22"/>
                      <a:pt x="12" y="26"/>
                    </a:cubicBezTo>
                    <a:cubicBezTo>
                      <a:pt x="12" y="40"/>
                      <a:pt x="12" y="40"/>
                      <a:pt x="12" y="40"/>
                    </a:cubicBezTo>
                    <a:cubicBezTo>
                      <a:pt x="2" y="40"/>
                      <a:pt x="2" y="40"/>
                      <a:pt x="2" y="40"/>
                    </a:cubicBezTo>
                    <a:cubicBezTo>
                      <a:pt x="1" y="40"/>
                      <a:pt x="0" y="41"/>
                      <a:pt x="0" y="42"/>
                    </a:cubicBezTo>
                    <a:cubicBezTo>
                      <a:pt x="0" y="43"/>
                      <a:pt x="1" y="44"/>
                      <a:pt x="2" y="44"/>
                    </a:cubicBezTo>
                    <a:cubicBezTo>
                      <a:pt x="42" y="44"/>
                      <a:pt x="42" y="44"/>
                      <a:pt x="42" y="44"/>
                    </a:cubicBezTo>
                    <a:cubicBezTo>
                      <a:pt x="28" y="61"/>
                      <a:pt x="28" y="61"/>
                      <a:pt x="28" y="61"/>
                    </a:cubicBezTo>
                    <a:cubicBezTo>
                      <a:pt x="28" y="61"/>
                      <a:pt x="28" y="62"/>
                      <a:pt x="28" y="63"/>
                    </a:cubicBezTo>
                    <a:cubicBezTo>
                      <a:pt x="29" y="64"/>
                      <a:pt x="29" y="64"/>
                      <a:pt x="30" y="64"/>
                    </a:cubicBezTo>
                    <a:cubicBezTo>
                      <a:pt x="62" y="64"/>
                      <a:pt x="62" y="64"/>
                      <a:pt x="62" y="64"/>
                    </a:cubicBezTo>
                    <a:cubicBezTo>
                      <a:pt x="63" y="64"/>
                      <a:pt x="63" y="64"/>
                      <a:pt x="64" y="63"/>
                    </a:cubicBezTo>
                    <a:cubicBezTo>
                      <a:pt x="64" y="62"/>
                      <a:pt x="64" y="61"/>
                      <a:pt x="64" y="61"/>
                    </a:cubicBezTo>
                    <a:cubicBezTo>
                      <a:pt x="50" y="44"/>
                      <a:pt x="50" y="44"/>
                      <a:pt x="50" y="44"/>
                    </a:cubicBezTo>
                    <a:cubicBezTo>
                      <a:pt x="94" y="44"/>
                      <a:pt x="94" y="44"/>
                      <a:pt x="94" y="44"/>
                    </a:cubicBezTo>
                    <a:cubicBezTo>
                      <a:pt x="95" y="44"/>
                      <a:pt x="96" y="43"/>
                      <a:pt x="96" y="42"/>
                    </a:cubicBezTo>
                    <a:cubicBezTo>
                      <a:pt x="96" y="41"/>
                      <a:pt x="95" y="40"/>
                      <a:pt x="9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283">
                <a:extLst>
                  <a:ext uri="{FF2B5EF4-FFF2-40B4-BE49-F238E27FC236}">
                    <a16:creationId xmlns:a16="http://schemas.microsoft.com/office/drawing/2014/main" id="{5DDD6AC0-E324-456F-852A-F4AD1CE552A4}"/>
                  </a:ext>
                </a:extLst>
              </p:cNvPr>
              <p:cNvSpPr>
                <a:spLocks noEditPoints="1"/>
              </p:cNvSpPr>
              <p:nvPr/>
            </p:nvSpPr>
            <p:spPr bwMode="auto">
              <a:xfrm>
                <a:off x="3592513" y="1141413"/>
                <a:ext cx="165100" cy="166688"/>
              </a:xfrm>
              <a:custGeom>
                <a:avLst/>
                <a:gdLst>
                  <a:gd name="T0" fmla="*/ 22 w 44"/>
                  <a:gd name="T1" fmla="*/ 44 h 44"/>
                  <a:gd name="T2" fmla="*/ 44 w 44"/>
                  <a:gd name="T3" fmla="*/ 22 h 44"/>
                  <a:gd name="T4" fmla="*/ 22 w 44"/>
                  <a:gd name="T5" fmla="*/ 0 h 44"/>
                  <a:gd name="T6" fmla="*/ 0 w 44"/>
                  <a:gd name="T7" fmla="*/ 22 h 44"/>
                  <a:gd name="T8" fmla="*/ 22 w 44"/>
                  <a:gd name="T9" fmla="*/ 44 h 44"/>
                  <a:gd name="T10" fmla="*/ 22 w 44"/>
                  <a:gd name="T11" fmla="*/ 24 h 44"/>
                  <a:gd name="T12" fmla="*/ 15 w 44"/>
                  <a:gd name="T13" fmla="*/ 17 h 44"/>
                  <a:gd name="T14" fmla="*/ 20 w 44"/>
                  <a:gd name="T15" fmla="*/ 11 h 44"/>
                  <a:gd name="T16" fmla="*/ 20 w 44"/>
                  <a:gd name="T17" fmla="*/ 10 h 44"/>
                  <a:gd name="T18" fmla="*/ 22 w 44"/>
                  <a:gd name="T19" fmla="*/ 8 h 44"/>
                  <a:gd name="T20" fmla="*/ 24 w 44"/>
                  <a:gd name="T21" fmla="*/ 10 h 44"/>
                  <a:gd name="T22" fmla="*/ 24 w 44"/>
                  <a:gd name="T23" fmla="*/ 11 h 44"/>
                  <a:gd name="T24" fmla="*/ 29 w 44"/>
                  <a:gd name="T25" fmla="*/ 17 h 44"/>
                  <a:gd name="T26" fmla="*/ 27 w 44"/>
                  <a:gd name="T27" fmla="*/ 19 h 44"/>
                  <a:gd name="T28" fmla="*/ 25 w 44"/>
                  <a:gd name="T29" fmla="*/ 17 h 44"/>
                  <a:gd name="T30" fmla="*/ 22 w 44"/>
                  <a:gd name="T31" fmla="*/ 15 h 44"/>
                  <a:gd name="T32" fmla="*/ 19 w 44"/>
                  <a:gd name="T33" fmla="*/ 17 h 44"/>
                  <a:gd name="T34" fmla="*/ 22 w 44"/>
                  <a:gd name="T35" fmla="*/ 20 h 44"/>
                  <a:gd name="T36" fmla="*/ 29 w 44"/>
                  <a:gd name="T37" fmla="*/ 27 h 44"/>
                  <a:gd name="T38" fmla="*/ 24 w 44"/>
                  <a:gd name="T39" fmla="*/ 33 h 44"/>
                  <a:gd name="T40" fmla="*/ 24 w 44"/>
                  <a:gd name="T41" fmla="*/ 34 h 44"/>
                  <a:gd name="T42" fmla="*/ 22 w 44"/>
                  <a:gd name="T43" fmla="*/ 36 h 44"/>
                  <a:gd name="T44" fmla="*/ 20 w 44"/>
                  <a:gd name="T45" fmla="*/ 34 h 44"/>
                  <a:gd name="T46" fmla="*/ 20 w 44"/>
                  <a:gd name="T47" fmla="*/ 33 h 44"/>
                  <a:gd name="T48" fmla="*/ 15 w 44"/>
                  <a:gd name="T49" fmla="*/ 27 h 44"/>
                  <a:gd name="T50" fmla="*/ 17 w 44"/>
                  <a:gd name="T51" fmla="*/ 25 h 44"/>
                  <a:gd name="T52" fmla="*/ 19 w 44"/>
                  <a:gd name="T53" fmla="*/ 27 h 44"/>
                  <a:gd name="T54" fmla="*/ 22 w 44"/>
                  <a:gd name="T55" fmla="*/ 29 h 44"/>
                  <a:gd name="T56" fmla="*/ 25 w 44"/>
                  <a:gd name="T57" fmla="*/ 27 h 44"/>
                  <a:gd name="T58" fmla="*/ 22 w 44"/>
                  <a:gd name="T59"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 h="44">
                    <a:moveTo>
                      <a:pt x="22" y="44"/>
                    </a:moveTo>
                    <a:cubicBezTo>
                      <a:pt x="34" y="44"/>
                      <a:pt x="44" y="34"/>
                      <a:pt x="44" y="22"/>
                    </a:cubicBezTo>
                    <a:cubicBezTo>
                      <a:pt x="44" y="10"/>
                      <a:pt x="34" y="0"/>
                      <a:pt x="22" y="0"/>
                    </a:cubicBezTo>
                    <a:cubicBezTo>
                      <a:pt x="10" y="0"/>
                      <a:pt x="0" y="10"/>
                      <a:pt x="0" y="22"/>
                    </a:cubicBezTo>
                    <a:cubicBezTo>
                      <a:pt x="0" y="34"/>
                      <a:pt x="10" y="44"/>
                      <a:pt x="22" y="44"/>
                    </a:cubicBezTo>
                    <a:close/>
                    <a:moveTo>
                      <a:pt x="22" y="24"/>
                    </a:moveTo>
                    <a:cubicBezTo>
                      <a:pt x="18" y="24"/>
                      <a:pt x="15" y="21"/>
                      <a:pt x="15" y="17"/>
                    </a:cubicBezTo>
                    <a:cubicBezTo>
                      <a:pt x="15" y="14"/>
                      <a:pt x="17" y="12"/>
                      <a:pt x="20" y="11"/>
                    </a:cubicBezTo>
                    <a:cubicBezTo>
                      <a:pt x="20" y="10"/>
                      <a:pt x="20" y="10"/>
                      <a:pt x="20" y="10"/>
                    </a:cubicBezTo>
                    <a:cubicBezTo>
                      <a:pt x="20" y="9"/>
                      <a:pt x="21" y="8"/>
                      <a:pt x="22" y="8"/>
                    </a:cubicBezTo>
                    <a:cubicBezTo>
                      <a:pt x="23" y="8"/>
                      <a:pt x="24" y="9"/>
                      <a:pt x="24" y="10"/>
                    </a:cubicBezTo>
                    <a:cubicBezTo>
                      <a:pt x="24" y="11"/>
                      <a:pt x="24" y="11"/>
                      <a:pt x="24" y="11"/>
                    </a:cubicBezTo>
                    <a:cubicBezTo>
                      <a:pt x="27" y="12"/>
                      <a:pt x="29" y="14"/>
                      <a:pt x="29" y="17"/>
                    </a:cubicBezTo>
                    <a:cubicBezTo>
                      <a:pt x="29" y="18"/>
                      <a:pt x="28" y="19"/>
                      <a:pt x="27" y="19"/>
                    </a:cubicBezTo>
                    <a:cubicBezTo>
                      <a:pt x="26" y="19"/>
                      <a:pt x="25" y="18"/>
                      <a:pt x="25" y="17"/>
                    </a:cubicBezTo>
                    <a:cubicBezTo>
                      <a:pt x="25" y="16"/>
                      <a:pt x="23" y="15"/>
                      <a:pt x="22" y="15"/>
                    </a:cubicBezTo>
                    <a:cubicBezTo>
                      <a:pt x="21" y="15"/>
                      <a:pt x="19" y="16"/>
                      <a:pt x="19" y="17"/>
                    </a:cubicBezTo>
                    <a:cubicBezTo>
                      <a:pt x="19" y="19"/>
                      <a:pt x="21" y="20"/>
                      <a:pt x="22" y="20"/>
                    </a:cubicBezTo>
                    <a:cubicBezTo>
                      <a:pt x="26" y="20"/>
                      <a:pt x="29" y="23"/>
                      <a:pt x="29" y="27"/>
                    </a:cubicBezTo>
                    <a:cubicBezTo>
                      <a:pt x="29" y="30"/>
                      <a:pt x="27" y="32"/>
                      <a:pt x="24" y="33"/>
                    </a:cubicBezTo>
                    <a:cubicBezTo>
                      <a:pt x="24" y="34"/>
                      <a:pt x="24" y="34"/>
                      <a:pt x="24" y="34"/>
                    </a:cubicBezTo>
                    <a:cubicBezTo>
                      <a:pt x="24" y="35"/>
                      <a:pt x="23" y="36"/>
                      <a:pt x="22" y="36"/>
                    </a:cubicBezTo>
                    <a:cubicBezTo>
                      <a:pt x="21" y="36"/>
                      <a:pt x="20" y="35"/>
                      <a:pt x="20" y="34"/>
                    </a:cubicBezTo>
                    <a:cubicBezTo>
                      <a:pt x="20" y="33"/>
                      <a:pt x="20" y="33"/>
                      <a:pt x="20" y="33"/>
                    </a:cubicBezTo>
                    <a:cubicBezTo>
                      <a:pt x="17" y="32"/>
                      <a:pt x="15" y="30"/>
                      <a:pt x="15" y="27"/>
                    </a:cubicBezTo>
                    <a:cubicBezTo>
                      <a:pt x="15" y="26"/>
                      <a:pt x="16" y="25"/>
                      <a:pt x="17" y="25"/>
                    </a:cubicBezTo>
                    <a:cubicBezTo>
                      <a:pt x="18" y="25"/>
                      <a:pt x="19" y="26"/>
                      <a:pt x="19" y="27"/>
                    </a:cubicBezTo>
                    <a:cubicBezTo>
                      <a:pt x="19" y="28"/>
                      <a:pt x="21" y="29"/>
                      <a:pt x="22" y="29"/>
                    </a:cubicBezTo>
                    <a:cubicBezTo>
                      <a:pt x="23" y="29"/>
                      <a:pt x="25" y="28"/>
                      <a:pt x="25" y="27"/>
                    </a:cubicBezTo>
                    <a:cubicBezTo>
                      <a:pt x="25" y="25"/>
                      <a:pt x="23" y="24"/>
                      <a:pt x="2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Oval 284">
                <a:extLst>
                  <a:ext uri="{FF2B5EF4-FFF2-40B4-BE49-F238E27FC236}">
                    <a16:creationId xmlns:a16="http://schemas.microsoft.com/office/drawing/2014/main" id="{76F2452E-EA8D-4DD3-892E-471F41FDBB50}"/>
                  </a:ext>
                </a:extLst>
              </p:cNvPr>
              <p:cNvSpPr>
                <a:spLocks noChangeArrowheads="1"/>
              </p:cNvSpPr>
              <p:nvPr/>
            </p:nvSpPr>
            <p:spPr bwMode="auto">
              <a:xfrm>
                <a:off x="3419476" y="1066800"/>
                <a:ext cx="106363"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pic>
        <p:nvPicPr>
          <p:cNvPr id="5" name="Picture 4">
            <a:extLst>
              <a:ext uri="{FF2B5EF4-FFF2-40B4-BE49-F238E27FC236}">
                <a16:creationId xmlns:a16="http://schemas.microsoft.com/office/drawing/2014/main" id="{0FF94135-056F-4CE1-B0AE-020BA812703B}"/>
              </a:ext>
            </a:extLst>
          </p:cNvPr>
          <p:cNvPicPr>
            <a:picLocks noChangeAspect="1"/>
          </p:cNvPicPr>
          <p:nvPr/>
        </p:nvPicPr>
        <p:blipFill>
          <a:blip r:embed="rId2"/>
          <a:stretch>
            <a:fillRect/>
          </a:stretch>
        </p:blipFill>
        <p:spPr>
          <a:xfrm>
            <a:off x="788319" y="1299034"/>
            <a:ext cx="5353797" cy="4563112"/>
          </a:xfrm>
          <a:prstGeom prst="rect">
            <a:avLst/>
          </a:prstGeom>
        </p:spPr>
      </p:pic>
    </p:spTree>
    <p:extLst>
      <p:ext uri="{BB962C8B-B14F-4D97-AF65-F5344CB8AC3E}">
        <p14:creationId xmlns:p14="http://schemas.microsoft.com/office/powerpoint/2010/main" val="13925458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Group 70">
            <a:extLst>
              <a:ext uri="{FF2B5EF4-FFF2-40B4-BE49-F238E27FC236}">
                <a16:creationId xmlns:a16="http://schemas.microsoft.com/office/drawing/2014/main" id="{C9658B4D-A646-4B55-A182-8B33D9F95C1B}"/>
              </a:ext>
            </a:extLst>
          </p:cNvPr>
          <p:cNvGrpSpPr/>
          <p:nvPr/>
        </p:nvGrpSpPr>
        <p:grpSpPr>
          <a:xfrm>
            <a:off x="-27832" y="6434666"/>
            <a:ext cx="11322365" cy="423333"/>
            <a:chOff x="-27832" y="6007100"/>
            <a:chExt cx="3760919" cy="850900"/>
          </a:xfrm>
        </p:grpSpPr>
        <p:sp>
          <p:nvSpPr>
            <p:cNvPr id="57" name="Freeform: Shape 56">
              <a:extLst>
                <a:ext uri="{FF2B5EF4-FFF2-40B4-BE49-F238E27FC236}">
                  <a16:creationId xmlns:a16="http://schemas.microsoft.com/office/drawing/2014/main" id="{E98BAF20-4A16-447D-82AF-B00D74FDE7E9}"/>
                </a:ext>
              </a:extLst>
            </p:cNvPr>
            <p:cNvSpPr/>
            <p:nvPr/>
          </p:nvSpPr>
          <p:spPr>
            <a:xfrm flipV="1">
              <a:off x="-27832" y="6007100"/>
              <a:ext cx="1184981" cy="849168"/>
            </a:xfrm>
            <a:custGeom>
              <a:avLst/>
              <a:gdLst>
                <a:gd name="connsiteX0" fmla="*/ 1176592 w 1184981"/>
                <a:gd name="connsiteY0" fmla="*/ 849112 h 849168"/>
                <a:gd name="connsiteX1" fmla="*/ 1184981 w 1184981"/>
                <a:gd name="connsiteY1" fmla="*/ 794657 h 849168"/>
                <a:gd name="connsiteX2" fmla="*/ 1184981 w 1184981"/>
                <a:gd name="connsiteY2" fmla="*/ 1476 h 849168"/>
                <a:gd name="connsiteX3" fmla="*/ 0 w 1184981"/>
                <a:gd name="connsiteY3" fmla="*/ 0 h 849168"/>
                <a:gd name="connsiteX4" fmla="*/ 0 w 1184981"/>
                <a:gd name="connsiteY4" fmla="*/ 544469 h 849168"/>
                <a:gd name="connsiteX5" fmla="*/ 59549 w 1184981"/>
                <a:gd name="connsiteY5" fmla="*/ 545886 h 849168"/>
                <a:gd name="connsiteX6" fmla="*/ 226860 w 1184981"/>
                <a:gd name="connsiteY6" fmla="*/ 544454 h 849168"/>
                <a:gd name="connsiteX7" fmla="*/ 1176592 w 1184981"/>
                <a:gd name="connsiteY7" fmla="*/ 849112 h 849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4981" h="849168">
                  <a:moveTo>
                    <a:pt x="1176592" y="849112"/>
                  </a:moveTo>
                  <a:cubicBezTo>
                    <a:pt x="1184097" y="850234"/>
                    <a:pt x="1184940" y="834731"/>
                    <a:pt x="1184981" y="794657"/>
                  </a:cubicBezTo>
                  <a:lnTo>
                    <a:pt x="1184981" y="1476"/>
                  </a:lnTo>
                  <a:lnTo>
                    <a:pt x="0" y="0"/>
                  </a:lnTo>
                  <a:lnTo>
                    <a:pt x="0" y="544469"/>
                  </a:lnTo>
                  <a:lnTo>
                    <a:pt x="59549" y="545886"/>
                  </a:lnTo>
                  <a:cubicBezTo>
                    <a:pt x="112733" y="546255"/>
                    <a:pt x="168429" y="545781"/>
                    <a:pt x="226860" y="544454"/>
                  </a:cubicBezTo>
                  <a:cubicBezTo>
                    <a:pt x="986458" y="527196"/>
                    <a:pt x="1144073" y="844249"/>
                    <a:pt x="1176592" y="84911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34">
              <a:extLst>
                <a:ext uri="{FF2B5EF4-FFF2-40B4-BE49-F238E27FC236}">
                  <a16:creationId xmlns:a16="http://schemas.microsoft.com/office/drawing/2014/main" id="{155DC282-20F4-415C-BFD1-CC8145E87C90}"/>
                </a:ext>
              </a:extLst>
            </p:cNvPr>
            <p:cNvSpPr/>
            <p:nvPr/>
          </p:nvSpPr>
          <p:spPr>
            <a:xfrm flipH="1" flipV="1">
              <a:off x="1157149" y="6007100"/>
              <a:ext cx="2575938" cy="850900"/>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605342" y="525332"/>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41DFA55B-06B3-4979-8714-3ECB2AA1DAC5}"/>
              </a:ext>
            </a:extLst>
          </p:cNvPr>
          <p:cNvSpPr>
            <a:spLocks noGrp="1"/>
          </p:cNvSpPr>
          <p:nvPr>
            <p:ph type="title"/>
          </p:nvPr>
        </p:nvSpPr>
        <p:spPr>
          <a:xfrm>
            <a:off x="564658" y="189826"/>
            <a:ext cx="4965291" cy="775612"/>
          </a:xfrm>
        </p:spPr>
        <p:txBody>
          <a:bodyPr/>
          <a:lstStyle/>
          <a:p>
            <a:r>
              <a:rPr lang="en-US" dirty="0">
                <a:solidFill>
                  <a:schemeClr val="bg1"/>
                </a:solidFill>
              </a:rPr>
              <a:t>Executive Summary</a:t>
            </a:r>
          </a:p>
        </p:txBody>
      </p:sp>
      <p:sp>
        <p:nvSpPr>
          <p:cNvPr id="4" name="Slide Number Placeholder 3">
            <a:extLst>
              <a:ext uri="{FF2B5EF4-FFF2-40B4-BE49-F238E27FC236}">
                <a16:creationId xmlns:a16="http://schemas.microsoft.com/office/drawing/2014/main" id="{353CD5F5-799E-4D89-82A7-3A5DDDC6FCCA}"/>
              </a:ext>
            </a:extLst>
          </p:cNvPr>
          <p:cNvSpPr>
            <a:spLocks noGrp="1"/>
          </p:cNvSpPr>
          <p:nvPr>
            <p:ph type="sldNum" sz="quarter" idx="4"/>
          </p:nvPr>
        </p:nvSpPr>
        <p:spPr/>
        <p:txBody>
          <a:bodyPr/>
          <a:lstStyle/>
          <a:p>
            <a:fld id="{B84D2E29-67F4-44D8-B0E3-F54815B4F123}" type="slidenum">
              <a:rPr lang="en-US" smtClean="0"/>
              <a:pPr/>
              <a:t>17</a:t>
            </a:fld>
            <a:endParaRPr lang="en-US" dirty="0"/>
          </a:p>
        </p:txBody>
      </p:sp>
      <p:grpSp>
        <p:nvGrpSpPr>
          <p:cNvPr id="3" name="Group 2">
            <a:extLst>
              <a:ext uri="{FF2B5EF4-FFF2-40B4-BE49-F238E27FC236}">
                <a16:creationId xmlns:a16="http://schemas.microsoft.com/office/drawing/2014/main" id="{E527EEF1-44E6-4F6B-8945-4B3F35DC17EB}"/>
              </a:ext>
            </a:extLst>
          </p:cNvPr>
          <p:cNvGrpSpPr/>
          <p:nvPr/>
        </p:nvGrpSpPr>
        <p:grpSpPr>
          <a:xfrm>
            <a:off x="236486" y="121123"/>
            <a:ext cx="9047617" cy="845574"/>
            <a:chOff x="2675543" y="760920"/>
            <a:chExt cx="9047617" cy="845574"/>
          </a:xfrm>
        </p:grpSpPr>
        <p:sp>
          <p:nvSpPr>
            <p:cNvPr id="7" name="Rectangle 6">
              <a:extLst>
                <a:ext uri="{FF2B5EF4-FFF2-40B4-BE49-F238E27FC236}">
                  <a16:creationId xmlns:a16="http://schemas.microsoft.com/office/drawing/2014/main" id="{9BA8C45E-8FA0-4167-B280-478FCF9C9782}"/>
                </a:ext>
              </a:extLst>
            </p:cNvPr>
            <p:cNvSpPr/>
            <p:nvPr/>
          </p:nvSpPr>
          <p:spPr>
            <a:xfrm>
              <a:off x="2675543" y="760920"/>
              <a:ext cx="6026574" cy="845574"/>
            </a:xfrm>
            <a:prstGeom prst="rect">
              <a:avLst/>
            </a:prstGeom>
            <a:gradFill>
              <a:gsLst>
                <a:gs pos="2100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400" dirty="0">
                  <a:latin typeface="Baskerville Old Face" panose="02020602080505020303" pitchFamily="18" charset="0"/>
                </a:rPr>
                <a:t>Correlation</a:t>
              </a:r>
            </a:p>
          </p:txBody>
        </p:sp>
        <p:grpSp>
          <p:nvGrpSpPr>
            <p:cNvPr id="8" name="Group 7">
              <a:extLst>
                <a:ext uri="{FF2B5EF4-FFF2-40B4-BE49-F238E27FC236}">
                  <a16:creationId xmlns:a16="http://schemas.microsoft.com/office/drawing/2014/main" id="{23AF1DA8-2D4F-48A8-9C59-2ABC51E61DA0}"/>
                </a:ext>
              </a:extLst>
            </p:cNvPr>
            <p:cNvGrpSpPr/>
            <p:nvPr/>
          </p:nvGrpSpPr>
          <p:grpSpPr>
            <a:xfrm>
              <a:off x="11233702" y="983226"/>
              <a:ext cx="489458" cy="491614"/>
              <a:chOff x="9161463" y="2163763"/>
              <a:chExt cx="360363" cy="361950"/>
            </a:xfrm>
            <a:solidFill>
              <a:schemeClr val="bg1"/>
            </a:solidFill>
          </p:grpSpPr>
          <p:sp>
            <p:nvSpPr>
              <p:cNvPr id="9" name="Freeform 65">
                <a:extLst>
                  <a:ext uri="{FF2B5EF4-FFF2-40B4-BE49-F238E27FC236}">
                    <a16:creationId xmlns:a16="http://schemas.microsoft.com/office/drawing/2014/main" id="{B8139E16-D857-4A41-AAB5-B9BAC40B318D}"/>
                  </a:ext>
                </a:extLst>
              </p:cNvPr>
              <p:cNvSpPr>
                <a:spLocks/>
              </p:cNvSpPr>
              <p:nvPr/>
            </p:nvSpPr>
            <p:spPr bwMode="auto">
              <a:xfrm>
                <a:off x="9371013" y="2209801"/>
                <a:ext cx="46038" cy="217488"/>
              </a:xfrm>
              <a:custGeom>
                <a:avLst/>
                <a:gdLst>
                  <a:gd name="T0" fmla="*/ 12 w 12"/>
                  <a:gd name="T1" fmla="*/ 2 h 58"/>
                  <a:gd name="T2" fmla="*/ 10 w 12"/>
                  <a:gd name="T3" fmla="*/ 0 h 58"/>
                  <a:gd name="T4" fmla="*/ 0 w 12"/>
                  <a:gd name="T5" fmla="*/ 0 h 58"/>
                  <a:gd name="T6" fmla="*/ 0 w 12"/>
                  <a:gd name="T7" fmla="*/ 12 h 58"/>
                  <a:gd name="T8" fmla="*/ 0 w 12"/>
                  <a:gd name="T9" fmla="*/ 18 h 58"/>
                  <a:gd name="T10" fmla="*/ 0 w 12"/>
                  <a:gd name="T11" fmla="*/ 58 h 58"/>
                  <a:gd name="T12" fmla="*/ 12 w 12"/>
                  <a:gd name="T13" fmla="*/ 46 h 58"/>
                  <a:gd name="T14" fmla="*/ 12 w 12"/>
                  <a:gd name="T15" fmla="*/ 2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58">
                    <a:moveTo>
                      <a:pt x="12" y="2"/>
                    </a:moveTo>
                    <a:cubicBezTo>
                      <a:pt x="12" y="1"/>
                      <a:pt x="11" y="0"/>
                      <a:pt x="10" y="0"/>
                    </a:cubicBezTo>
                    <a:cubicBezTo>
                      <a:pt x="0" y="0"/>
                      <a:pt x="0" y="0"/>
                      <a:pt x="0" y="0"/>
                    </a:cubicBezTo>
                    <a:cubicBezTo>
                      <a:pt x="0" y="12"/>
                      <a:pt x="0" y="12"/>
                      <a:pt x="0" y="12"/>
                    </a:cubicBezTo>
                    <a:cubicBezTo>
                      <a:pt x="0" y="18"/>
                      <a:pt x="0" y="18"/>
                      <a:pt x="0" y="18"/>
                    </a:cubicBezTo>
                    <a:cubicBezTo>
                      <a:pt x="0" y="58"/>
                      <a:pt x="0" y="58"/>
                      <a:pt x="0" y="58"/>
                    </a:cubicBezTo>
                    <a:cubicBezTo>
                      <a:pt x="12" y="46"/>
                      <a:pt x="12" y="46"/>
                      <a:pt x="12" y="46"/>
                    </a:cubicBezTo>
                    <a:lnTo>
                      <a:pt x="1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 name="Freeform 66">
                <a:extLst>
                  <a:ext uri="{FF2B5EF4-FFF2-40B4-BE49-F238E27FC236}">
                    <a16:creationId xmlns:a16="http://schemas.microsoft.com/office/drawing/2014/main" id="{D547A117-C25B-4AEB-B2C9-74A085C46F9D}"/>
                  </a:ext>
                </a:extLst>
              </p:cNvPr>
              <p:cNvSpPr>
                <a:spLocks/>
              </p:cNvSpPr>
              <p:nvPr/>
            </p:nvSpPr>
            <p:spPr bwMode="auto">
              <a:xfrm>
                <a:off x="9161463" y="2209801"/>
                <a:ext cx="187325" cy="285750"/>
              </a:xfrm>
              <a:custGeom>
                <a:avLst/>
                <a:gdLst>
                  <a:gd name="T0" fmla="*/ 49 w 50"/>
                  <a:gd name="T1" fmla="*/ 64 h 76"/>
                  <a:gd name="T2" fmla="*/ 50 w 50"/>
                  <a:gd name="T3" fmla="*/ 64 h 76"/>
                  <a:gd name="T4" fmla="*/ 12 w 50"/>
                  <a:gd name="T5" fmla="*/ 64 h 76"/>
                  <a:gd name="T6" fmla="*/ 12 w 50"/>
                  <a:gd name="T7" fmla="*/ 18 h 76"/>
                  <a:gd name="T8" fmla="*/ 12 w 50"/>
                  <a:gd name="T9" fmla="*/ 12 h 76"/>
                  <a:gd name="T10" fmla="*/ 12 w 50"/>
                  <a:gd name="T11" fmla="*/ 0 h 76"/>
                  <a:gd name="T12" fmla="*/ 2 w 50"/>
                  <a:gd name="T13" fmla="*/ 0 h 76"/>
                  <a:gd name="T14" fmla="*/ 0 w 50"/>
                  <a:gd name="T15" fmla="*/ 2 h 76"/>
                  <a:gd name="T16" fmla="*/ 0 w 50"/>
                  <a:gd name="T17" fmla="*/ 66 h 76"/>
                  <a:gd name="T18" fmla="*/ 10 w 50"/>
                  <a:gd name="T19" fmla="*/ 76 h 76"/>
                  <a:gd name="T20" fmla="*/ 45 w 50"/>
                  <a:gd name="T21" fmla="*/ 76 h 76"/>
                  <a:gd name="T22" fmla="*/ 49 w 50"/>
                  <a:gd name="T23" fmla="*/ 65 h 76"/>
                  <a:gd name="T24" fmla="*/ 49 w 50"/>
                  <a:gd name="T25" fmla="*/ 6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76">
                    <a:moveTo>
                      <a:pt x="49" y="64"/>
                    </a:moveTo>
                    <a:cubicBezTo>
                      <a:pt x="50" y="64"/>
                      <a:pt x="50" y="64"/>
                      <a:pt x="50" y="64"/>
                    </a:cubicBezTo>
                    <a:cubicBezTo>
                      <a:pt x="12" y="64"/>
                      <a:pt x="12" y="64"/>
                      <a:pt x="12" y="64"/>
                    </a:cubicBezTo>
                    <a:cubicBezTo>
                      <a:pt x="12" y="18"/>
                      <a:pt x="12" y="18"/>
                      <a:pt x="12" y="18"/>
                    </a:cubicBezTo>
                    <a:cubicBezTo>
                      <a:pt x="12" y="12"/>
                      <a:pt x="12" y="12"/>
                      <a:pt x="12" y="12"/>
                    </a:cubicBezTo>
                    <a:cubicBezTo>
                      <a:pt x="12" y="0"/>
                      <a:pt x="12" y="0"/>
                      <a:pt x="12" y="0"/>
                    </a:cubicBezTo>
                    <a:cubicBezTo>
                      <a:pt x="2" y="0"/>
                      <a:pt x="2" y="0"/>
                      <a:pt x="2" y="0"/>
                    </a:cubicBezTo>
                    <a:cubicBezTo>
                      <a:pt x="1" y="0"/>
                      <a:pt x="0" y="1"/>
                      <a:pt x="0" y="2"/>
                    </a:cubicBezTo>
                    <a:cubicBezTo>
                      <a:pt x="0" y="66"/>
                      <a:pt x="0" y="66"/>
                      <a:pt x="0" y="66"/>
                    </a:cubicBezTo>
                    <a:cubicBezTo>
                      <a:pt x="0" y="72"/>
                      <a:pt x="4" y="76"/>
                      <a:pt x="10" y="76"/>
                    </a:cubicBezTo>
                    <a:cubicBezTo>
                      <a:pt x="45" y="76"/>
                      <a:pt x="45" y="76"/>
                      <a:pt x="45" y="76"/>
                    </a:cubicBezTo>
                    <a:cubicBezTo>
                      <a:pt x="49" y="65"/>
                      <a:pt x="49" y="65"/>
                      <a:pt x="49" y="65"/>
                    </a:cubicBezTo>
                    <a:cubicBezTo>
                      <a:pt x="49" y="65"/>
                      <a:pt x="49" y="65"/>
                      <a:pt x="4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 name="Freeform 67">
                <a:extLst>
                  <a:ext uri="{FF2B5EF4-FFF2-40B4-BE49-F238E27FC236}">
                    <a16:creationId xmlns:a16="http://schemas.microsoft.com/office/drawing/2014/main" id="{C78C8C6E-AA7E-4FFE-AD0B-FB890E8516B9}"/>
                  </a:ext>
                </a:extLst>
              </p:cNvPr>
              <p:cNvSpPr>
                <a:spLocks/>
              </p:cNvSpPr>
              <p:nvPr/>
            </p:nvSpPr>
            <p:spPr bwMode="auto">
              <a:xfrm>
                <a:off x="9236075" y="2298701"/>
                <a:ext cx="90488" cy="15875"/>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 name="Freeform 68">
                <a:extLst>
                  <a:ext uri="{FF2B5EF4-FFF2-40B4-BE49-F238E27FC236}">
                    <a16:creationId xmlns:a16="http://schemas.microsoft.com/office/drawing/2014/main" id="{2288712C-BB20-4467-B0A8-5403513A4B73}"/>
                  </a:ext>
                </a:extLst>
              </p:cNvPr>
              <p:cNvSpPr>
                <a:spLocks/>
              </p:cNvSpPr>
              <p:nvPr/>
            </p:nvSpPr>
            <p:spPr bwMode="auto">
              <a:xfrm>
                <a:off x="9236075" y="2328863"/>
                <a:ext cx="90488" cy="15875"/>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 name="Freeform 69">
                <a:extLst>
                  <a:ext uri="{FF2B5EF4-FFF2-40B4-BE49-F238E27FC236}">
                    <a16:creationId xmlns:a16="http://schemas.microsoft.com/office/drawing/2014/main" id="{0E041EA8-F966-43EA-B1AB-EE0FD24D8781}"/>
                  </a:ext>
                </a:extLst>
              </p:cNvPr>
              <p:cNvSpPr>
                <a:spLocks/>
              </p:cNvSpPr>
              <p:nvPr/>
            </p:nvSpPr>
            <p:spPr bwMode="auto">
              <a:xfrm>
                <a:off x="9236075" y="2359026"/>
                <a:ext cx="90488" cy="15875"/>
              </a:xfrm>
              <a:custGeom>
                <a:avLst/>
                <a:gdLst>
                  <a:gd name="T0" fmla="*/ 24 w 24"/>
                  <a:gd name="T1" fmla="*/ 2 h 4"/>
                  <a:gd name="T2" fmla="*/ 22 w 24"/>
                  <a:gd name="T3" fmla="*/ 0 h 4"/>
                  <a:gd name="T4" fmla="*/ 2 w 24"/>
                  <a:gd name="T5" fmla="*/ 0 h 4"/>
                  <a:gd name="T6" fmla="*/ 0 w 24"/>
                  <a:gd name="T7" fmla="*/ 2 h 4"/>
                  <a:gd name="T8" fmla="*/ 2 w 24"/>
                  <a:gd name="T9" fmla="*/ 4 h 4"/>
                  <a:gd name="T10" fmla="*/ 22 w 24"/>
                  <a:gd name="T11" fmla="*/ 4 h 4"/>
                  <a:gd name="T12" fmla="*/ 24 w 2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2"/>
                    </a:moveTo>
                    <a:cubicBezTo>
                      <a:pt x="24" y="1"/>
                      <a:pt x="23" y="0"/>
                      <a:pt x="22" y="0"/>
                    </a:cubicBez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70">
                <a:extLst>
                  <a:ext uri="{FF2B5EF4-FFF2-40B4-BE49-F238E27FC236}">
                    <a16:creationId xmlns:a16="http://schemas.microsoft.com/office/drawing/2014/main" id="{CE5B3C5D-8FB7-45D2-A784-97AC1E2F9126}"/>
                  </a:ext>
                </a:extLst>
              </p:cNvPr>
              <p:cNvSpPr>
                <a:spLocks/>
              </p:cNvSpPr>
              <p:nvPr/>
            </p:nvSpPr>
            <p:spPr bwMode="auto">
              <a:xfrm>
                <a:off x="9236075" y="2389188"/>
                <a:ext cx="60325" cy="15875"/>
              </a:xfrm>
              <a:custGeom>
                <a:avLst/>
                <a:gdLst>
                  <a:gd name="T0" fmla="*/ 2 w 16"/>
                  <a:gd name="T1" fmla="*/ 0 h 4"/>
                  <a:gd name="T2" fmla="*/ 0 w 16"/>
                  <a:gd name="T3" fmla="*/ 2 h 4"/>
                  <a:gd name="T4" fmla="*/ 2 w 16"/>
                  <a:gd name="T5" fmla="*/ 4 h 4"/>
                  <a:gd name="T6" fmla="*/ 14 w 16"/>
                  <a:gd name="T7" fmla="*/ 4 h 4"/>
                  <a:gd name="T8" fmla="*/ 16 w 16"/>
                  <a:gd name="T9" fmla="*/ 2 h 4"/>
                  <a:gd name="T10" fmla="*/ 14 w 16"/>
                  <a:gd name="T11" fmla="*/ 0 h 4"/>
                  <a:gd name="T12" fmla="*/ 2 w 1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2" y="0"/>
                    </a:moveTo>
                    <a:cubicBezTo>
                      <a:pt x="1" y="0"/>
                      <a:pt x="0" y="1"/>
                      <a:pt x="0" y="2"/>
                    </a:cubicBezTo>
                    <a:cubicBezTo>
                      <a:pt x="0" y="3"/>
                      <a:pt x="1" y="4"/>
                      <a:pt x="2" y="4"/>
                    </a:cubicBezTo>
                    <a:cubicBezTo>
                      <a:pt x="14" y="4"/>
                      <a:pt x="14" y="4"/>
                      <a:pt x="14" y="4"/>
                    </a:cubicBezTo>
                    <a:cubicBezTo>
                      <a:pt x="15" y="4"/>
                      <a:pt x="16" y="3"/>
                      <a:pt x="16" y="2"/>
                    </a:cubicBezTo>
                    <a:cubicBezTo>
                      <a:pt x="16" y="1"/>
                      <a:pt x="15" y="0"/>
                      <a:pt x="14"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 name="Freeform 71">
                <a:extLst>
                  <a:ext uri="{FF2B5EF4-FFF2-40B4-BE49-F238E27FC236}">
                    <a16:creationId xmlns:a16="http://schemas.microsoft.com/office/drawing/2014/main" id="{12A97530-9913-429B-8464-31F1FFCDA1FA}"/>
                  </a:ext>
                </a:extLst>
              </p:cNvPr>
              <p:cNvSpPr>
                <a:spLocks/>
              </p:cNvSpPr>
              <p:nvPr/>
            </p:nvSpPr>
            <p:spPr bwMode="auto">
              <a:xfrm>
                <a:off x="9221788" y="2163763"/>
                <a:ext cx="134938" cy="104775"/>
              </a:xfrm>
              <a:custGeom>
                <a:avLst/>
                <a:gdLst>
                  <a:gd name="T0" fmla="*/ 2 w 36"/>
                  <a:gd name="T1" fmla="*/ 28 h 28"/>
                  <a:gd name="T2" fmla="*/ 34 w 36"/>
                  <a:gd name="T3" fmla="*/ 28 h 28"/>
                  <a:gd name="T4" fmla="*/ 36 w 36"/>
                  <a:gd name="T5" fmla="*/ 26 h 28"/>
                  <a:gd name="T6" fmla="*/ 36 w 36"/>
                  <a:gd name="T7" fmla="*/ 10 h 28"/>
                  <a:gd name="T8" fmla="*/ 34 w 36"/>
                  <a:gd name="T9" fmla="*/ 8 h 28"/>
                  <a:gd name="T10" fmla="*/ 28 w 36"/>
                  <a:gd name="T11" fmla="*/ 8 h 28"/>
                  <a:gd name="T12" fmla="*/ 18 w 36"/>
                  <a:gd name="T13" fmla="*/ 0 h 28"/>
                  <a:gd name="T14" fmla="*/ 8 w 36"/>
                  <a:gd name="T15" fmla="*/ 8 h 28"/>
                  <a:gd name="T16" fmla="*/ 2 w 36"/>
                  <a:gd name="T17" fmla="*/ 8 h 28"/>
                  <a:gd name="T18" fmla="*/ 0 w 36"/>
                  <a:gd name="T19" fmla="*/ 10 h 28"/>
                  <a:gd name="T20" fmla="*/ 0 w 36"/>
                  <a:gd name="T21" fmla="*/ 26 h 28"/>
                  <a:gd name="T22" fmla="*/ 2 w 36"/>
                  <a:gd name="T2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8">
                    <a:moveTo>
                      <a:pt x="2" y="28"/>
                    </a:moveTo>
                    <a:cubicBezTo>
                      <a:pt x="34" y="28"/>
                      <a:pt x="34" y="28"/>
                      <a:pt x="34" y="28"/>
                    </a:cubicBezTo>
                    <a:cubicBezTo>
                      <a:pt x="35" y="28"/>
                      <a:pt x="36" y="27"/>
                      <a:pt x="36" y="26"/>
                    </a:cubicBezTo>
                    <a:cubicBezTo>
                      <a:pt x="36" y="10"/>
                      <a:pt x="36" y="10"/>
                      <a:pt x="36" y="10"/>
                    </a:cubicBezTo>
                    <a:cubicBezTo>
                      <a:pt x="36" y="9"/>
                      <a:pt x="35" y="8"/>
                      <a:pt x="34" y="8"/>
                    </a:cubicBezTo>
                    <a:cubicBezTo>
                      <a:pt x="28" y="8"/>
                      <a:pt x="28" y="8"/>
                      <a:pt x="28" y="8"/>
                    </a:cubicBezTo>
                    <a:cubicBezTo>
                      <a:pt x="27" y="3"/>
                      <a:pt x="23" y="0"/>
                      <a:pt x="18" y="0"/>
                    </a:cubicBezTo>
                    <a:cubicBezTo>
                      <a:pt x="13" y="0"/>
                      <a:pt x="9" y="3"/>
                      <a:pt x="8" y="8"/>
                    </a:cubicBezTo>
                    <a:cubicBezTo>
                      <a:pt x="2" y="8"/>
                      <a:pt x="2" y="8"/>
                      <a:pt x="2" y="8"/>
                    </a:cubicBezTo>
                    <a:cubicBezTo>
                      <a:pt x="1" y="8"/>
                      <a:pt x="0" y="9"/>
                      <a:pt x="0" y="10"/>
                    </a:cubicBezTo>
                    <a:cubicBezTo>
                      <a:pt x="0" y="26"/>
                      <a:pt x="0" y="26"/>
                      <a:pt x="0" y="26"/>
                    </a:cubicBezTo>
                    <a:cubicBezTo>
                      <a:pt x="0" y="27"/>
                      <a:pt x="1" y="28"/>
                      <a:pt x="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 name="Freeform 72">
                <a:extLst>
                  <a:ext uri="{FF2B5EF4-FFF2-40B4-BE49-F238E27FC236}">
                    <a16:creationId xmlns:a16="http://schemas.microsoft.com/office/drawing/2014/main" id="{0E253B7C-E25B-4BAA-B825-84AED272E4D2}"/>
                  </a:ext>
                </a:extLst>
              </p:cNvPr>
              <p:cNvSpPr>
                <a:spLocks/>
              </p:cNvSpPr>
              <p:nvPr/>
            </p:nvSpPr>
            <p:spPr bwMode="auto">
              <a:xfrm>
                <a:off x="9447213" y="234473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20 w 20"/>
                  <a:gd name="T13" fmla="*/ 12 h 20"/>
                  <a:gd name="T14" fmla="*/ 19 w 20"/>
                  <a:gd name="T15" fmla="*/ 11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3"/>
                      <a:pt x="20" y="12"/>
                    </a:cubicBezTo>
                    <a:cubicBezTo>
                      <a:pt x="20" y="11"/>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 name="Freeform 73">
                <a:extLst>
                  <a:ext uri="{FF2B5EF4-FFF2-40B4-BE49-F238E27FC236}">
                    <a16:creationId xmlns:a16="http://schemas.microsoft.com/office/drawing/2014/main" id="{8908649D-D8A3-49FF-AC2D-6DC4C8463608}"/>
                  </a:ext>
                </a:extLst>
              </p:cNvPr>
              <p:cNvSpPr>
                <a:spLocks/>
              </p:cNvSpPr>
              <p:nvPr/>
            </p:nvSpPr>
            <p:spPr bwMode="auto">
              <a:xfrm>
                <a:off x="9340850" y="2468563"/>
                <a:ext cx="57150" cy="57150"/>
              </a:xfrm>
              <a:custGeom>
                <a:avLst/>
                <a:gdLst>
                  <a:gd name="T0" fmla="*/ 2 w 15"/>
                  <a:gd name="T1" fmla="*/ 7 h 15"/>
                  <a:gd name="T2" fmla="*/ 2 w 15"/>
                  <a:gd name="T3" fmla="*/ 7 h 15"/>
                  <a:gd name="T4" fmla="*/ 0 w 15"/>
                  <a:gd name="T5" fmla="*/ 12 h 15"/>
                  <a:gd name="T6" fmla="*/ 1 w 15"/>
                  <a:gd name="T7" fmla="*/ 14 h 15"/>
                  <a:gd name="T8" fmla="*/ 3 w 15"/>
                  <a:gd name="T9" fmla="*/ 15 h 15"/>
                  <a:gd name="T10" fmla="*/ 15 w 15"/>
                  <a:gd name="T11" fmla="*/ 11 h 15"/>
                  <a:gd name="T12" fmla="*/ 4 w 15"/>
                  <a:gd name="T13" fmla="*/ 0 h 15"/>
                  <a:gd name="T14" fmla="*/ 2 w 15"/>
                  <a:gd name="T15" fmla="*/ 7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2" y="7"/>
                    </a:moveTo>
                    <a:cubicBezTo>
                      <a:pt x="2" y="7"/>
                      <a:pt x="2" y="7"/>
                      <a:pt x="2" y="7"/>
                    </a:cubicBezTo>
                    <a:cubicBezTo>
                      <a:pt x="0" y="12"/>
                      <a:pt x="0" y="12"/>
                      <a:pt x="0" y="12"/>
                    </a:cubicBezTo>
                    <a:cubicBezTo>
                      <a:pt x="0" y="13"/>
                      <a:pt x="0" y="14"/>
                      <a:pt x="1" y="14"/>
                    </a:cubicBezTo>
                    <a:cubicBezTo>
                      <a:pt x="1" y="15"/>
                      <a:pt x="2" y="15"/>
                      <a:pt x="3" y="15"/>
                    </a:cubicBezTo>
                    <a:cubicBezTo>
                      <a:pt x="15" y="11"/>
                      <a:pt x="15" y="11"/>
                      <a:pt x="15" y="11"/>
                    </a:cubicBezTo>
                    <a:cubicBezTo>
                      <a:pt x="4" y="0"/>
                      <a:pt x="4" y="0"/>
                      <a:pt x="4" y="0"/>
                    </a:cubicBez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 name="Freeform 74">
                <a:extLst>
                  <a:ext uri="{FF2B5EF4-FFF2-40B4-BE49-F238E27FC236}">
                    <a16:creationId xmlns:a16="http://schemas.microsoft.com/office/drawing/2014/main" id="{2F45B535-53C4-4BB3-9A43-B6518F2F8CF0}"/>
                  </a:ext>
                </a:extLst>
              </p:cNvPr>
              <p:cNvSpPr>
                <a:spLocks/>
              </p:cNvSpPr>
              <p:nvPr/>
            </p:nvSpPr>
            <p:spPr bwMode="auto">
              <a:xfrm>
                <a:off x="9364663" y="2382838"/>
                <a:ext cx="119063" cy="120650"/>
              </a:xfrm>
              <a:custGeom>
                <a:avLst/>
                <a:gdLst>
                  <a:gd name="T0" fmla="*/ 0 w 75"/>
                  <a:gd name="T1" fmla="*/ 45 h 76"/>
                  <a:gd name="T2" fmla="*/ 30 w 75"/>
                  <a:gd name="T3" fmla="*/ 76 h 76"/>
                  <a:gd name="T4" fmla="*/ 75 w 75"/>
                  <a:gd name="T5" fmla="*/ 30 h 76"/>
                  <a:gd name="T6" fmla="*/ 45 w 75"/>
                  <a:gd name="T7" fmla="*/ 0 h 76"/>
                  <a:gd name="T8" fmla="*/ 0 w 75"/>
                  <a:gd name="T9" fmla="*/ 45 h 76"/>
                </a:gdLst>
                <a:ahLst/>
                <a:cxnLst>
                  <a:cxn ang="0">
                    <a:pos x="T0" y="T1"/>
                  </a:cxn>
                  <a:cxn ang="0">
                    <a:pos x="T2" y="T3"/>
                  </a:cxn>
                  <a:cxn ang="0">
                    <a:pos x="T4" y="T5"/>
                  </a:cxn>
                  <a:cxn ang="0">
                    <a:pos x="T6" y="T7"/>
                  </a:cxn>
                  <a:cxn ang="0">
                    <a:pos x="T8" y="T9"/>
                  </a:cxn>
                </a:cxnLst>
                <a:rect l="0" t="0" r="r" b="b"/>
                <a:pathLst>
                  <a:path w="75" h="76">
                    <a:moveTo>
                      <a:pt x="0" y="45"/>
                    </a:moveTo>
                    <a:lnTo>
                      <a:pt x="30" y="76"/>
                    </a:lnTo>
                    <a:lnTo>
                      <a:pt x="75" y="30"/>
                    </a:lnTo>
                    <a:lnTo>
                      <a:pt x="45" y="0"/>
                    </a:lnTo>
                    <a:lnTo>
                      <a:pt x="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21" name="Group 20">
            <a:extLst>
              <a:ext uri="{FF2B5EF4-FFF2-40B4-BE49-F238E27FC236}">
                <a16:creationId xmlns:a16="http://schemas.microsoft.com/office/drawing/2014/main" id="{C9DFA6E5-D7D3-42BC-B0A0-BEF712B8F21B}"/>
              </a:ext>
            </a:extLst>
          </p:cNvPr>
          <p:cNvGrpSpPr/>
          <p:nvPr/>
        </p:nvGrpSpPr>
        <p:grpSpPr>
          <a:xfrm>
            <a:off x="236486" y="1034141"/>
            <a:ext cx="6227007" cy="5203460"/>
            <a:chOff x="416795" y="1166357"/>
            <a:chExt cx="5864195" cy="4934223"/>
          </a:xfrm>
        </p:grpSpPr>
        <p:pic>
          <p:nvPicPr>
            <p:cNvPr id="6" name="Picture 5">
              <a:extLst>
                <a:ext uri="{FF2B5EF4-FFF2-40B4-BE49-F238E27FC236}">
                  <a16:creationId xmlns:a16="http://schemas.microsoft.com/office/drawing/2014/main" id="{767C9E5F-68BB-45F9-A7EC-B74F1A12610E}"/>
                </a:ext>
              </a:extLst>
            </p:cNvPr>
            <p:cNvPicPr>
              <a:picLocks noChangeAspect="1"/>
            </p:cNvPicPr>
            <p:nvPr/>
          </p:nvPicPr>
          <p:blipFill>
            <a:blip r:embed="rId3"/>
            <a:stretch>
              <a:fillRect/>
            </a:stretch>
          </p:blipFill>
          <p:spPr>
            <a:xfrm>
              <a:off x="416795" y="1166357"/>
              <a:ext cx="5846265" cy="3483314"/>
            </a:xfrm>
            <a:prstGeom prst="rect">
              <a:avLst/>
            </a:prstGeom>
          </p:spPr>
        </p:pic>
        <p:pic>
          <p:nvPicPr>
            <p:cNvPr id="20" name="Picture 19">
              <a:extLst>
                <a:ext uri="{FF2B5EF4-FFF2-40B4-BE49-F238E27FC236}">
                  <a16:creationId xmlns:a16="http://schemas.microsoft.com/office/drawing/2014/main" id="{1E3E2E43-9763-4910-BFCD-9194279A21A0}"/>
                </a:ext>
              </a:extLst>
            </p:cNvPr>
            <p:cNvPicPr>
              <a:picLocks noChangeAspect="1"/>
            </p:cNvPicPr>
            <p:nvPr/>
          </p:nvPicPr>
          <p:blipFill>
            <a:blip r:embed="rId4"/>
            <a:stretch>
              <a:fillRect/>
            </a:stretch>
          </p:blipFill>
          <p:spPr>
            <a:xfrm>
              <a:off x="787399" y="4649671"/>
              <a:ext cx="5493591" cy="1450909"/>
            </a:xfrm>
            <a:prstGeom prst="rect">
              <a:avLst/>
            </a:prstGeom>
          </p:spPr>
        </p:pic>
      </p:grpSp>
      <p:pic>
        <p:nvPicPr>
          <p:cNvPr id="23" name="Picture 22">
            <a:extLst>
              <a:ext uri="{FF2B5EF4-FFF2-40B4-BE49-F238E27FC236}">
                <a16:creationId xmlns:a16="http://schemas.microsoft.com/office/drawing/2014/main" id="{83E32329-AC98-4EAB-8713-9CE10CE8398F}"/>
              </a:ext>
            </a:extLst>
          </p:cNvPr>
          <p:cNvPicPr>
            <a:picLocks noChangeAspect="1"/>
          </p:cNvPicPr>
          <p:nvPr/>
        </p:nvPicPr>
        <p:blipFill>
          <a:blip r:embed="rId5"/>
          <a:stretch>
            <a:fillRect/>
          </a:stretch>
        </p:blipFill>
        <p:spPr>
          <a:xfrm>
            <a:off x="6346951" y="214075"/>
            <a:ext cx="5608563" cy="4891325"/>
          </a:xfrm>
          <a:prstGeom prst="rect">
            <a:avLst/>
          </a:prstGeom>
        </p:spPr>
      </p:pic>
    </p:spTree>
    <p:extLst>
      <p:ext uri="{BB962C8B-B14F-4D97-AF65-F5344CB8AC3E}">
        <p14:creationId xmlns:p14="http://schemas.microsoft.com/office/powerpoint/2010/main" val="4235677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34">
            <a:extLst>
              <a:ext uri="{FF2B5EF4-FFF2-40B4-BE49-F238E27FC236}">
                <a16:creationId xmlns:a16="http://schemas.microsoft.com/office/drawing/2014/main" id="{8D2DD6BB-F4A8-497A-8445-888D636D7495}"/>
              </a:ext>
            </a:extLst>
          </p:cNvPr>
          <p:cNvSpPr/>
          <p:nvPr/>
        </p:nvSpPr>
        <p:spPr>
          <a:xfrm rot="10800000" flipV="1">
            <a:off x="-2971" y="1637"/>
            <a:ext cx="7524684" cy="62951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 name="connsiteX0" fmla="*/ 0 w 4735061"/>
              <a:gd name="connsiteY0" fmla="*/ 0 h 1227503"/>
              <a:gd name="connsiteX1" fmla="*/ 4735061 w 4735061"/>
              <a:gd name="connsiteY1" fmla="*/ 2272 h 1227503"/>
              <a:gd name="connsiteX2" fmla="*/ 4735061 w 4735061"/>
              <a:gd name="connsiteY2" fmla="*/ 1128124 h 1227503"/>
              <a:gd name="connsiteX3" fmla="*/ 3440744 w 4735061"/>
              <a:gd name="connsiteY3" fmla="*/ 772982 h 1227503"/>
              <a:gd name="connsiteX4" fmla="*/ 0 w 4735061"/>
              <a:gd name="connsiteY4" fmla="*/ 0 h 1227503"/>
              <a:gd name="connsiteX0" fmla="*/ 0 w 4942986"/>
              <a:gd name="connsiteY0" fmla="*/ 2291 h 1225136"/>
              <a:gd name="connsiteX1" fmla="*/ 4942986 w 4942986"/>
              <a:gd name="connsiteY1" fmla="*/ 0 h 1225136"/>
              <a:gd name="connsiteX2" fmla="*/ 4942986 w 4942986"/>
              <a:gd name="connsiteY2" fmla="*/ 1125852 h 1225136"/>
              <a:gd name="connsiteX3" fmla="*/ 3648669 w 4942986"/>
              <a:gd name="connsiteY3" fmla="*/ 770710 h 1225136"/>
              <a:gd name="connsiteX4" fmla="*/ 0 w 4942986"/>
              <a:gd name="connsiteY4" fmla="*/ 2291 h 1225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2986" h="1225136">
                <a:moveTo>
                  <a:pt x="0" y="2291"/>
                </a:moveTo>
                <a:lnTo>
                  <a:pt x="4942986" y="0"/>
                </a:lnTo>
                <a:lnTo>
                  <a:pt x="4942986" y="1125852"/>
                </a:lnTo>
                <a:cubicBezTo>
                  <a:pt x="4942687" y="1429219"/>
                  <a:pt x="4472500" y="957970"/>
                  <a:pt x="3648669" y="770710"/>
                </a:cubicBezTo>
                <a:cubicBezTo>
                  <a:pt x="2824838" y="583450"/>
                  <a:pt x="59199" y="95595"/>
                  <a:pt x="0" y="2291"/>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7" name="Picture 6" descr="A group of people sitting at a table&#10;&#10;Description automatically generated">
            <a:extLst>
              <a:ext uri="{FF2B5EF4-FFF2-40B4-BE49-F238E27FC236}">
                <a16:creationId xmlns:a16="http://schemas.microsoft.com/office/drawing/2014/main" id="{549725CA-6A81-485E-AAE4-AC37F7F2DC2B}"/>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7529759" y="0"/>
            <a:ext cx="4052641" cy="5994401"/>
          </a:xfrm>
          <a:prstGeom prst="rect">
            <a:avLst/>
          </a:prstGeom>
        </p:spPr>
      </p:pic>
      <p:sp>
        <p:nvSpPr>
          <p:cNvPr id="4" name="Slide Number Placeholder 3">
            <a:extLst>
              <a:ext uri="{FF2B5EF4-FFF2-40B4-BE49-F238E27FC236}">
                <a16:creationId xmlns:a16="http://schemas.microsoft.com/office/drawing/2014/main" id="{BBA3E0C1-2193-468B-9D0E-F3697EDB27C8}"/>
              </a:ext>
            </a:extLst>
          </p:cNvPr>
          <p:cNvSpPr>
            <a:spLocks noGrp="1"/>
          </p:cNvSpPr>
          <p:nvPr>
            <p:ph type="sldNum" sz="quarter" idx="4"/>
          </p:nvPr>
        </p:nvSpPr>
        <p:spPr/>
        <p:txBody>
          <a:bodyPr/>
          <a:lstStyle/>
          <a:p>
            <a:fld id="{B84D2E29-67F4-44D8-B0E3-F54815B4F123}" type="slidenum">
              <a:rPr lang="en-US" smtClean="0"/>
              <a:pPr/>
              <a:t>18</a:t>
            </a:fld>
            <a:endParaRPr lang="en-US" dirty="0"/>
          </a:p>
        </p:txBody>
      </p:sp>
      <p:sp>
        <p:nvSpPr>
          <p:cNvPr id="5" name="Rectangle 4">
            <a:extLst>
              <a:ext uri="{FF2B5EF4-FFF2-40B4-BE49-F238E27FC236}">
                <a16:creationId xmlns:a16="http://schemas.microsoft.com/office/drawing/2014/main" id="{3F52CF61-077A-4E0F-9A15-475A68F79712}"/>
              </a:ext>
            </a:extLst>
          </p:cNvPr>
          <p:cNvSpPr/>
          <p:nvPr/>
        </p:nvSpPr>
        <p:spPr>
          <a:xfrm>
            <a:off x="7529759" y="1"/>
            <a:ext cx="4052641" cy="5994400"/>
          </a:xfrm>
          <a:prstGeom prst="rect">
            <a:avLst/>
          </a:pr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34">
            <a:extLst>
              <a:ext uri="{FF2B5EF4-FFF2-40B4-BE49-F238E27FC236}">
                <a16:creationId xmlns:a16="http://schemas.microsoft.com/office/drawing/2014/main" id="{A322540C-0C4C-4027-9F35-788FABE150D7}"/>
              </a:ext>
            </a:extLst>
          </p:cNvPr>
          <p:cNvSpPr/>
          <p:nvPr/>
        </p:nvSpPr>
        <p:spPr>
          <a:xfrm flipH="1" flipV="1">
            <a:off x="0" y="6184228"/>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8">
            <a:extLst>
              <a:ext uri="{FF2B5EF4-FFF2-40B4-BE49-F238E27FC236}">
                <a16:creationId xmlns:a16="http://schemas.microsoft.com/office/drawing/2014/main" id="{A6F99CD6-019B-405E-8495-0A2DE544C2F1}"/>
              </a:ext>
            </a:extLst>
          </p:cNvPr>
          <p:cNvSpPr txBox="1"/>
          <p:nvPr/>
        </p:nvSpPr>
        <p:spPr>
          <a:xfrm>
            <a:off x="358533" y="272294"/>
            <a:ext cx="6742731" cy="830997"/>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dirty="0">
                <a:solidFill>
                  <a:srgbClr val="652D74"/>
                </a:solidFill>
                <a:effectLst/>
                <a:latin typeface="Book Antiqua" panose="02040602050305030304" pitchFamily="18" charset="0"/>
              </a:rPr>
              <a:t>We will predict the whether the customers will churn or not using some great Classification Algorithms. Following are the algorithms we will use to make the model:</a:t>
            </a:r>
          </a:p>
        </p:txBody>
      </p:sp>
      <p:grpSp>
        <p:nvGrpSpPr>
          <p:cNvPr id="31" name="Group 30">
            <a:extLst>
              <a:ext uri="{FF2B5EF4-FFF2-40B4-BE49-F238E27FC236}">
                <a16:creationId xmlns:a16="http://schemas.microsoft.com/office/drawing/2014/main" id="{E98AD36E-0145-4067-B6D9-B8B1A9814B83}"/>
              </a:ext>
            </a:extLst>
          </p:cNvPr>
          <p:cNvGrpSpPr/>
          <p:nvPr/>
        </p:nvGrpSpPr>
        <p:grpSpPr>
          <a:xfrm>
            <a:off x="7175748" y="140444"/>
            <a:ext cx="866776" cy="866776"/>
            <a:chOff x="6468857" y="4976205"/>
            <a:chExt cx="866776" cy="866776"/>
          </a:xfrm>
        </p:grpSpPr>
        <p:grpSp>
          <p:nvGrpSpPr>
            <p:cNvPr id="32" name="Group 31">
              <a:extLst>
                <a:ext uri="{FF2B5EF4-FFF2-40B4-BE49-F238E27FC236}">
                  <a16:creationId xmlns:a16="http://schemas.microsoft.com/office/drawing/2014/main" id="{6FD61CE7-282A-481D-80B3-C94F95E2AD9E}"/>
                </a:ext>
              </a:extLst>
            </p:cNvPr>
            <p:cNvGrpSpPr/>
            <p:nvPr/>
          </p:nvGrpSpPr>
          <p:grpSpPr>
            <a:xfrm>
              <a:off x="6468857" y="4976205"/>
              <a:ext cx="866776" cy="866776"/>
              <a:chOff x="6705600" y="1238250"/>
              <a:chExt cx="866776" cy="866776"/>
            </a:xfrm>
          </p:grpSpPr>
          <p:sp>
            <p:nvSpPr>
              <p:cNvPr id="39" name="Oval 38">
                <a:extLst>
                  <a:ext uri="{FF2B5EF4-FFF2-40B4-BE49-F238E27FC236}">
                    <a16:creationId xmlns:a16="http://schemas.microsoft.com/office/drawing/2014/main" id="{F8147E64-CD2D-45AF-B2E5-3ADAEC0EDBC8}"/>
                  </a:ext>
                </a:extLst>
              </p:cNvPr>
              <p:cNvSpPr/>
              <p:nvPr/>
            </p:nvSpPr>
            <p:spPr>
              <a:xfrm>
                <a:off x="6705600" y="1238250"/>
                <a:ext cx="866776" cy="866776"/>
              </a:xfrm>
              <a:prstGeom prst="ellipse">
                <a:avLst/>
              </a:prstGeom>
              <a:gradFill>
                <a:gsLst>
                  <a:gs pos="2100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0" name="Oval 39">
                <a:extLst>
                  <a:ext uri="{FF2B5EF4-FFF2-40B4-BE49-F238E27FC236}">
                    <a16:creationId xmlns:a16="http://schemas.microsoft.com/office/drawing/2014/main" id="{8FF25152-8FE4-444A-851E-96B628C07D48}"/>
                  </a:ext>
                </a:extLst>
              </p:cNvPr>
              <p:cNvSpPr/>
              <p:nvPr/>
            </p:nvSpPr>
            <p:spPr>
              <a:xfrm>
                <a:off x="6800851" y="1333501"/>
                <a:ext cx="676275" cy="676275"/>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a:extLst>
                <a:ext uri="{FF2B5EF4-FFF2-40B4-BE49-F238E27FC236}">
                  <a16:creationId xmlns:a16="http://schemas.microsoft.com/office/drawing/2014/main" id="{5B9D4C64-9220-4394-B863-81BF2454B2C2}"/>
                </a:ext>
              </a:extLst>
            </p:cNvPr>
            <p:cNvGrpSpPr/>
            <p:nvPr/>
          </p:nvGrpSpPr>
          <p:grpSpPr>
            <a:xfrm>
              <a:off x="6722064" y="5233381"/>
              <a:ext cx="360363" cy="352425"/>
              <a:chOff x="2676526" y="4681538"/>
              <a:chExt cx="360363" cy="352425"/>
            </a:xfrm>
            <a:solidFill>
              <a:schemeClr val="accent1"/>
            </a:solidFill>
          </p:grpSpPr>
          <p:sp>
            <p:nvSpPr>
              <p:cNvPr id="34" name="Freeform 26">
                <a:extLst>
                  <a:ext uri="{FF2B5EF4-FFF2-40B4-BE49-F238E27FC236}">
                    <a16:creationId xmlns:a16="http://schemas.microsoft.com/office/drawing/2014/main" id="{55A6CB08-4EA3-47BE-88B7-5FB9683979DB}"/>
                  </a:ext>
                </a:extLst>
              </p:cNvPr>
              <p:cNvSpPr>
                <a:spLocks/>
              </p:cNvSpPr>
              <p:nvPr/>
            </p:nvSpPr>
            <p:spPr bwMode="auto">
              <a:xfrm>
                <a:off x="2676526" y="4794250"/>
                <a:ext cx="360363" cy="239713"/>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18 h 64"/>
                  <a:gd name="T18" fmla="*/ 66 w 96"/>
                  <a:gd name="T19" fmla="*/ 16 h 64"/>
                  <a:gd name="T20" fmla="*/ 54 w 96"/>
                  <a:gd name="T21" fmla="*/ 16 h 64"/>
                  <a:gd name="T22" fmla="*/ 52 w 96"/>
                  <a:gd name="T23" fmla="*/ 18 h 64"/>
                  <a:gd name="T24" fmla="*/ 52 w 96"/>
                  <a:gd name="T25" fmla="*/ 60 h 64"/>
                  <a:gd name="T26" fmla="*/ 44 w 96"/>
                  <a:gd name="T27" fmla="*/ 60 h 64"/>
                  <a:gd name="T28" fmla="*/ 44 w 96"/>
                  <a:gd name="T29" fmla="*/ 34 h 64"/>
                  <a:gd name="T30" fmla="*/ 42 w 96"/>
                  <a:gd name="T31" fmla="*/ 32 h 64"/>
                  <a:gd name="T32" fmla="*/ 30 w 96"/>
                  <a:gd name="T33" fmla="*/ 32 h 64"/>
                  <a:gd name="T34" fmla="*/ 28 w 96"/>
                  <a:gd name="T35" fmla="*/ 34 h 64"/>
                  <a:gd name="T36" fmla="*/ 28 w 96"/>
                  <a:gd name="T37" fmla="*/ 60 h 64"/>
                  <a:gd name="T38" fmla="*/ 20 w 96"/>
                  <a:gd name="T39" fmla="*/ 60 h 64"/>
                  <a:gd name="T40" fmla="*/ 20 w 96"/>
                  <a:gd name="T41" fmla="*/ 50 h 64"/>
                  <a:gd name="T42" fmla="*/ 18 w 96"/>
                  <a:gd name="T43" fmla="*/ 48 h 64"/>
                  <a:gd name="T44" fmla="*/ 6 w 96"/>
                  <a:gd name="T45" fmla="*/ 48 h 64"/>
                  <a:gd name="T46" fmla="*/ 4 w 96"/>
                  <a:gd name="T47" fmla="*/ 50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18"/>
                      <a:pt x="68" y="18"/>
                      <a:pt x="68" y="18"/>
                    </a:cubicBezTo>
                    <a:cubicBezTo>
                      <a:pt x="68" y="17"/>
                      <a:pt x="67" y="16"/>
                      <a:pt x="66" y="16"/>
                    </a:cubicBezTo>
                    <a:cubicBezTo>
                      <a:pt x="54" y="16"/>
                      <a:pt x="54" y="16"/>
                      <a:pt x="54" y="16"/>
                    </a:cubicBezTo>
                    <a:cubicBezTo>
                      <a:pt x="53" y="16"/>
                      <a:pt x="52" y="17"/>
                      <a:pt x="52" y="18"/>
                    </a:cubicBezTo>
                    <a:cubicBezTo>
                      <a:pt x="52" y="60"/>
                      <a:pt x="52" y="60"/>
                      <a:pt x="52" y="60"/>
                    </a:cubicBezTo>
                    <a:cubicBezTo>
                      <a:pt x="44" y="60"/>
                      <a:pt x="44" y="60"/>
                      <a:pt x="44" y="60"/>
                    </a:cubicBezTo>
                    <a:cubicBezTo>
                      <a:pt x="44" y="34"/>
                      <a:pt x="44" y="34"/>
                      <a:pt x="44" y="34"/>
                    </a:cubicBezTo>
                    <a:cubicBezTo>
                      <a:pt x="44" y="33"/>
                      <a:pt x="43" y="32"/>
                      <a:pt x="42" y="32"/>
                    </a:cubicBezTo>
                    <a:cubicBezTo>
                      <a:pt x="30" y="32"/>
                      <a:pt x="30" y="32"/>
                      <a:pt x="30" y="32"/>
                    </a:cubicBezTo>
                    <a:cubicBezTo>
                      <a:pt x="29" y="32"/>
                      <a:pt x="28" y="33"/>
                      <a:pt x="28" y="34"/>
                    </a:cubicBezTo>
                    <a:cubicBezTo>
                      <a:pt x="28" y="60"/>
                      <a:pt x="28" y="60"/>
                      <a:pt x="28" y="60"/>
                    </a:cubicBezTo>
                    <a:cubicBezTo>
                      <a:pt x="20" y="60"/>
                      <a:pt x="20" y="60"/>
                      <a:pt x="20" y="60"/>
                    </a:cubicBezTo>
                    <a:cubicBezTo>
                      <a:pt x="20" y="50"/>
                      <a:pt x="20" y="50"/>
                      <a:pt x="20" y="50"/>
                    </a:cubicBezTo>
                    <a:cubicBezTo>
                      <a:pt x="20" y="49"/>
                      <a:pt x="19" y="48"/>
                      <a:pt x="18" y="48"/>
                    </a:cubicBezTo>
                    <a:cubicBezTo>
                      <a:pt x="6" y="48"/>
                      <a:pt x="6" y="48"/>
                      <a:pt x="6" y="48"/>
                    </a:cubicBezTo>
                    <a:cubicBezTo>
                      <a:pt x="5" y="48"/>
                      <a:pt x="4" y="49"/>
                      <a:pt x="4" y="50"/>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27">
                <a:extLst>
                  <a:ext uri="{FF2B5EF4-FFF2-40B4-BE49-F238E27FC236}">
                    <a16:creationId xmlns:a16="http://schemas.microsoft.com/office/drawing/2014/main" id="{A325B633-F4AE-47E5-A721-4325E2BFB781}"/>
                  </a:ext>
                </a:extLst>
              </p:cNvPr>
              <p:cNvSpPr>
                <a:spLocks/>
              </p:cNvSpPr>
              <p:nvPr/>
            </p:nvSpPr>
            <p:spPr bwMode="auto">
              <a:xfrm>
                <a:off x="2714626" y="4681538"/>
                <a:ext cx="285750" cy="203200"/>
              </a:xfrm>
              <a:custGeom>
                <a:avLst/>
                <a:gdLst>
                  <a:gd name="T0" fmla="*/ 2 w 76"/>
                  <a:gd name="T1" fmla="*/ 54 h 54"/>
                  <a:gd name="T2" fmla="*/ 3 w 76"/>
                  <a:gd name="T3" fmla="*/ 54 h 54"/>
                  <a:gd name="T4" fmla="*/ 71 w 76"/>
                  <a:gd name="T5" fmla="*/ 8 h 54"/>
                  <a:gd name="T6" fmla="*/ 70 w 76"/>
                  <a:gd name="T7" fmla="*/ 20 h 54"/>
                  <a:gd name="T8" fmla="*/ 72 w 76"/>
                  <a:gd name="T9" fmla="*/ 22 h 54"/>
                  <a:gd name="T10" fmla="*/ 72 w 76"/>
                  <a:gd name="T11" fmla="*/ 22 h 54"/>
                  <a:gd name="T12" fmla="*/ 74 w 76"/>
                  <a:gd name="T13" fmla="*/ 20 h 54"/>
                  <a:gd name="T14" fmla="*/ 76 w 76"/>
                  <a:gd name="T15" fmla="*/ 4 h 54"/>
                  <a:gd name="T16" fmla="*/ 74 w 76"/>
                  <a:gd name="T17" fmla="*/ 2 h 54"/>
                  <a:gd name="T18" fmla="*/ 58 w 76"/>
                  <a:gd name="T19" fmla="*/ 0 h 54"/>
                  <a:gd name="T20" fmla="*/ 56 w 76"/>
                  <a:gd name="T21" fmla="*/ 2 h 54"/>
                  <a:gd name="T22" fmla="*/ 58 w 76"/>
                  <a:gd name="T23" fmla="*/ 4 h 54"/>
                  <a:gd name="T24" fmla="*/ 68 w 76"/>
                  <a:gd name="T25" fmla="*/ 5 h 54"/>
                  <a:gd name="T26" fmla="*/ 1 w 76"/>
                  <a:gd name="T27" fmla="*/ 50 h 54"/>
                  <a:gd name="T28" fmla="*/ 0 w 76"/>
                  <a:gd name="T29" fmla="*/ 53 h 54"/>
                  <a:gd name="T30" fmla="*/ 2 w 76"/>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54">
                    <a:moveTo>
                      <a:pt x="2" y="54"/>
                    </a:moveTo>
                    <a:cubicBezTo>
                      <a:pt x="2" y="54"/>
                      <a:pt x="3" y="54"/>
                      <a:pt x="3" y="54"/>
                    </a:cubicBezTo>
                    <a:cubicBezTo>
                      <a:pt x="71" y="8"/>
                      <a:pt x="71" y="8"/>
                      <a:pt x="71" y="8"/>
                    </a:cubicBezTo>
                    <a:cubicBezTo>
                      <a:pt x="70" y="20"/>
                      <a:pt x="70" y="20"/>
                      <a:pt x="70" y="20"/>
                    </a:cubicBezTo>
                    <a:cubicBezTo>
                      <a:pt x="70" y="21"/>
                      <a:pt x="71" y="22"/>
                      <a:pt x="72" y="22"/>
                    </a:cubicBezTo>
                    <a:cubicBezTo>
                      <a:pt x="72" y="22"/>
                      <a:pt x="72" y="22"/>
                      <a:pt x="72" y="22"/>
                    </a:cubicBezTo>
                    <a:cubicBezTo>
                      <a:pt x="73" y="22"/>
                      <a:pt x="74" y="21"/>
                      <a:pt x="74" y="20"/>
                    </a:cubicBezTo>
                    <a:cubicBezTo>
                      <a:pt x="76" y="4"/>
                      <a:pt x="76" y="4"/>
                      <a:pt x="76" y="4"/>
                    </a:cubicBezTo>
                    <a:cubicBezTo>
                      <a:pt x="76" y="3"/>
                      <a:pt x="75" y="2"/>
                      <a:pt x="74" y="2"/>
                    </a:cubicBezTo>
                    <a:cubicBezTo>
                      <a:pt x="74" y="2"/>
                      <a:pt x="58" y="0"/>
                      <a:pt x="58" y="0"/>
                    </a:cubicBezTo>
                    <a:cubicBezTo>
                      <a:pt x="57" y="0"/>
                      <a:pt x="56" y="1"/>
                      <a:pt x="56" y="2"/>
                    </a:cubicBezTo>
                    <a:cubicBezTo>
                      <a:pt x="56" y="3"/>
                      <a:pt x="57" y="4"/>
                      <a:pt x="58" y="4"/>
                    </a:cubicBezTo>
                    <a:cubicBezTo>
                      <a:pt x="68" y="5"/>
                      <a:pt x="68" y="5"/>
                      <a:pt x="68" y="5"/>
                    </a:cubicBezTo>
                    <a:cubicBezTo>
                      <a:pt x="1" y="50"/>
                      <a:pt x="1" y="50"/>
                      <a:pt x="1" y="50"/>
                    </a:cubicBezTo>
                    <a:cubicBezTo>
                      <a:pt x="0" y="51"/>
                      <a:pt x="0" y="52"/>
                      <a:pt x="0" y="53"/>
                    </a:cubicBezTo>
                    <a:cubicBezTo>
                      <a:pt x="1" y="54"/>
                      <a:pt x="1" y="54"/>
                      <a:pt x="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
        <p:nvSpPr>
          <p:cNvPr id="43" name="Google Shape;624;p43">
            <a:extLst>
              <a:ext uri="{FF2B5EF4-FFF2-40B4-BE49-F238E27FC236}">
                <a16:creationId xmlns:a16="http://schemas.microsoft.com/office/drawing/2014/main" id="{9A603E4A-EBEA-4456-84EA-C8474D7E8DC3}"/>
              </a:ext>
            </a:extLst>
          </p:cNvPr>
          <p:cNvSpPr/>
          <p:nvPr/>
        </p:nvSpPr>
        <p:spPr>
          <a:xfrm>
            <a:off x="214927" y="5384974"/>
            <a:ext cx="2770500" cy="1107900"/>
          </a:xfrm>
          <a:prstGeom prst="diamond">
            <a:avLst/>
          </a:prstGeom>
          <a:solidFill>
            <a:schemeClr val="accent1">
              <a:lumMod val="40000"/>
              <a:lumOff val="60000"/>
            </a:schemeClr>
          </a:solidFill>
          <a:ln>
            <a:solidFill>
              <a:schemeClr val="accent2">
                <a:lumMod val="40000"/>
                <a:lumOff val="6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25;p43">
            <a:extLst>
              <a:ext uri="{FF2B5EF4-FFF2-40B4-BE49-F238E27FC236}">
                <a16:creationId xmlns:a16="http://schemas.microsoft.com/office/drawing/2014/main" id="{4BEB0493-28C6-4BFB-B5DA-825917945D9E}"/>
              </a:ext>
            </a:extLst>
          </p:cNvPr>
          <p:cNvSpPr/>
          <p:nvPr/>
        </p:nvSpPr>
        <p:spPr>
          <a:xfrm>
            <a:off x="214927" y="4831073"/>
            <a:ext cx="2770500" cy="1107900"/>
          </a:xfrm>
          <a:prstGeom prst="diamond">
            <a:avLst/>
          </a:prstGeom>
          <a:solidFill>
            <a:srgbClr val="883E77"/>
          </a:solidFill>
          <a:ln>
            <a:solidFill>
              <a:schemeClr val="accent2">
                <a:lumMod val="40000"/>
                <a:lumOff val="6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26;p43">
            <a:extLst>
              <a:ext uri="{FF2B5EF4-FFF2-40B4-BE49-F238E27FC236}">
                <a16:creationId xmlns:a16="http://schemas.microsoft.com/office/drawing/2014/main" id="{8E2085EF-1511-4C42-926E-D8847F6BE40B}"/>
              </a:ext>
            </a:extLst>
          </p:cNvPr>
          <p:cNvSpPr/>
          <p:nvPr/>
        </p:nvSpPr>
        <p:spPr>
          <a:xfrm>
            <a:off x="214927" y="4277171"/>
            <a:ext cx="2770500" cy="1107900"/>
          </a:xfrm>
          <a:prstGeom prst="diamond">
            <a:avLst/>
          </a:prstGeom>
          <a:solidFill>
            <a:schemeClr val="accent2"/>
          </a:solidFill>
          <a:ln>
            <a:solidFill>
              <a:schemeClr val="accent2">
                <a:lumMod val="40000"/>
                <a:lumOff val="6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27;p43">
            <a:extLst>
              <a:ext uri="{FF2B5EF4-FFF2-40B4-BE49-F238E27FC236}">
                <a16:creationId xmlns:a16="http://schemas.microsoft.com/office/drawing/2014/main" id="{2BE5C137-139D-4BA6-9EB0-E9F929826EFC}"/>
              </a:ext>
            </a:extLst>
          </p:cNvPr>
          <p:cNvSpPr/>
          <p:nvPr/>
        </p:nvSpPr>
        <p:spPr>
          <a:xfrm>
            <a:off x="214927" y="3723270"/>
            <a:ext cx="2770500" cy="1107900"/>
          </a:xfrm>
          <a:prstGeom prst="diamond">
            <a:avLst/>
          </a:prstGeom>
          <a:solidFill>
            <a:schemeClr val="accent1"/>
          </a:solidFill>
          <a:ln>
            <a:solidFill>
              <a:schemeClr val="accent2">
                <a:lumMod val="40000"/>
                <a:lumOff val="6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 name="Google Shape;628;p43">
            <a:extLst>
              <a:ext uri="{FF2B5EF4-FFF2-40B4-BE49-F238E27FC236}">
                <a16:creationId xmlns:a16="http://schemas.microsoft.com/office/drawing/2014/main" id="{49E9893D-97F2-470F-9B17-C2CB88F9EE50}"/>
              </a:ext>
            </a:extLst>
          </p:cNvPr>
          <p:cNvCxnSpPr/>
          <p:nvPr/>
        </p:nvCxnSpPr>
        <p:spPr>
          <a:xfrm>
            <a:off x="2991952" y="4278370"/>
            <a:ext cx="1471200" cy="10800"/>
          </a:xfrm>
          <a:prstGeom prst="straightConnector1">
            <a:avLst/>
          </a:prstGeom>
          <a:noFill/>
          <a:ln w="9525" cap="flat" cmpd="sng">
            <a:solidFill>
              <a:schemeClr val="accent2">
                <a:lumMod val="40000"/>
                <a:lumOff val="60000"/>
              </a:schemeClr>
            </a:solidFill>
            <a:prstDash val="solid"/>
            <a:round/>
            <a:headEnd type="oval" w="med" len="med"/>
            <a:tailEnd type="diamond" w="med" len="med"/>
          </a:ln>
        </p:spPr>
      </p:cxnSp>
      <p:cxnSp>
        <p:nvCxnSpPr>
          <p:cNvPr id="49" name="Google Shape;629;p43">
            <a:extLst>
              <a:ext uri="{FF2B5EF4-FFF2-40B4-BE49-F238E27FC236}">
                <a16:creationId xmlns:a16="http://schemas.microsoft.com/office/drawing/2014/main" id="{90C9783F-581B-4A49-A8F2-F1BDB2BAC844}"/>
              </a:ext>
            </a:extLst>
          </p:cNvPr>
          <p:cNvCxnSpPr/>
          <p:nvPr/>
        </p:nvCxnSpPr>
        <p:spPr>
          <a:xfrm>
            <a:off x="2991952" y="4831670"/>
            <a:ext cx="1471200" cy="10800"/>
          </a:xfrm>
          <a:prstGeom prst="straightConnector1">
            <a:avLst/>
          </a:prstGeom>
          <a:noFill/>
          <a:ln w="9525" cap="flat" cmpd="sng">
            <a:solidFill>
              <a:schemeClr val="accent2">
                <a:lumMod val="40000"/>
                <a:lumOff val="60000"/>
              </a:schemeClr>
            </a:solidFill>
            <a:prstDash val="solid"/>
            <a:round/>
            <a:headEnd type="oval" w="med" len="med"/>
            <a:tailEnd type="diamond" w="med" len="med"/>
          </a:ln>
        </p:spPr>
      </p:cxnSp>
      <p:cxnSp>
        <p:nvCxnSpPr>
          <p:cNvPr id="50" name="Google Shape;630;p43">
            <a:extLst>
              <a:ext uri="{FF2B5EF4-FFF2-40B4-BE49-F238E27FC236}">
                <a16:creationId xmlns:a16="http://schemas.microsoft.com/office/drawing/2014/main" id="{53BF2D03-E417-475D-B85B-3A7DC3BDEF27}"/>
              </a:ext>
            </a:extLst>
          </p:cNvPr>
          <p:cNvCxnSpPr/>
          <p:nvPr/>
        </p:nvCxnSpPr>
        <p:spPr>
          <a:xfrm>
            <a:off x="2991952" y="5384970"/>
            <a:ext cx="1471200" cy="10800"/>
          </a:xfrm>
          <a:prstGeom prst="straightConnector1">
            <a:avLst/>
          </a:prstGeom>
          <a:noFill/>
          <a:ln w="9525" cap="flat" cmpd="sng">
            <a:solidFill>
              <a:schemeClr val="accent2">
                <a:lumMod val="40000"/>
                <a:lumOff val="60000"/>
              </a:schemeClr>
            </a:solidFill>
            <a:prstDash val="solid"/>
            <a:round/>
            <a:headEnd type="oval" w="med" len="med"/>
            <a:tailEnd type="diamond" w="med" len="med"/>
          </a:ln>
        </p:spPr>
      </p:cxnSp>
      <p:cxnSp>
        <p:nvCxnSpPr>
          <p:cNvPr id="52" name="Google Shape;631;p43">
            <a:extLst>
              <a:ext uri="{FF2B5EF4-FFF2-40B4-BE49-F238E27FC236}">
                <a16:creationId xmlns:a16="http://schemas.microsoft.com/office/drawing/2014/main" id="{C008FB6B-FBBB-4DEB-96A9-281199B905DE}"/>
              </a:ext>
            </a:extLst>
          </p:cNvPr>
          <p:cNvCxnSpPr/>
          <p:nvPr/>
        </p:nvCxnSpPr>
        <p:spPr>
          <a:xfrm>
            <a:off x="2991952" y="5938270"/>
            <a:ext cx="1471200" cy="10800"/>
          </a:xfrm>
          <a:prstGeom prst="straightConnector1">
            <a:avLst/>
          </a:prstGeom>
          <a:noFill/>
          <a:ln w="9525" cap="flat" cmpd="sng">
            <a:solidFill>
              <a:schemeClr val="accent2">
                <a:lumMod val="40000"/>
                <a:lumOff val="60000"/>
              </a:schemeClr>
            </a:solidFill>
            <a:prstDash val="solid"/>
            <a:round/>
            <a:headEnd type="oval" w="med" len="med"/>
            <a:tailEnd type="diamond" w="med" len="med"/>
          </a:ln>
        </p:spPr>
      </p:cxnSp>
      <p:sp>
        <p:nvSpPr>
          <p:cNvPr id="53" name="Google Shape;624;p43">
            <a:extLst>
              <a:ext uri="{FF2B5EF4-FFF2-40B4-BE49-F238E27FC236}">
                <a16:creationId xmlns:a16="http://schemas.microsoft.com/office/drawing/2014/main" id="{19CAB6FD-2E9F-41A5-B631-5AB4C3EDB2CF}"/>
              </a:ext>
            </a:extLst>
          </p:cNvPr>
          <p:cNvSpPr/>
          <p:nvPr/>
        </p:nvSpPr>
        <p:spPr>
          <a:xfrm>
            <a:off x="231128" y="3160072"/>
            <a:ext cx="2770500" cy="1107900"/>
          </a:xfrm>
          <a:prstGeom prst="diamond">
            <a:avLst/>
          </a:prstGeom>
          <a:solidFill>
            <a:schemeClr val="accent2">
              <a:lumMod val="75000"/>
            </a:schemeClr>
          </a:solidFill>
          <a:ln>
            <a:solidFill>
              <a:schemeClr val="accent2">
                <a:lumMod val="40000"/>
                <a:lumOff val="6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25;p43">
            <a:extLst>
              <a:ext uri="{FF2B5EF4-FFF2-40B4-BE49-F238E27FC236}">
                <a16:creationId xmlns:a16="http://schemas.microsoft.com/office/drawing/2014/main" id="{CAF86675-B2F5-48E9-8488-D929804EB875}"/>
              </a:ext>
            </a:extLst>
          </p:cNvPr>
          <p:cNvSpPr/>
          <p:nvPr/>
        </p:nvSpPr>
        <p:spPr>
          <a:xfrm>
            <a:off x="231128" y="2606171"/>
            <a:ext cx="2770500" cy="1107900"/>
          </a:xfrm>
          <a:prstGeom prst="diamond">
            <a:avLst/>
          </a:prstGeom>
          <a:solidFill>
            <a:schemeClr val="accent2">
              <a:lumMod val="60000"/>
              <a:lumOff val="40000"/>
            </a:schemeClr>
          </a:solidFill>
          <a:ln>
            <a:solidFill>
              <a:schemeClr val="accent2">
                <a:lumMod val="40000"/>
                <a:lumOff val="6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 name="Google Shape;628;p43">
            <a:extLst>
              <a:ext uri="{FF2B5EF4-FFF2-40B4-BE49-F238E27FC236}">
                <a16:creationId xmlns:a16="http://schemas.microsoft.com/office/drawing/2014/main" id="{E9C2EEFE-721D-4A8E-948F-7419B7F04D21}"/>
              </a:ext>
            </a:extLst>
          </p:cNvPr>
          <p:cNvCxnSpPr/>
          <p:nvPr/>
        </p:nvCxnSpPr>
        <p:spPr>
          <a:xfrm>
            <a:off x="3017829" y="3703222"/>
            <a:ext cx="1471200" cy="10800"/>
          </a:xfrm>
          <a:prstGeom prst="straightConnector1">
            <a:avLst/>
          </a:prstGeom>
          <a:noFill/>
          <a:ln w="9525" cap="flat" cmpd="sng">
            <a:solidFill>
              <a:schemeClr val="accent2">
                <a:lumMod val="40000"/>
                <a:lumOff val="60000"/>
              </a:schemeClr>
            </a:solidFill>
            <a:prstDash val="solid"/>
            <a:round/>
            <a:headEnd type="oval" w="med" len="med"/>
            <a:tailEnd type="diamond" w="med" len="med"/>
          </a:ln>
        </p:spPr>
      </p:cxnSp>
      <p:cxnSp>
        <p:nvCxnSpPr>
          <p:cNvPr id="59" name="Google Shape;628;p43">
            <a:extLst>
              <a:ext uri="{FF2B5EF4-FFF2-40B4-BE49-F238E27FC236}">
                <a16:creationId xmlns:a16="http://schemas.microsoft.com/office/drawing/2014/main" id="{9909B43B-743A-4E5A-A3D8-3F77ABA236AA}"/>
              </a:ext>
            </a:extLst>
          </p:cNvPr>
          <p:cNvCxnSpPr/>
          <p:nvPr/>
        </p:nvCxnSpPr>
        <p:spPr>
          <a:xfrm>
            <a:off x="3020609" y="3163646"/>
            <a:ext cx="1471200" cy="10800"/>
          </a:xfrm>
          <a:prstGeom prst="straightConnector1">
            <a:avLst/>
          </a:prstGeom>
          <a:noFill/>
          <a:ln w="9525" cap="flat" cmpd="sng">
            <a:solidFill>
              <a:schemeClr val="accent2">
                <a:lumMod val="40000"/>
                <a:lumOff val="60000"/>
              </a:schemeClr>
            </a:solidFill>
            <a:prstDash val="solid"/>
            <a:round/>
            <a:headEnd type="oval" w="med" len="med"/>
            <a:tailEnd type="diamond" w="med" len="med"/>
          </a:ln>
        </p:spPr>
      </p:cxnSp>
      <p:sp>
        <p:nvSpPr>
          <p:cNvPr id="60" name="Google Shape;624;p43">
            <a:extLst>
              <a:ext uri="{FF2B5EF4-FFF2-40B4-BE49-F238E27FC236}">
                <a16:creationId xmlns:a16="http://schemas.microsoft.com/office/drawing/2014/main" id="{BA9943B6-769A-409D-8DEC-7D5699DDD446}"/>
              </a:ext>
            </a:extLst>
          </p:cNvPr>
          <p:cNvSpPr/>
          <p:nvPr/>
        </p:nvSpPr>
        <p:spPr>
          <a:xfrm>
            <a:off x="231128" y="2087791"/>
            <a:ext cx="2770500" cy="1107900"/>
          </a:xfrm>
          <a:prstGeom prst="diamond">
            <a:avLst/>
          </a:prstGeom>
          <a:solidFill>
            <a:schemeClr val="accent2">
              <a:lumMod val="40000"/>
              <a:lumOff val="60000"/>
            </a:schemeClr>
          </a:solidFill>
          <a:ln>
            <a:solidFill>
              <a:schemeClr val="accent2">
                <a:lumMod val="40000"/>
                <a:lumOff val="6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1" name="Google Shape;631;p43">
            <a:extLst>
              <a:ext uri="{FF2B5EF4-FFF2-40B4-BE49-F238E27FC236}">
                <a16:creationId xmlns:a16="http://schemas.microsoft.com/office/drawing/2014/main" id="{320742F5-2779-4718-80CB-9ED53E75EF6D}"/>
              </a:ext>
            </a:extLst>
          </p:cNvPr>
          <p:cNvCxnSpPr/>
          <p:nvPr/>
        </p:nvCxnSpPr>
        <p:spPr>
          <a:xfrm>
            <a:off x="3008153" y="2641087"/>
            <a:ext cx="1471200" cy="10800"/>
          </a:xfrm>
          <a:prstGeom prst="straightConnector1">
            <a:avLst/>
          </a:prstGeom>
          <a:noFill/>
          <a:ln w="9525" cap="flat" cmpd="sng">
            <a:solidFill>
              <a:schemeClr val="accent2">
                <a:lumMod val="40000"/>
                <a:lumOff val="60000"/>
              </a:schemeClr>
            </a:solidFill>
            <a:prstDash val="solid"/>
            <a:round/>
            <a:headEnd type="oval" w="med" len="med"/>
            <a:tailEnd type="diamond" w="med" len="med"/>
          </a:ln>
        </p:spPr>
      </p:cxnSp>
      <p:sp>
        <p:nvSpPr>
          <p:cNvPr id="3" name="TextBox 2">
            <a:extLst>
              <a:ext uri="{FF2B5EF4-FFF2-40B4-BE49-F238E27FC236}">
                <a16:creationId xmlns:a16="http://schemas.microsoft.com/office/drawing/2014/main" id="{41C483FF-98C4-458F-ACAB-308B0A8E4005}"/>
              </a:ext>
            </a:extLst>
          </p:cNvPr>
          <p:cNvSpPr txBox="1"/>
          <p:nvPr/>
        </p:nvSpPr>
        <p:spPr>
          <a:xfrm>
            <a:off x="3086230" y="5510663"/>
            <a:ext cx="3565581" cy="369332"/>
          </a:xfrm>
          <a:prstGeom prst="rect">
            <a:avLst/>
          </a:prstGeom>
          <a:noFill/>
        </p:spPr>
        <p:txBody>
          <a:bodyPr wrap="square" rtlCol="0">
            <a:spAutoFit/>
          </a:bodyPr>
          <a:lstStyle/>
          <a:p>
            <a:r>
              <a:rPr lang="en-US" b="0" i="0" dirty="0">
                <a:solidFill>
                  <a:srgbClr val="652D74"/>
                </a:solidFill>
                <a:effectLst/>
                <a:latin typeface="Book Antiqua" panose="02040602050305030304" pitchFamily="18" charset="0"/>
              </a:rPr>
              <a:t>Logistic Regression</a:t>
            </a:r>
            <a:endParaRPr lang="en-IL" dirty="0"/>
          </a:p>
        </p:txBody>
      </p:sp>
      <p:sp>
        <p:nvSpPr>
          <p:cNvPr id="62" name="TextBox 61">
            <a:extLst>
              <a:ext uri="{FF2B5EF4-FFF2-40B4-BE49-F238E27FC236}">
                <a16:creationId xmlns:a16="http://schemas.microsoft.com/office/drawing/2014/main" id="{1220BE15-B9AF-45B7-95D6-215CE57CB15E}"/>
              </a:ext>
            </a:extLst>
          </p:cNvPr>
          <p:cNvSpPr txBox="1"/>
          <p:nvPr/>
        </p:nvSpPr>
        <p:spPr>
          <a:xfrm>
            <a:off x="3058893" y="4966128"/>
            <a:ext cx="4596965" cy="646331"/>
          </a:xfrm>
          <a:prstGeom prst="rect">
            <a:avLst/>
          </a:prstGeom>
          <a:noFill/>
        </p:spPr>
        <p:txBody>
          <a:bodyPr wrap="square" rtlCol="0">
            <a:spAutoFit/>
          </a:bodyPr>
          <a:lstStyle/>
          <a:p>
            <a:r>
              <a:rPr lang="en-US" b="0" i="0" dirty="0">
                <a:solidFill>
                  <a:srgbClr val="652D74"/>
                </a:solidFill>
                <a:effectLst/>
                <a:latin typeface="Book Antiqua" panose="02040602050305030304" pitchFamily="18" charset="0"/>
              </a:rPr>
              <a:t>Radial Support Vector Machines(rbf-SVM)</a:t>
            </a:r>
          </a:p>
          <a:p>
            <a:endParaRPr lang="en-IL" dirty="0"/>
          </a:p>
        </p:txBody>
      </p:sp>
      <p:sp>
        <p:nvSpPr>
          <p:cNvPr id="63" name="TextBox 62">
            <a:extLst>
              <a:ext uri="{FF2B5EF4-FFF2-40B4-BE49-F238E27FC236}">
                <a16:creationId xmlns:a16="http://schemas.microsoft.com/office/drawing/2014/main" id="{EED2ED44-E37E-45BE-B441-35C35C184750}"/>
              </a:ext>
            </a:extLst>
          </p:cNvPr>
          <p:cNvSpPr txBox="1"/>
          <p:nvPr/>
        </p:nvSpPr>
        <p:spPr>
          <a:xfrm>
            <a:off x="3048131" y="4382993"/>
            <a:ext cx="2527916" cy="369332"/>
          </a:xfrm>
          <a:prstGeom prst="rect">
            <a:avLst/>
          </a:prstGeom>
          <a:noFill/>
        </p:spPr>
        <p:txBody>
          <a:bodyPr wrap="square" rtlCol="0">
            <a:spAutoFit/>
          </a:bodyPr>
          <a:lstStyle/>
          <a:p>
            <a:r>
              <a:rPr lang="en-US" b="0" i="0">
                <a:solidFill>
                  <a:srgbClr val="652D74"/>
                </a:solidFill>
                <a:effectLst/>
                <a:latin typeface="Book Antiqua" panose="02040602050305030304" pitchFamily="18" charset="0"/>
              </a:rPr>
              <a:t>Gaussian Naive Bayes</a:t>
            </a:r>
            <a:endParaRPr lang="en-IL" dirty="0"/>
          </a:p>
        </p:txBody>
      </p:sp>
      <p:sp>
        <p:nvSpPr>
          <p:cNvPr id="64" name="TextBox 63">
            <a:extLst>
              <a:ext uri="{FF2B5EF4-FFF2-40B4-BE49-F238E27FC236}">
                <a16:creationId xmlns:a16="http://schemas.microsoft.com/office/drawing/2014/main" id="{718A5988-158D-48D8-B8BD-6465AED61651}"/>
              </a:ext>
            </a:extLst>
          </p:cNvPr>
          <p:cNvSpPr txBox="1"/>
          <p:nvPr/>
        </p:nvSpPr>
        <p:spPr>
          <a:xfrm>
            <a:off x="3050793" y="3845658"/>
            <a:ext cx="1611449" cy="369332"/>
          </a:xfrm>
          <a:prstGeom prst="rect">
            <a:avLst/>
          </a:prstGeom>
          <a:noFill/>
        </p:spPr>
        <p:txBody>
          <a:bodyPr wrap="square" rtlCol="0">
            <a:spAutoFit/>
          </a:bodyPr>
          <a:lstStyle/>
          <a:p>
            <a:r>
              <a:rPr lang="en-US" b="0" i="0" dirty="0">
                <a:solidFill>
                  <a:srgbClr val="652D74"/>
                </a:solidFill>
                <a:effectLst/>
                <a:latin typeface="Book Antiqua" panose="02040602050305030304" pitchFamily="18" charset="0"/>
              </a:rPr>
              <a:t>Benchmark</a:t>
            </a:r>
            <a:endParaRPr lang="en-IL" dirty="0"/>
          </a:p>
        </p:txBody>
      </p:sp>
      <p:sp>
        <p:nvSpPr>
          <p:cNvPr id="65" name="TextBox 64">
            <a:extLst>
              <a:ext uri="{FF2B5EF4-FFF2-40B4-BE49-F238E27FC236}">
                <a16:creationId xmlns:a16="http://schemas.microsoft.com/office/drawing/2014/main" id="{047B9497-1ADF-4F77-9342-7F1B5945FB06}"/>
              </a:ext>
            </a:extLst>
          </p:cNvPr>
          <p:cNvSpPr txBox="1"/>
          <p:nvPr/>
        </p:nvSpPr>
        <p:spPr>
          <a:xfrm>
            <a:off x="3058893" y="3268844"/>
            <a:ext cx="3180541" cy="369332"/>
          </a:xfrm>
          <a:prstGeom prst="rect">
            <a:avLst/>
          </a:prstGeom>
          <a:noFill/>
        </p:spPr>
        <p:txBody>
          <a:bodyPr wrap="square" rtlCol="0">
            <a:spAutoFit/>
          </a:bodyPr>
          <a:lstStyle/>
          <a:p>
            <a:r>
              <a:rPr lang="en-US" b="0" i="0" dirty="0">
                <a:solidFill>
                  <a:srgbClr val="652D74"/>
                </a:solidFill>
                <a:effectLst/>
                <a:latin typeface="Book Antiqua" panose="02040602050305030304" pitchFamily="18" charset="0"/>
              </a:rPr>
              <a:t>KNN - K Nearest Neighbors</a:t>
            </a:r>
            <a:endParaRPr lang="en-IL" dirty="0"/>
          </a:p>
        </p:txBody>
      </p:sp>
      <p:sp>
        <p:nvSpPr>
          <p:cNvPr id="66" name="TextBox 65">
            <a:extLst>
              <a:ext uri="{FF2B5EF4-FFF2-40B4-BE49-F238E27FC236}">
                <a16:creationId xmlns:a16="http://schemas.microsoft.com/office/drawing/2014/main" id="{F6F82FDF-F707-4B8C-B511-3ECECF9B1497}"/>
              </a:ext>
            </a:extLst>
          </p:cNvPr>
          <p:cNvSpPr txBox="1"/>
          <p:nvPr/>
        </p:nvSpPr>
        <p:spPr>
          <a:xfrm>
            <a:off x="3091179" y="2767876"/>
            <a:ext cx="2096196" cy="369332"/>
          </a:xfrm>
          <a:prstGeom prst="rect">
            <a:avLst/>
          </a:prstGeom>
          <a:noFill/>
        </p:spPr>
        <p:txBody>
          <a:bodyPr wrap="square" rtlCol="0">
            <a:spAutoFit/>
          </a:bodyPr>
          <a:lstStyle/>
          <a:p>
            <a:r>
              <a:rPr lang="en-US" b="0" i="0">
                <a:solidFill>
                  <a:srgbClr val="652D74"/>
                </a:solidFill>
                <a:effectLst/>
                <a:latin typeface="Book Antiqua" panose="02040602050305030304" pitchFamily="18" charset="0"/>
              </a:rPr>
              <a:t>Random Forest</a:t>
            </a:r>
            <a:endParaRPr lang="en-IL" dirty="0"/>
          </a:p>
        </p:txBody>
      </p:sp>
      <p:sp>
        <p:nvSpPr>
          <p:cNvPr id="67" name="TextBox 66">
            <a:extLst>
              <a:ext uri="{FF2B5EF4-FFF2-40B4-BE49-F238E27FC236}">
                <a16:creationId xmlns:a16="http://schemas.microsoft.com/office/drawing/2014/main" id="{C467939F-41D7-4817-82D0-0EECC7AA8054}"/>
              </a:ext>
            </a:extLst>
          </p:cNvPr>
          <p:cNvSpPr txBox="1"/>
          <p:nvPr/>
        </p:nvSpPr>
        <p:spPr>
          <a:xfrm>
            <a:off x="3075552" y="2236276"/>
            <a:ext cx="1757812" cy="646331"/>
          </a:xfrm>
          <a:prstGeom prst="rect">
            <a:avLst/>
          </a:prstGeom>
          <a:noFill/>
        </p:spPr>
        <p:txBody>
          <a:bodyPr wrap="square" rtlCol="0">
            <a:spAutoFit/>
          </a:bodyPr>
          <a:lstStyle/>
          <a:p>
            <a:r>
              <a:rPr lang="en-US" b="0" i="0" dirty="0">
                <a:solidFill>
                  <a:srgbClr val="652D74"/>
                </a:solidFill>
                <a:effectLst/>
                <a:latin typeface="Book Antiqua" panose="02040602050305030304" pitchFamily="18" charset="0"/>
              </a:rPr>
              <a:t>Decision Tree</a:t>
            </a:r>
          </a:p>
          <a:p>
            <a:endParaRPr lang="en-IL" dirty="0"/>
          </a:p>
        </p:txBody>
      </p:sp>
      <p:sp>
        <p:nvSpPr>
          <p:cNvPr id="2" name="Title 1">
            <a:extLst>
              <a:ext uri="{FF2B5EF4-FFF2-40B4-BE49-F238E27FC236}">
                <a16:creationId xmlns:a16="http://schemas.microsoft.com/office/drawing/2014/main" id="{6FFE696D-E3D3-4C12-958D-9FA7D03266E3}"/>
              </a:ext>
            </a:extLst>
          </p:cNvPr>
          <p:cNvSpPr>
            <a:spLocks noGrp="1"/>
          </p:cNvSpPr>
          <p:nvPr>
            <p:ph type="title"/>
          </p:nvPr>
        </p:nvSpPr>
        <p:spPr>
          <a:xfrm>
            <a:off x="8009978" y="213014"/>
            <a:ext cx="3885205" cy="775612"/>
          </a:xfrm>
        </p:spPr>
        <p:txBody>
          <a:bodyPr>
            <a:noAutofit/>
          </a:bodyPr>
          <a:lstStyle/>
          <a:p>
            <a:r>
              <a:rPr lang="en-IL" sz="4400" b="0" dirty="0">
                <a:solidFill>
                  <a:schemeClr val="bg1"/>
                </a:solidFill>
                <a:latin typeface="Baskerville Old Face" panose="02020602080505020303" pitchFamily="18" charset="0"/>
              </a:rPr>
              <a:t>ML Algorithms</a:t>
            </a:r>
            <a:endParaRPr lang="en-US" sz="4400" b="0" dirty="0">
              <a:solidFill>
                <a:schemeClr val="bg1"/>
              </a:solidFill>
              <a:latin typeface="Baskerville Old Face" panose="02020602080505020303" pitchFamily="18" charset="0"/>
            </a:endParaRPr>
          </a:p>
        </p:txBody>
      </p:sp>
      <p:sp>
        <p:nvSpPr>
          <p:cNvPr id="46" name="Google Shape;624;p43">
            <a:extLst>
              <a:ext uri="{FF2B5EF4-FFF2-40B4-BE49-F238E27FC236}">
                <a16:creationId xmlns:a16="http://schemas.microsoft.com/office/drawing/2014/main" id="{4E3A27A2-8B84-43D1-A4BE-6447703771DF}"/>
              </a:ext>
            </a:extLst>
          </p:cNvPr>
          <p:cNvSpPr/>
          <p:nvPr/>
        </p:nvSpPr>
        <p:spPr>
          <a:xfrm>
            <a:off x="247329" y="1595670"/>
            <a:ext cx="2770500" cy="1107900"/>
          </a:xfrm>
          <a:prstGeom prst="diamond">
            <a:avLst/>
          </a:prstGeom>
          <a:solidFill>
            <a:schemeClr val="accent1">
              <a:lumMod val="20000"/>
              <a:lumOff val="80000"/>
            </a:schemeClr>
          </a:solidFill>
          <a:ln>
            <a:solidFill>
              <a:schemeClr val="accent2">
                <a:lumMod val="40000"/>
                <a:lumOff val="6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24;p43">
            <a:extLst>
              <a:ext uri="{FF2B5EF4-FFF2-40B4-BE49-F238E27FC236}">
                <a16:creationId xmlns:a16="http://schemas.microsoft.com/office/drawing/2014/main" id="{06FC7E5E-C58A-4EFE-A22C-CB64E26B565C}"/>
              </a:ext>
            </a:extLst>
          </p:cNvPr>
          <p:cNvSpPr/>
          <p:nvPr/>
        </p:nvSpPr>
        <p:spPr>
          <a:xfrm>
            <a:off x="300016" y="1068122"/>
            <a:ext cx="2770500" cy="1107900"/>
          </a:xfrm>
          <a:prstGeom prst="diamond">
            <a:avLst/>
          </a:prstGeom>
          <a:solidFill>
            <a:schemeClr val="accent2">
              <a:lumMod val="20000"/>
              <a:lumOff val="80000"/>
            </a:schemeClr>
          </a:solidFill>
          <a:ln>
            <a:solidFill>
              <a:schemeClr val="accent2">
                <a:lumMod val="40000"/>
                <a:lumOff val="6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4" name="Google Shape;628;p43">
            <a:extLst>
              <a:ext uri="{FF2B5EF4-FFF2-40B4-BE49-F238E27FC236}">
                <a16:creationId xmlns:a16="http://schemas.microsoft.com/office/drawing/2014/main" id="{C1A58BDD-79AF-4151-9A97-E376A18E7908}"/>
              </a:ext>
            </a:extLst>
          </p:cNvPr>
          <p:cNvCxnSpPr/>
          <p:nvPr/>
        </p:nvCxnSpPr>
        <p:spPr>
          <a:xfrm>
            <a:off x="2936840" y="1003948"/>
            <a:ext cx="1471200" cy="10800"/>
          </a:xfrm>
          <a:prstGeom prst="straightConnector1">
            <a:avLst/>
          </a:prstGeom>
          <a:noFill/>
          <a:ln w="9525" cap="flat" cmpd="sng">
            <a:solidFill>
              <a:schemeClr val="accent2">
                <a:lumMod val="40000"/>
                <a:lumOff val="60000"/>
              </a:schemeClr>
            </a:solidFill>
            <a:prstDash val="solid"/>
            <a:round/>
            <a:headEnd type="oval" w="med" len="med"/>
            <a:tailEnd type="diamond" w="med" len="med"/>
          </a:ln>
        </p:spPr>
      </p:cxnSp>
      <p:cxnSp>
        <p:nvCxnSpPr>
          <p:cNvPr id="55" name="Google Shape;628;p43">
            <a:extLst>
              <a:ext uri="{FF2B5EF4-FFF2-40B4-BE49-F238E27FC236}">
                <a16:creationId xmlns:a16="http://schemas.microsoft.com/office/drawing/2014/main" id="{7A318355-C9B4-49C5-8F44-D4596AD818B6}"/>
              </a:ext>
            </a:extLst>
          </p:cNvPr>
          <p:cNvCxnSpPr/>
          <p:nvPr/>
        </p:nvCxnSpPr>
        <p:spPr>
          <a:xfrm>
            <a:off x="3103782" y="1616672"/>
            <a:ext cx="1471200" cy="10800"/>
          </a:xfrm>
          <a:prstGeom prst="straightConnector1">
            <a:avLst/>
          </a:prstGeom>
          <a:noFill/>
          <a:ln w="9525" cap="flat" cmpd="sng">
            <a:solidFill>
              <a:schemeClr val="accent2">
                <a:lumMod val="40000"/>
                <a:lumOff val="60000"/>
              </a:schemeClr>
            </a:solidFill>
            <a:prstDash val="solid"/>
            <a:round/>
            <a:headEnd type="oval" w="med" len="med"/>
            <a:tailEnd type="diamond" w="med" len="med"/>
          </a:ln>
        </p:spPr>
      </p:cxnSp>
      <p:sp>
        <p:nvSpPr>
          <p:cNvPr id="56" name="TextBox 55">
            <a:extLst>
              <a:ext uri="{FF2B5EF4-FFF2-40B4-BE49-F238E27FC236}">
                <a16:creationId xmlns:a16="http://schemas.microsoft.com/office/drawing/2014/main" id="{16E9E814-FEB4-4974-B622-373911934201}"/>
              </a:ext>
            </a:extLst>
          </p:cNvPr>
          <p:cNvSpPr txBox="1"/>
          <p:nvPr/>
        </p:nvSpPr>
        <p:spPr>
          <a:xfrm>
            <a:off x="3086230" y="1216571"/>
            <a:ext cx="1757812" cy="369332"/>
          </a:xfrm>
          <a:prstGeom prst="rect">
            <a:avLst/>
          </a:prstGeom>
          <a:noFill/>
        </p:spPr>
        <p:txBody>
          <a:bodyPr wrap="square" rtlCol="0">
            <a:spAutoFit/>
          </a:bodyPr>
          <a:lstStyle/>
          <a:p>
            <a:r>
              <a:rPr lang="en-US" b="0" i="0" dirty="0">
                <a:solidFill>
                  <a:srgbClr val="652D74"/>
                </a:solidFill>
                <a:effectLst/>
                <a:latin typeface="Book Antiqua" panose="02040602050305030304" pitchFamily="18" charset="0"/>
              </a:rPr>
              <a:t>XGBClassifier</a:t>
            </a:r>
            <a:endParaRPr lang="en-IL" dirty="0"/>
          </a:p>
        </p:txBody>
      </p:sp>
      <p:sp>
        <p:nvSpPr>
          <p:cNvPr id="69" name="TextBox 68">
            <a:extLst>
              <a:ext uri="{FF2B5EF4-FFF2-40B4-BE49-F238E27FC236}">
                <a16:creationId xmlns:a16="http://schemas.microsoft.com/office/drawing/2014/main" id="{B01BFE94-F67F-4AFC-9099-DF21FB221BFF}"/>
              </a:ext>
            </a:extLst>
          </p:cNvPr>
          <p:cNvSpPr txBox="1"/>
          <p:nvPr/>
        </p:nvSpPr>
        <p:spPr>
          <a:xfrm>
            <a:off x="3087124" y="1789483"/>
            <a:ext cx="3337121" cy="369332"/>
          </a:xfrm>
          <a:prstGeom prst="rect">
            <a:avLst/>
          </a:prstGeom>
          <a:noFill/>
        </p:spPr>
        <p:txBody>
          <a:bodyPr wrap="square" rtlCol="0">
            <a:spAutoFit/>
          </a:bodyPr>
          <a:lstStyle/>
          <a:p>
            <a:r>
              <a:rPr lang="en-US" b="0" i="0" dirty="0">
                <a:solidFill>
                  <a:srgbClr val="652D74"/>
                </a:solidFill>
                <a:effectLst/>
                <a:latin typeface="Book Antiqua" panose="02040602050305030304" pitchFamily="18" charset="0"/>
              </a:rPr>
              <a:t>GradientBoostingClassifier</a:t>
            </a:r>
            <a:endParaRPr lang="en-IL" dirty="0"/>
          </a:p>
        </p:txBody>
      </p:sp>
      <p:cxnSp>
        <p:nvCxnSpPr>
          <p:cNvPr id="70" name="Google Shape;628;p43">
            <a:extLst>
              <a:ext uri="{FF2B5EF4-FFF2-40B4-BE49-F238E27FC236}">
                <a16:creationId xmlns:a16="http://schemas.microsoft.com/office/drawing/2014/main" id="{8B25D07F-D2A8-4A77-8A1F-B1A7DEDEF408}"/>
              </a:ext>
            </a:extLst>
          </p:cNvPr>
          <p:cNvCxnSpPr/>
          <p:nvPr/>
        </p:nvCxnSpPr>
        <p:spPr>
          <a:xfrm>
            <a:off x="3045981" y="2167559"/>
            <a:ext cx="1471200" cy="10800"/>
          </a:xfrm>
          <a:prstGeom prst="straightConnector1">
            <a:avLst/>
          </a:prstGeom>
          <a:noFill/>
          <a:ln w="9525" cap="flat" cmpd="sng">
            <a:solidFill>
              <a:schemeClr val="accent2">
                <a:lumMod val="40000"/>
                <a:lumOff val="60000"/>
              </a:schemeClr>
            </a:solidFill>
            <a:prstDash val="solid"/>
            <a:round/>
            <a:headEnd type="oval" w="med" len="med"/>
            <a:tailEnd type="diamond" w="med" len="med"/>
          </a:ln>
        </p:spPr>
      </p:cxnSp>
    </p:spTree>
    <p:extLst>
      <p:ext uri="{BB962C8B-B14F-4D97-AF65-F5344CB8AC3E}">
        <p14:creationId xmlns:p14="http://schemas.microsoft.com/office/powerpoint/2010/main" val="39479216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9" name="Picture 258" descr="A group of people sitting at a table&#10;&#10;Description automatically generated">
            <a:extLst>
              <a:ext uri="{FF2B5EF4-FFF2-40B4-BE49-F238E27FC236}">
                <a16:creationId xmlns:a16="http://schemas.microsoft.com/office/drawing/2014/main" id="{F0F7A178-0008-4EBA-B8D1-993F1780F153}"/>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499221" y="182881"/>
            <a:ext cx="4989910" cy="6463936"/>
          </a:xfrm>
          <a:prstGeom prst="rect">
            <a:avLst/>
          </a:prstGeom>
        </p:spPr>
      </p:pic>
      <p:sp>
        <p:nvSpPr>
          <p:cNvPr id="4" name="Slide Number Placeholder 3">
            <a:extLst>
              <a:ext uri="{FF2B5EF4-FFF2-40B4-BE49-F238E27FC236}">
                <a16:creationId xmlns:a16="http://schemas.microsoft.com/office/drawing/2014/main" id="{6CC4C589-D729-4B39-B788-06282CB68535}"/>
              </a:ext>
            </a:extLst>
          </p:cNvPr>
          <p:cNvSpPr>
            <a:spLocks noGrp="1"/>
          </p:cNvSpPr>
          <p:nvPr>
            <p:ph type="sldNum" sz="quarter" idx="4"/>
          </p:nvPr>
        </p:nvSpPr>
        <p:spPr/>
        <p:txBody>
          <a:bodyPr/>
          <a:lstStyle/>
          <a:p>
            <a:fld id="{B84D2E29-67F4-44D8-B0E3-F54815B4F123}" type="slidenum">
              <a:rPr lang="en-US" smtClean="0"/>
              <a:pPr/>
              <a:t>19</a:t>
            </a:fld>
            <a:endParaRPr lang="en-US" dirty="0"/>
          </a:p>
        </p:txBody>
      </p:sp>
      <p:sp>
        <p:nvSpPr>
          <p:cNvPr id="256" name="Rectangle 255">
            <a:extLst>
              <a:ext uri="{FF2B5EF4-FFF2-40B4-BE49-F238E27FC236}">
                <a16:creationId xmlns:a16="http://schemas.microsoft.com/office/drawing/2014/main" id="{562E07FC-6BAE-43C3-9C70-3CD3DB4FC862}"/>
              </a:ext>
            </a:extLst>
          </p:cNvPr>
          <p:cNvSpPr/>
          <p:nvPr/>
        </p:nvSpPr>
        <p:spPr>
          <a:xfrm>
            <a:off x="499221" y="182880"/>
            <a:ext cx="4989910" cy="6492240"/>
          </a:xfrm>
          <a:prstGeom prst="rect">
            <a:avLst/>
          </a:pr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57" name="Title 7">
            <a:extLst>
              <a:ext uri="{FF2B5EF4-FFF2-40B4-BE49-F238E27FC236}">
                <a16:creationId xmlns:a16="http://schemas.microsoft.com/office/drawing/2014/main" id="{D6BBC02A-57B6-4751-8230-AE7A6A241904}"/>
              </a:ext>
            </a:extLst>
          </p:cNvPr>
          <p:cNvSpPr>
            <a:spLocks noGrp="1"/>
          </p:cNvSpPr>
          <p:nvPr>
            <p:ph type="title"/>
          </p:nvPr>
        </p:nvSpPr>
        <p:spPr>
          <a:xfrm>
            <a:off x="941372" y="2061508"/>
            <a:ext cx="4311348" cy="1829796"/>
          </a:xfrm>
        </p:spPr>
        <p:txBody>
          <a:bodyPr wrap="square">
            <a:spAutoFit/>
          </a:bodyPr>
          <a:lstStyle/>
          <a:p>
            <a:pPr algn="l"/>
            <a:r>
              <a:rPr lang="en-US" sz="4400" b="1" i="0" dirty="0">
                <a:solidFill>
                  <a:schemeClr val="bg1"/>
                </a:solidFill>
                <a:effectLst/>
                <a:latin typeface="Baskerville Old Face" panose="02020602080505020303" pitchFamily="18" charset="0"/>
              </a:rPr>
              <a:t>Best max depth and estimators for Classifiers!</a:t>
            </a:r>
          </a:p>
        </p:txBody>
      </p:sp>
      <p:sp>
        <p:nvSpPr>
          <p:cNvPr id="277" name="Freeform 104">
            <a:extLst>
              <a:ext uri="{FF2B5EF4-FFF2-40B4-BE49-F238E27FC236}">
                <a16:creationId xmlns:a16="http://schemas.microsoft.com/office/drawing/2014/main" id="{FA4E45B2-3D0D-4E4D-B26A-634429D8F186}"/>
              </a:ext>
            </a:extLst>
          </p:cNvPr>
          <p:cNvSpPr>
            <a:spLocks noEditPoints="1"/>
          </p:cNvSpPr>
          <p:nvPr/>
        </p:nvSpPr>
        <p:spPr bwMode="auto">
          <a:xfrm>
            <a:off x="3438226" y="3285849"/>
            <a:ext cx="670968" cy="673922"/>
          </a:xfrm>
          <a:custGeom>
            <a:avLst/>
            <a:gdLst>
              <a:gd name="T0" fmla="*/ 36 w 96"/>
              <a:gd name="T1" fmla="*/ 72 h 96"/>
              <a:gd name="T2" fmla="*/ 59 w 96"/>
              <a:gd name="T3" fmla="*/ 64 h 96"/>
              <a:gd name="T4" fmla="*/ 89 w 96"/>
              <a:gd name="T5" fmla="*/ 95 h 96"/>
              <a:gd name="T6" fmla="*/ 95 w 96"/>
              <a:gd name="T7" fmla="*/ 95 h 96"/>
              <a:gd name="T8" fmla="*/ 95 w 96"/>
              <a:gd name="T9" fmla="*/ 89 h 96"/>
              <a:gd name="T10" fmla="*/ 64 w 96"/>
              <a:gd name="T11" fmla="*/ 58 h 96"/>
              <a:gd name="T12" fmla="*/ 72 w 96"/>
              <a:gd name="T13" fmla="*/ 36 h 96"/>
              <a:gd name="T14" fmla="*/ 36 w 96"/>
              <a:gd name="T15" fmla="*/ 0 h 96"/>
              <a:gd name="T16" fmla="*/ 0 w 96"/>
              <a:gd name="T17" fmla="*/ 36 h 96"/>
              <a:gd name="T18" fmla="*/ 36 w 96"/>
              <a:gd name="T19" fmla="*/ 72 h 96"/>
              <a:gd name="T20" fmla="*/ 36 w 96"/>
              <a:gd name="T21" fmla="*/ 8 h 96"/>
              <a:gd name="T22" fmla="*/ 64 w 96"/>
              <a:gd name="T23" fmla="*/ 36 h 96"/>
              <a:gd name="T24" fmla="*/ 36 w 96"/>
              <a:gd name="T25" fmla="*/ 64 h 96"/>
              <a:gd name="T26" fmla="*/ 8 w 96"/>
              <a:gd name="T27" fmla="*/ 36 h 96"/>
              <a:gd name="T28" fmla="*/ 36 w 96"/>
              <a:gd name="T2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36" y="72"/>
                </a:moveTo>
                <a:cubicBezTo>
                  <a:pt x="45" y="72"/>
                  <a:pt x="52" y="69"/>
                  <a:pt x="59" y="64"/>
                </a:cubicBezTo>
                <a:cubicBezTo>
                  <a:pt x="89" y="95"/>
                  <a:pt x="89" y="95"/>
                  <a:pt x="89" y="95"/>
                </a:cubicBezTo>
                <a:cubicBezTo>
                  <a:pt x="91" y="96"/>
                  <a:pt x="93" y="96"/>
                  <a:pt x="95" y="95"/>
                </a:cubicBezTo>
                <a:cubicBezTo>
                  <a:pt x="96" y="93"/>
                  <a:pt x="96" y="91"/>
                  <a:pt x="95" y="89"/>
                </a:cubicBezTo>
                <a:cubicBezTo>
                  <a:pt x="64" y="58"/>
                  <a:pt x="64" y="58"/>
                  <a:pt x="64" y="58"/>
                </a:cubicBezTo>
                <a:cubicBezTo>
                  <a:pt x="69" y="52"/>
                  <a:pt x="72" y="44"/>
                  <a:pt x="72" y="36"/>
                </a:cubicBezTo>
                <a:cubicBezTo>
                  <a:pt x="72" y="16"/>
                  <a:pt x="56" y="0"/>
                  <a:pt x="36" y="0"/>
                </a:cubicBezTo>
                <a:cubicBezTo>
                  <a:pt x="16" y="0"/>
                  <a:pt x="0" y="16"/>
                  <a:pt x="0" y="36"/>
                </a:cubicBezTo>
                <a:cubicBezTo>
                  <a:pt x="0" y="56"/>
                  <a:pt x="16" y="72"/>
                  <a:pt x="36" y="72"/>
                </a:cubicBezTo>
                <a:close/>
                <a:moveTo>
                  <a:pt x="36" y="8"/>
                </a:moveTo>
                <a:cubicBezTo>
                  <a:pt x="51" y="8"/>
                  <a:pt x="64" y="21"/>
                  <a:pt x="64" y="36"/>
                </a:cubicBezTo>
                <a:cubicBezTo>
                  <a:pt x="64" y="51"/>
                  <a:pt x="51" y="64"/>
                  <a:pt x="36" y="64"/>
                </a:cubicBezTo>
                <a:cubicBezTo>
                  <a:pt x="21" y="64"/>
                  <a:pt x="8" y="51"/>
                  <a:pt x="8" y="36"/>
                </a:cubicBezTo>
                <a:cubicBezTo>
                  <a:pt x="8" y="21"/>
                  <a:pt x="21" y="8"/>
                  <a:pt x="36"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pic>
        <p:nvPicPr>
          <p:cNvPr id="3" name="Picture 2">
            <a:extLst>
              <a:ext uri="{FF2B5EF4-FFF2-40B4-BE49-F238E27FC236}">
                <a16:creationId xmlns:a16="http://schemas.microsoft.com/office/drawing/2014/main" id="{CB9558FF-0500-4D75-A5F5-64BC069BBDE9}"/>
              </a:ext>
            </a:extLst>
          </p:cNvPr>
          <p:cNvPicPr>
            <a:picLocks noChangeAspect="1"/>
          </p:cNvPicPr>
          <p:nvPr/>
        </p:nvPicPr>
        <p:blipFill>
          <a:blip r:embed="rId4"/>
          <a:stretch>
            <a:fillRect/>
          </a:stretch>
        </p:blipFill>
        <p:spPr>
          <a:xfrm>
            <a:off x="529481" y="4236069"/>
            <a:ext cx="4929390" cy="2393316"/>
          </a:xfrm>
          <a:prstGeom prst="rect">
            <a:avLst/>
          </a:prstGeom>
        </p:spPr>
      </p:pic>
      <p:pic>
        <p:nvPicPr>
          <p:cNvPr id="6" name="Picture 5">
            <a:extLst>
              <a:ext uri="{FF2B5EF4-FFF2-40B4-BE49-F238E27FC236}">
                <a16:creationId xmlns:a16="http://schemas.microsoft.com/office/drawing/2014/main" id="{7A8513B7-A416-4793-AF11-70FF17D0A770}"/>
              </a:ext>
            </a:extLst>
          </p:cNvPr>
          <p:cNvPicPr>
            <a:picLocks noChangeAspect="1"/>
          </p:cNvPicPr>
          <p:nvPr/>
        </p:nvPicPr>
        <p:blipFill>
          <a:blip r:embed="rId5"/>
          <a:stretch>
            <a:fillRect/>
          </a:stretch>
        </p:blipFill>
        <p:spPr>
          <a:xfrm>
            <a:off x="5614256" y="209702"/>
            <a:ext cx="6411764" cy="5223025"/>
          </a:xfrm>
          <a:prstGeom prst="rect">
            <a:avLst/>
          </a:prstGeom>
        </p:spPr>
      </p:pic>
      <p:sp>
        <p:nvSpPr>
          <p:cNvPr id="272" name="Rectangle 34">
            <a:extLst>
              <a:ext uri="{FF2B5EF4-FFF2-40B4-BE49-F238E27FC236}">
                <a16:creationId xmlns:a16="http://schemas.microsoft.com/office/drawing/2014/main" id="{21C0B0D3-B45F-4974-B657-8AEB8C55D109}"/>
              </a:ext>
            </a:extLst>
          </p:cNvPr>
          <p:cNvSpPr/>
          <p:nvPr/>
        </p:nvSpPr>
        <p:spPr>
          <a:xfrm flipV="1">
            <a:off x="-9832" y="151261"/>
            <a:ext cx="12226503" cy="6706739"/>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 name="connsiteX0" fmla="*/ 0 w 3486846"/>
              <a:gd name="connsiteY0" fmla="*/ 0 h 1181140"/>
              <a:gd name="connsiteX1" fmla="*/ 3479810 w 3486846"/>
              <a:gd name="connsiteY1" fmla="*/ 4553 h 1181140"/>
              <a:gd name="connsiteX2" fmla="*/ 3479810 w 3486846"/>
              <a:gd name="connsiteY2" fmla="*/ 1130405 h 1181140"/>
              <a:gd name="connsiteX3" fmla="*/ 2382523 w 3486846"/>
              <a:gd name="connsiteY3" fmla="*/ 306466 h 1181140"/>
              <a:gd name="connsiteX4" fmla="*/ 0 w 3486846"/>
              <a:gd name="connsiteY4" fmla="*/ 0 h 1181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6846" h="1181140">
                <a:moveTo>
                  <a:pt x="0" y="0"/>
                </a:moveTo>
                <a:lnTo>
                  <a:pt x="3479810" y="4553"/>
                </a:lnTo>
                <a:lnTo>
                  <a:pt x="3479810" y="1130405"/>
                </a:lnTo>
                <a:cubicBezTo>
                  <a:pt x="3479511" y="1433772"/>
                  <a:pt x="3645457" y="276318"/>
                  <a:pt x="2382523" y="306466"/>
                </a:cubicBezTo>
                <a:cubicBezTo>
                  <a:pt x="1119589" y="336614"/>
                  <a:pt x="59199" y="93304"/>
                  <a:pt x="0" y="0"/>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21068284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882392AA-BF3E-4D4B-A285-C01C9385314A}"/>
              </a:ext>
            </a:extLst>
          </p:cNvPr>
          <p:cNvGrpSpPr/>
          <p:nvPr/>
        </p:nvGrpSpPr>
        <p:grpSpPr>
          <a:xfrm>
            <a:off x="2210291" y="46730"/>
            <a:ext cx="9981709" cy="4756446"/>
            <a:chOff x="3124205" y="1386459"/>
            <a:chExt cx="9981709" cy="4756446"/>
          </a:xfrm>
        </p:grpSpPr>
        <p:grpSp>
          <p:nvGrpSpPr>
            <p:cNvPr id="29" name="Group 377">
              <a:extLst>
                <a:ext uri="{FF2B5EF4-FFF2-40B4-BE49-F238E27FC236}">
                  <a16:creationId xmlns:a16="http://schemas.microsoft.com/office/drawing/2014/main" id="{82AA980F-A364-477B-85D3-BB429C03C159}"/>
                </a:ext>
              </a:extLst>
            </p:cNvPr>
            <p:cNvGrpSpPr/>
            <p:nvPr/>
          </p:nvGrpSpPr>
          <p:grpSpPr>
            <a:xfrm>
              <a:off x="3124205" y="1642784"/>
              <a:ext cx="9347448" cy="4500121"/>
              <a:chOff x="0" y="0"/>
              <a:chExt cx="18694894" cy="9000240"/>
            </a:xfrm>
          </p:grpSpPr>
          <p:sp>
            <p:nvSpPr>
              <p:cNvPr id="69" name="Shape 234">
                <a:extLst>
                  <a:ext uri="{FF2B5EF4-FFF2-40B4-BE49-F238E27FC236}">
                    <a16:creationId xmlns:a16="http://schemas.microsoft.com/office/drawing/2014/main" id="{175628AA-3ED7-406A-B515-AB18FB9188AC}"/>
                  </a:ext>
                </a:extLst>
              </p:cNvPr>
              <p:cNvSpPr/>
              <p:nvPr/>
            </p:nvSpPr>
            <p:spPr>
              <a:xfrm>
                <a:off x="0" y="582193"/>
                <a:ext cx="5381667" cy="4170191"/>
              </a:xfrm>
              <a:custGeom>
                <a:avLst/>
                <a:gdLst/>
                <a:ahLst/>
                <a:cxnLst>
                  <a:cxn ang="0">
                    <a:pos x="wd2" y="hd2"/>
                  </a:cxn>
                  <a:cxn ang="5400000">
                    <a:pos x="wd2" y="hd2"/>
                  </a:cxn>
                  <a:cxn ang="10800000">
                    <a:pos x="wd2" y="hd2"/>
                  </a:cxn>
                  <a:cxn ang="16200000">
                    <a:pos x="wd2" y="hd2"/>
                  </a:cxn>
                </a:cxnLst>
                <a:rect l="0" t="0" r="r" b="b"/>
                <a:pathLst>
                  <a:path w="21600" h="21600" extrusionOk="0">
                    <a:moveTo>
                      <a:pt x="3471" y="862"/>
                    </a:moveTo>
                    <a:lnTo>
                      <a:pt x="3355" y="857"/>
                    </a:lnTo>
                    <a:lnTo>
                      <a:pt x="3271" y="882"/>
                    </a:lnTo>
                    <a:lnTo>
                      <a:pt x="3183" y="953"/>
                    </a:lnTo>
                    <a:lnTo>
                      <a:pt x="3184" y="1042"/>
                    </a:lnTo>
                    <a:lnTo>
                      <a:pt x="3333" y="1224"/>
                    </a:lnTo>
                    <a:lnTo>
                      <a:pt x="3405" y="1341"/>
                    </a:lnTo>
                    <a:lnTo>
                      <a:pt x="3390" y="1464"/>
                    </a:lnTo>
                    <a:lnTo>
                      <a:pt x="3242" y="1537"/>
                    </a:lnTo>
                    <a:lnTo>
                      <a:pt x="3142" y="1593"/>
                    </a:lnTo>
                    <a:lnTo>
                      <a:pt x="3051" y="1629"/>
                    </a:lnTo>
                    <a:lnTo>
                      <a:pt x="2932" y="1629"/>
                    </a:lnTo>
                    <a:lnTo>
                      <a:pt x="2859" y="1585"/>
                    </a:lnTo>
                    <a:lnTo>
                      <a:pt x="2789" y="1563"/>
                    </a:lnTo>
                    <a:lnTo>
                      <a:pt x="2709" y="1563"/>
                    </a:lnTo>
                    <a:lnTo>
                      <a:pt x="2538" y="1534"/>
                    </a:lnTo>
                    <a:lnTo>
                      <a:pt x="2466" y="1563"/>
                    </a:lnTo>
                    <a:lnTo>
                      <a:pt x="2365" y="1607"/>
                    </a:lnTo>
                    <a:lnTo>
                      <a:pt x="2298" y="1641"/>
                    </a:lnTo>
                    <a:lnTo>
                      <a:pt x="2170" y="1699"/>
                    </a:lnTo>
                    <a:lnTo>
                      <a:pt x="2067" y="1750"/>
                    </a:lnTo>
                    <a:lnTo>
                      <a:pt x="1990" y="1821"/>
                    </a:lnTo>
                    <a:lnTo>
                      <a:pt x="1951" y="1874"/>
                    </a:lnTo>
                    <a:lnTo>
                      <a:pt x="1983" y="1939"/>
                    </a:lnTo>
                    <a:lnTo>
                      <a:pt x="2111" y="2002"/>
                    </a:lnTo>
                    <a:lnTo>
                      <a:pt x="2233" y="2014"/>
                    </a:lnTo>
                    <a:lnTo>
                      <a:pt x="2276" y="2084"/>
                    </a:lnTo>
                    <a:lnTo>
                      <a:pt x="2346" y="2091"/>
                    </a:lnTo>
                    <a:lnTo>
                      <a:pt x="2437" y="2062"/>
                    </a:lnTo>
                    <a:lnTo>
                      <a:pt x="2540" y="1999"/>
                    </a:lnTo>
                    <a:lnTo>
                      <a:pt x="2612" y="1957"/>
                    </a:lnTo>
                    <a:lnTo>
                      <a:pt x="2743" y="1921"/>
                    </a:lnTo>
                    <a:lnTo>
                      <a:pt x="2857" y="1964"/>
                    </a:lnTo>
                    <a:lnTo>
                      <a:pt x="2857" y="2077"/>
                    </a:lnTo>
                    <a:lnTo>
                      <a:pt x="2787" y="2146"/>
                    </a:lnTo>
                    <a:lnTo>
                      <a:pt x="2684" y="2233"/>
                    </a:lnTo>
                    <a:lnTo>
                      <a:pt x="2588" y="2379"/>
                    </a:lnTo>
                    <a:lnTo>
                      <a:pt x="2406" y="2517"/>
                    </a:lnTo>
                    <a:lnTo>
                      <a:pt x="2207" y="2539"/>
                    </a:lnTo>
                    <a:lnTo>
                      <a:pt x="1909" y="2568"/>
                    </a:lnTo>
                    <a:lnTo>
                      <a:pt x="1651" y="2627"/>
                    </a:lnTo>
                    <a:lnTo>
                      <a:pt x="1469" y="2721"/>
                    </a:lnTo>
                    <a:lnTo>
                      <a:pt x="1322" y="2843"/>
                    </a:lnTo>
                    <a:lnTo>
                      <a:pt x="1251" y="2882"/>
                    </a:lnTo>
                    <a:lnTo>
                      <a:pt x="1186" y="3000"/>
                    </a:lnTo>
                    <a:lnTo>
                      <a:pt x="1231" y="3090"/>
                    </a:lnTo>
                    <a:lnTo>
                      <a:pt x="1253" y="3243"/>
                    </a:lnTo>
                    <a:lnTo>
                      <a:pt x="1206" y="3386"/>
                    </a:lnTo>
                    <a:lnTo>
                      <a:pt x="1138" y="3503"/>
                    </a:lnTo>
                    <a:lnTo>
                      <a:pt x="1047" y="3568"/>
                    </a:lnTo>
                    <a:lnTo>
                      <a:pt x="990" y="3598"/>
                    </a:lnTo>
                    <a:lnTo>
                      <a:pt x="895" y="3671"/>
                    </a:lnTo>
                    <a:lnTo>
                      <a:pt x="846" y="3748"/>
                    </a:lnTo>
                    <a:lnTo>
                      <a:pt x="900" y="3817"/>
                    </a:lnTo>
                    <a:lnTo>
                      <a:pt x="1049" y="3874"/>
                    </a:lnTo>
                    <a:lnTo>
                      <a:pt x="1159" y="3952"/>
                    </a:lnTo>
                    <a:lnTo>
                      <a:pt x="1272" y="3905"/>
                    </a:lnTo>
                    <a:lnTo>
                      <a:pt x="1375" y="3811"/>
                    </a:lnTo>
                    <a:lnTo>
                      <a:pt x="1500" y="3789"/>
                    </a:lnTo>
                    <a:lnTo>
                      <a:pt x="1562" y="3898"/>
                    </a:lnTo>
                    <a:lnTo>
                      <a:pt x="1479" y="4034"/>
                    </a:lnTo>
                    <a:lnTo>
                      <a:pt x="1276" y="4180"/>
                    </a:lnTo>
                    <a:lnTo>
                      <a:pt x="967" y="4357"/>
                    </a:lnTo>
                    <a:lnTo>
                      <a:pt x="603" y="4579"/>
                    </a:lnTo>
                    <a:lnTo>
                      <a:pt x="227" y="4739"/>
                    </a:lnTo>
                    <a:lnTo>
                      <a:pt x="77" y="4776"/>
                    </a:lnTo>
                    <a:lnTo>
                      <a:pt x="0" y="4852"/>
                    </a:lnTo>
                    <a:lnTo>
                      <a:pt x="90" y="4896"/>
                    </a:lnTo>
                    <a:lnTo>
                      <a:pt x="253" y="4896"/>
                    </a:lnTo>
                    <a:lnTo>
                      <a:pt x="574" y="4762"/>
                    </a:lnTo>
                    <a:lnTo>
                      <a:pt x="1090" y="4512"/>
                    </a:lnTo>
                    <a:lnTo>
                      <a:pt x="1721" y="4146"/>
                    </a:lnTo>
                    <a:lnTo>
                      <a:pt x="1947" y="4061"/>
                    </a:lnTo>
                    <a:lnTo>
                      <a:pt x="2151" y="4010"/>
                    </a:lnTo>
                    <a:lnTo>
                      <a:pt x="2424" y="3876"/>
                    </a:lnTo>
                    <a:lnTo>
                      <a:pt x="2669" y="3694"/>
                    </a:lnTo>
                    <a:lnTo>
                      <a:pt x="2845" y="3589"/>
                    </a:lnTo>
                    <a:lnTo>
                      <a:pt x="3007" y="3485"/>
                    </a:lnTo>
                    <a:lnTo>
                      <a:pt x="3144" y="3448"/>
                    </a:lnTo>
                    <a:lnTo>
                      <a:pt x="3223" y="3477"/>
                    </a:lnTo>
                    <a:lnTo>
                      <a:pt x="3316" y="3526"/>
                    </a:lnTo>
                    <a:lnTo>
                      <a:pt x="3468" y="3467"/>
                    </a:lnTo>
                    <a:lnTo>
                      <a:pt x="3802" y="3365"/>
                    </a:lnTo>
                    <a:lnTo>
                      <a:pt x="3944" y="3233"/>
                    </a:lnTo>
                    <a:lnTo>
                      <a:pt x="4086" y="3138"/>
                    </a:lnTo>
                    <a:lnTo>
                      <a:pt x="4204" y="3181"/>
                    </a:lnTo>
                    <a:lnTo>
                      <a:pt x="4397" y="3244"/>
                    </a:lnTo>
                    <a:lnTo>
                      <a:pt x="4521" y="3281"/>
                    </a:lnTo>
                    <a:lnTo>
                      <a:pt x="4639" y="3339"/>
                    </a:lnTo>
                    <a:lnTo>
                      <a:pt x="4775" y="3368"/>
                    </a:lnTo>
                    <a:lnTo>
                      <a:pt x="4854" y="3425"/>
                    </a:lnTo>
                    <a:lnTo>
                      <a:pt x="5019" y="3462"/>
                    </a:lnTo>
                    <a:lnTo>
                      <a:pt x="5175" y="3517"/>
                    </a:lnTo>
                    <a:lnTo>
                      <a:pt x="5355" y="3539"/>
                    </a:lnTo>
                    <a:lnTo>
                      <a:pt x="5417" y="3626"/>
                    </a:lnTo>
                    <a:lnTo>
                      <a:pt x="5565" y="3719"/>
                    </a:lnTo>
                    <a:lnTo>
                      <a:pt x="5597" y="3852"/>
                    </a:lnTo>
                    <a:lnTo>
                      <a:pt x="5745" y="3981"/>
                    </a:lnTo>
                    <a:lnTo>
                      <a:pt x="5908" y="3981"/>
                    </a:lnTo>
                    <a:lnTo>
                      <a:pt x="6085" y="4147"/>
                    </a:lnTo>
                    <a:lnTo>
                      <a:pt x="6174" y="4375"/>
                    </a:lnTo>
                    <a:lnTo>
                      <a:pt x="6176" y="4532"/>
                    </a:lnTo>
                    <a:lnTo>
                      <a:pt x="6104" y="4646"/>
                    </a:lnTo>
                    <a:lnTo>
                      <a:pt x="6105" y="4760"/>
                    </a:lnTo>
                    <a:lnTo>
                      <a:pt x="6133" y="4859"/>
                    </a:lnTo>
                    <a:lnTo>
                      <a:pt x="6182" y="4992"/>
                    </a:lnTo>
                    <a:lnTo>
                      <a:pt x="6142" y="5132"/>
                    </a:lnTo>
                    <a:lnTo>
                      <a:pt x="6087" y="5256"/>
                    </a:lnTo>
                    <a:lnTo>
                      <a:pt x="6047" y="5423"/>
                    </a:lnTo>
                    <a:lnTo>
                      <a:pt x="5980" y="5547"/>
                    </a:lnTo>
                    <a:lnTo>
                      <a:pt x="5974" y="5648"/>
                    </a:lnTo>
                    <a:lnTo>
                      <a:pt x="5991" y="5729"/>
                    </a:lnTo>
                    <a:lnTo>
                      <a:pt x="6063" y="5807"/>
                    </a:lnTo>
                    <a:lnTo>
                      <a:pt x="6052" y="5953"/>
                    </a:lnTo>
                    <a:lnTo>
                      <a:pt x="5940" y="6067"/>
                    </a:lnTo>
                    <a:lnTo>
                      <a:pt x="5904" y="6154"/>
                    </a:lnTo>
                    <a:lnTo>
                      <a:pt x="5939" y="6241"/>
                    </a:lnTo>
                    <a:lnTo>
                      <a:pt x="6058" y="6365"/>
                    </a:lnTo>
                    <a:lnTo>
                      <a:pt x="6223" y="6556"/>
                    </a:lnTo>
                    <a:lnTo>
                      <a:pt x="6343" y="6699"/>
                    </a:lnTo>
                    <a:lnTo>
                      <a:pt x="6434" y="6845"/>
                    </a:lnTo>
                    <a:lnTo>
                      <a:pt x="6500" y="7107"/>
                    </a:lnTo>
                    <a:lnTo>
                      <a:pt x="6489" y="7297"/>
                    </a:lnTo>
                    <a:lnTo>
                      <a:pt x="6460" y="7435"/>
                    </a:lnTo>
                    <a:lnTo>
                      <a:pt x="6404" y="7536"/>
                    </a:lnTo>
                    <a:lnTo>
                      <a:pt x="6347" y="7646"/>
                    </a:lnTo>
                    <a:lnTo>
                      <a:pt x="6233" y="7774"/>
                    </a:lnTo>
                    <a:lnTo>
                      <a:pt x="6155" y="7825"/>
                    </a:lnTo>
                    <a:lnTo>
                      <a:pt x="6116" y="7774"/>
                    </a:lnTo>
                    <a:lnTo>
                      <a:pt x="6099" y="7686"/>
                    </a:lnTo>
                    <a:lnTo>
                      <a:pt x="6184" y="7556"/>
                    </a:lnTo>
                    <a:lnTo>
                      <a:pt x="6118" y="7534"/>
                    </a:lnTo>
                    <a:lnTo>
                      <a:pt x="5937" y="7519"/>
                    </a:lnTo>
                    <a:lnTo>
                      <a:pt x="5869" y="7534"/>
                    </a:lnTo>
                    <a:lnTo>
                      <a:pt x="5847" y="7626"/>
                    </a:lnTo>
                    <a:lnTo>
                      <a:pt x="5773" y="7891"/>
                    </a:lnTo>
                    <a:lnTo>
                      <a:pt x="5640" y="8226"/>
                    </a:lnTo>
                    <a:lnTo>
                      <a:pt x="5551" y="8409"/>
                    </a:lnTo>
                    <a:lnTo>
                      <a:pt x="5477" y="8496"/>
                    </a:lnTo>
                    <a:lnTo>
                      <a:pt x="5437" y="8605"/>
                    </a:lnTo>
                    <a:lnTo>
                      <a:pt x="5358" y="8684"/>
                    </a:lnTo>
                    <a:lnTo>
                      <a:pt x="5286" y="8789"/>
                    </a:lnTo>
                    <a:lnTo>
                      <a:pt x="5207" y="8896"/>
                    </a:lnTo>
                    <a:lnTo>
                      <a:pt x="5129" y="8983"/>
                    </a:lnTo>
                    <a:lnTo>
                      <a:pt x="5067" y="9121"/>
                    </a:lnTo>
                    <a:lnTo>
                      <a:pt x="4998" y="9301"/>
                    </a:lnTo>
                    <a:lnTo>
                      <a:pt x="4938" y="9544"/>
                    </a:lnTo>
                    <a:lnTo>
                      <a:pt x="4887" y="9705"/>
                    </a:lnTo>
                    <a:lnTo>
                      <a:pt x="4728" y="9947"/>
                    </a:lnTo>
                    <a:lnTo>
                      <a:pt x="4614" y="10032"/>
                    </a:lnTo>
                    <a:lnTo>
                      <a:pt x="4588" y="10124"/>
                    </a:lnTo>
                    <a:lnTo>
                      <a:pt x="4607" y="10221"/>
                    </a:lnTo>
                    <a:lnTo>
                      <a:pt x="4667" y="10298"/>
                    </a:lnTo>
                    <a:lnTo>
                      <a:pt x="4646" y="10400"/>
                    </a:lnTo>
                    <a:lnTo>
                      <a:pt x="4578" y="10466"/>
                    </a:lnTo>
                    <a:lnTo>
                      <a:pt x="4533" y="10596"/>
                    </a:lnTo>
                    <a:lnTo>
                      <a:pt x="4533" y="10730"/>
                    </a:lnTo>
                    <a:lnTo>
                      <a:pt x="4564" y="10866"/>
                    </a:lnTo>
                    <a:lnTo>
                      <a:pt x="4615" y="10975"/>
                    </a:lnTo>
                    <a:lnTo>
                      <a:pt x="4687" y="11050"/>
                    </a:lnTo>
                    <a:lnTo>
                      <a:pt x="4672" y="11124"/>
                    </a:lnTo>
                    <a:lnTo>
                      <a:pt x="4602" y="11167"/>
                    </a:lnTo>
                    <a:lnTo>
                      <a:pt x="4575" y="11232"/>
                    </a:lnTo>
                    <a:lnTo>
                      <a:pt x="4638" y="11310"/>
                    </a:lnTo>
                    <a:lnTo>
                      <a:pt x="4658" y="11489"/>
                    </a:lnTo>
                    <a:lnTo>
                      <a:pt x="4708" y="11732"/>
                    </a:lnTo>
                    <a:lnTo>
                      <a:pt x="4757" y="12031"/>
                    </a:lnTo>
                    <a:lnTo>
                      <a:pt x="4809" y="12198"/>
                    </a:lnTo>
                    <a:lnTo>
                      <a:pt x="4889" y="12242"/>
                    </a:lnTo>
                    <a:lnTo>
                      <a:pt x="4983" y="12307"/>
                    </a:lnTo>
                    <a:lnTo>
                      <a:pt x="5074" y="12365"/>
                    </a:lnTo>
                    <a:lnTo>
                      <a:pt x="5182" y="12551"/>
                    </a:lnTo>
                    <a:lnTo>
                      <a:pt x="5257" y="12784"/>
                    </a:lnTo>
                    <a:lnTo>
                      <a:pt x="5291" y="13051"/>
                    </a:lnTo>
                    <a:lnTo>
                      <a:pt x="5251" y="13252"/>
                    </a:lnTo>
                    <a:lnTo>
                      <a:pt x="5228" y="13427"/>
                    </a:lnTo>
                    <a:lnTo>
                      <a:pt x="5243" y="13556"/>
                    </a:lnTo>
                    <a:lnTo>
                      <a:pt x="5361" y="13731"/>
                    </a:lnTo>
                    <a:lnTo>
                      <a:pt x="5475" y="14018"/>
                    </a:lnTo>
                    <a:lnTo>
                      <a:pt x="5549" y="14237"/>
                    </a:lnTo>
                    <a:lnTo>
                      <a:pt x="5534" y="14380"/>
                    </a:lnTo>
                    <a:lnTo>
                      <a:pt x="5455" y="14489"/>
                    </a:lnTo>
                    <a:lnTo>
                      <a:pt x="5444" y="14620"/>
                    </a:lnTo>
                    <a:lnTo>
                      <a:pt x="5538" y="14705"/>
                    </a:lnTo>
                    <a:lnTo>
                      <a:pt x="5553" y="14790"/>
                    </a:lnTo>
                    <a:lnTo>
                      <a:pt x="5597" y="14873"/>
                    </a:lnTo>
                    <a:lnTo>
                      <a:pt x="5705" y="14957"/>
                    </a:lnTo>
                    <a:lnTo>
                      <a:pt x="5832" y="15137"/>
                    </a:lnTo>
                    <a:lnTo>
                      <a:pt x="5849" y="15280"/>
                    </a:lnTo>
                    <a:lnTo>
                      <a:pt x="5806" y="15409"/>
                    </a:lnTo>
                    <a:lnTo>
                      <a:pt x="5785" y="15479"/>
                    </a:lnTo>
                    <a:lnTo>
                      <a:pt x="5785" y="15568"/>
                    </a:lnTo>
                    <a:lnTo>
                      <a:pt x="5876" y="15690"/>
                    </a:lnTo>
                    <a:lnTo>
                      <a:pt x="5983" y="15842"/>
                    </a:lnTo>
                    <a:lnTo>
                      <a:pt x="6074" y="15973"/>
                    </a:lnTo>
                    <a:lnTo>
                      <a:pt x="6165" y="16095"/>
                    </a:lnTo>
                    <a:lnTo>
                      <a:pt x="6241" y="16141"/>
                    </a:lnTo>
                    <a:lnTo>
                      <a:pt x="6223" y="16045"/>
                    </a:lnTo>
                    <a:lnTo>
                      <a:pt x="6167" y="15916"/>
                    </a:lnTo>
                    <a:lnTo>
                      <a:pt x="6083" y="15746"/>
                    </a:lnTo>
                    <a:lnTo>
                      <a:pt x="6049" y="15645"/>
                    </a:lnTo>
                    <a:lnTo>
                      <a:pt x="6033" y="15535"/>
                    </a:lnTo>
                    <a:lnTo>
                      <a:pt x="6033" y="15389"/>
                    </a:lnTo>
                    <a:lnTo>
                      <a:pt x="6006" y="15260"/>
                    </a:lnTo>
                    <a:lnTo>
                      <a:pt x="5944" y="15173"/>
                    </a:lnTo>
                    <a:lnTo>
                      <a:pt x="5928" y="15052"/>
                    </a:lnTo>
                    <a:lnTo>
                      <a:pt x="5923" y="14877"/>
                    </a:lnTo>
                    <a:lnTo>
                      <a:pt x="5917" y="14782"/>
                    </a:lnTo>
                    <a:lnTo>
                      <a:pt x="5826" y="14534"/>
                    </a:lnTo>
                    <a:lnTo>
                      <a:pt x="5720" y="14254"/>
                    </a:lnTo>
                    <a:lnTo>
                      <a:pt x="5646" y="13909"/>
                    </a:lnTo>
                    <a:lnTo>
                      <a:pt x="5549" y="13654"/>
                    </a:lnTo>
                    <a:lnTo>
                      <a:pt x="5538" y="13489"/>
                    </a:lnTo>
                    <a:lnTo>
                      <a:pt x="5583" y="13314"/>
                    </a:lnTo>
                    <a:lnTo>
                      <a:pt x="5657" y="13214"/>
                    </a:lnTo>
                    <a:lnTo>
                      <a:pt x="5739" y="13178"/>
                    </a:lnTo>
                    <a:lnTo>
                      <a:pt x="5837" y="13204"/>
                    </a:lnTo>
                    <a:lnTo>
                      <a:pt x="6002" y="13298"/>
                    </a:lnTo>
                    <a:lnTo>
                      <a:pt x="6041" y="13466"/>
                    </a:lnTo>
                    <a:lnTo>
                      <a:pt x="6021" y="13669"/>
                    </a:lnTo>
                    <a:lnTo>
                      <a:pt x="6083" y="13842"/>
                    </a:lnTo>
                    <a:lnTo>
                      <a:pt x="6123" y="14044"/>
                    </a:lnTo>
                    <a:lnTo>
                      <a:pt x="6214" y="14248"/>
                    </a:lnTo>
                    <a:lnTo>
                      <a:pt x="6284" y="14430"/>
                    </a:lnTo>
                    <a:lnTo>
                      <a:pt x="6364" y="14595"/>
                    </a:lnTo>
                    <a:lnTo>
                      <a:pt x="6436" y="14724"/>
                    </a:lnTo>
                    <a:lnTo>
                      <a:pt x="6560" y="14862"/>
                    </a:lnTo>
                    <a:lnTo>
                      <a:pt x="6578" y="15043"/>
                    </a:lnTo>
                    <a:lnTo>
                      <a:pt x="6534" y="15102"/>
                    </a:lnTo>
                    <a:lnTo>
                      <a:pt x="6506" y="15225"/>
                    </a:lnTo>
                    <a:lnTo>
                      <a:pt x="6626" y="15313"/>
                    </a:lnTo>
                    <a:lnTo>
                      <a:pt x="6758" y="15490"/>
                    </a:lnTo>
                    <a:lnTo>
                      <a:pt x="6832" y="15660"/>
                    </a:lnTo>
                    <a:lnTo>
                      <a:pt x="6946" y="15755"/>
                    </a:lnTo>
                    <a:lnTo>
                      <a:pt x="7001" y="15932"/>
                    </a:lnTo>
                    <a:lnTo>
                      <a:pt x="7069" y="16078"/>
                    </a:lnTo>
                    <a:lnTo>
                      <a:pt x="7141" y="16216"/>
                    </a:lnTo>
                    <a:lnTo>
                      <a:pt x="7193" y="16447"/>
                    </a:lnTo>
                    <a:lnTo>
                      <a:pt x="7230" y="16668"/>
                    </a:lnTo>
                    <a:lnTo>
                      <a:pt x="7224" y="16870"/>
                    </a:lnTo>
                    <a:lnTo>
                      <a:pt x="7174" y="17029"/>
                    </a:lnTo>
                    <a:lnTo>
                      <a:pt x="7125" y="17173"/>
                    </a:lnTo>
                    <a:lnTo>
                      <a:pt x="7142" y="17291"/>
                    </a:lnTo>
                    <a:lnTo>
                      <a:pt x="7204" y="17363"/>
                    </a:lnTo>
                    <a:lnTo>
                      <a:pt x="7292" y="17443"/>
                    </a:lnTo>
                    <a:lnTo>
                      <a:pt x="7417" y="17611"/>
                    </a:lnTo>
                    <a:lnTo>
                      <a:pt x="7500" y="17756"/>
                    </a:lnTo>
                    <a:lnTo>
                      <a:pt x="7591" y="17820"/>
                    </a:lnTo>
                    <a:lnTo>
                      <a:pt x="7800" y="17893"/>
                    </a:lnTo>
                    <a:lnTo>
                      <a:pt x="7925" y="18009"/>
                    </a:lnTo>
                    <a:lnTo>
                      <a:pt x="8090" y="18111"/>
                    </a:lnTo>
                    <a:lnTo>
                      <a:pt x="8241" y="18220"/>
                    </a:lnTo>
                    <a:lnTo>
                      <a:pt x="8372" y="18315"/>
                    </a:lnTo>
                    <a:lnTo>
                      <a:pt x="8507" y="18400"/>
                    </a:lnTo>
                    <a:lnTo>
                      <a:pt x="8706" y="18516"/>
                    </a:lnTo>
                    <a:lnTo>
                      <a:pt x="8842" y="18596"/>
                    </a:lnTo>
                    <a:lnTo>
                      <a:pt x="8943" y="18660"/>
                    </a:lnTo>
                    <a:lnTo>
                      <a:pt x="9047" y="18713"/>
                    </a:lnTo>
                    <a:lnTo>
                      <a:pt x="9142" y="18769"/>
                    </a:lnTo>
                    <a:lnTo>
                      <a:pt x="9212" y="18725"/>
                    </a:lnTo>
                    <a:lnTo>
                      <a:pt x="9284" y="18698"/>
                    </a:lnTo>
                    <a:lnTo>
                      <a:pt x="9443" y="18618"/>
                    </a:lnTo>
                    <a:lnTo>
                      <a:pt x="9551" y="18567"/>
                    </a:lnTo>
                    <a:lnTo>
                      <a:pt x="9694" y="18567"/>
                    </a:lnTo>
                    <a:lnTo>
                      <a:pt x="9830" y="18670"/>
                    </a:lnTo>
                    <a:lnTo>
                      <a:pt x="10001" y="18799"/>
                    </a:lnTo>
                    <a:lnTo>
                      <a:pt x="10103" y="18897"/>
                    </a:lnTo>
                    <a:lnTo>
                      <a:pt x="10183" y="19065"/>
                    </a:lnTo>
                    <a:lnTo>
                      <a:pt x="10280" y="19194"/>
                    </a:lnTo>
                    <a:lnTo>
                      <a:pt x="10399" y="19279"/>
                    </a:lnTo>
                    <a:lnTo>
                      <a:pt x="10524" y="19345"/>
                    </a:lnTo>
                    <a:lnTo>
                      <a:pt x="10621" y="19420"/>
                    </a:lnTo>
                    <a:lnTo>
                      <a:pt x="10755" y="19493"/>
                    </a:lnTo>
                    <a:lnTo>
                      <a:pt x="10877" y="19578"/>
                    </a:lnTo>
                    <a:lnTo>
                      <a:pt x="11002" y="19607"/>
                    </a:lnTo>
                    <a:lnTo>
                      <a:pt x="11156" y="19612"/>
                    </a:lnTo>
                    <a:lnTo>
                      <a:pt x="11241" y="19532"/>
                    </a:lnTo>
                    <a:lnTo>
                      <a:pt x="11335" y="19547"/>
                    </a:lnTo>
                    <a:lnTo>
                      <a:pt x="11364" y="19707"/>
                    </a:lnTo>
                    <a:lnTo>
                      <a:pt x="11392" y="19855"/>
                    </a:lnTo>
                    <a:lnTo>
                      <a:pt x="11426" y="19991"/>
                    </a:lnTo>
                    <a:lnTo>
                      <a:pt x="11500" y="20114"/>
                    </a:lnTo>
                    <a:lnTo>
                      <a:pt x="11589" y="20243"/>
                    </a:lnTo>
                    <a:lnTo>
                      <a:pt x="11653" y="20382"/>
                    </a:lnTo>
                    <a:lnTo>
                      <a:pt x="11664" y="20506"/>
                    </a:lnTo>
                    <a:lnTo>
                      <a:pt x="11682" y="20676"/>
                    </a:lnTo>
                    <a:lnTo>
                      <a:pt x="11772" y="20819"/>
                    </a:lnTo>
                    <a:lnTo>
                      <a:pt x="11902" y="20848"/>
                    </a:lnTo>
                    <a:lnTo>
                      <a:pt x="12025" y="20953"/>
                    </a:lnTo>
                    <a:lnTo>
                      <a:pt x="12094" y="21084"/>
                    </a:lnTo>
                    <a:lnTo>
                      <a:pt x="12179" y="21177"/>
                    </a:lnTo>
                    <a:lnTo>
                      <a:pt x="12295" y="21296"/>
                    </a:lnTo>
                    <a:lnTo>
                      <a:pt x="12435" y="21310"/>
                    </a:lnTo>
                    <a:lnTo>
                      <a:pt x="12549" y="21391"/>
                    </a:lnTo>
                    <a:lnTo>
                      <a:pt x="12667" y="21461"/>
                    </a:lnTo>
                    <a:lnTo>
                      <a:pt x="12729" y="21510"/>
                    </a:lnTo>
                    <a:lnTo>
                      <a:pt x="12864" y="21571"/>
                    </a:lnTo>
                    <a:lnTo>
                      <a:pt x="12989" y="21600"/>
                    </a:lnTo>
                    <a:lnTo>
                      <a:pt x="13033" y="21529"/>
                    </a:lnTo>
                    <a:lnTo>
                      <a:pt x="12995" y="21406"/>
                    </a:lnTo>
                    <a:lnTo>
                      <a:pt x="13103" y="21304"/>
                    </a:lnTo>
                    <a:lnTo>
                      <a:pt x="13183" y="21223"/>
                    </a:lnTo>
                    <a:lnTo>
                      <a:pt x="13268" y="21158"/>
                    </a:lnTo>
                    <a:lnTo>
                      <a:pt x="13213" y="21056"/>
                    </a:lnTo>
                    <a:lnTo>
                      <a:pt x="13081" y="21093"/>
                    </a:lnTo>
                    <a:lnTo>
                      <a:pt x="12971" y="21149"/>
                    </a:lnTo>
                    <a:lnTo>
                      <a:pt x="12887" y="21241"/>
                    </a:lnTo>
                    <a:lnTo>
                      <a:pt x="12803" y="21285"/>
                    </a:lnTo>
                    <a:lnTo>
                      <a:pt x="12762" y="21202"/>
                    </a:lnTo>
                    <a:lnTo>
                      <a:pt x="12656" y="21154"/>
                    </a:lnTo>
                    <a:lnTo>
                      <a:pt x="12537" y="21095"/>
                    </a:lnTo>
                    <a:lnTo>
                      <a:pt x="12412" y="20986"/>
                    </a:lnTo>
                    <a:lnTo>
                      <a:pt x="12350" y="20797"/>
                    </a:lnTo>
                    <a:lnTo>
                      <a:pt x="12262" y="20656"/>
                    </a:lnTo>
                    <a:lnTo>
                      <a:pt x="12209" y="20570"/>
                    </a:lnTo>
                    <a:lnTo>
                      <a:pt x="12187" y="20410"/>
                    </a:lnTo>
                    <a:lnTo>
                      <a:pt x="12198" y="20249"/>
                    </a:lnTo>
                    <a:lnTo>
                      <a:pt x="12225" y="20028"/>
                    </a:lnTo>
                    <a:lnTo>
                      <a:pt x="12236" y="19853"/>
                    </a:lnTo>
                    <a:lnTo>
                      <a:pt x="12264" y="19692"/>
                    </a:lnTo>
                    <a:lnTo>
                      <a:pt x="12287" y="19534"/>
                    </a:lnTo>
                    <a:lnTo>
                      <a:pt x="12302" y="19376"/>
                    </a:lnTo>
                    <a:lnTo>
                      <a:pt x="12330" y="19230"/>
                    </a:lnTo>
                    <a:lnTo>
                      <a:pt x="12364" y="19073"/>
                    </a:lnTo>
                    <a:lnTo>
                      <a:pt x="12324" y="18924"/>
                    </a:lnTo>
                    <a:lnTo>
                      <a:pt x="12279" y="18783"/>
                    </a:lnTo>
                    <a:lnTo>
                      <a:pt x="12107" y="18728"/>
                    </a:lnTo>
                    <a:lnTo>
                      <a:pt x="11924" y="18714"/>
                    </a:lnTo>
                    <a:lnTo>
                      <a:pt x="11751" y="18714"/>
                    </a:lnTo>
                    <a:lnTo>
                      <a:pt x="11628" y="18765"/>
                    </a:lnTo>
                    <a:lnTo>
                      <a:pt x="11406" y="18816"/>
                    </a:lnTo>
                    <a:lnTo>
                      <a:pt x="11165" y="18816"/>
                    </a:lnTo>
                    <a:lnTo>
                      <a:pt x="11133" y="18658"/>
                    </a:lnTo>
                    <a:lnTo>
                      <a:pt x="11154" y="18467"/>
                    </a:lnTo>
                    <a:lnTo>
                      <a:pt x="11237" y="18145"/>
                    </a:lnTo>
                    <a:lnTo>
                      <a:pt x="11347" y="17912"/>
                    </a:lnTo>
                    <a:lnTo>
                      <a:pt x="11460" y="17663"/>
                    </a:lnTo>
                    <a:lnTo>
                      <a:pt x="11505" y="17483"/>
                    </a:lnTo>
                    <a:lnTo>
                      <a:pt x="11604" y="17196"/>
                    </a:lnTo>
                    <a:lnTo>
                      <a:pt x="11683" y="17024"/>
                    </a:lnTo>
                    <a:lnTo>
                      <a:pt x="11689" y="16887"/>
                    </a:lnTo>
                    <a:lnTo>
                      <a:pt x="11632" y="16817"/>
                    </a:lnTo>
                    <a:lnTo>
                      <a:pt x="11551" y="16802"/>
                    </a:lnTo>
                    <a:lnTo>
                      <a:pt x="11477" y="16780"/>
                    </a:lnTo>
                    <a:lnTo>
                      <a:pt x="11365" y="16780"/>
                    </a:lnTo>
                    <a:lnTo>
                      <a:pt x="11234" y="16802"/>
                    </a:lnTo>
                    <a:lnTo>
                      <a:pt x="11104" y="16839"/>
                    </a:lnTo>
                    <a:lnTo>
                      <a:pt x="11028" y="16887"/>
                    </a:lnTo>
                    <a:lnTo>
                      <a:pt x="10924" y="16956"/>
                    </a:lnTo>
                    <a:lnTo>
                      <a:pt x="10890" y="17029"/>
                    </a:lnTo>
                    <a:lnTo>
                      <a:pt x="10884" y="17157"/>
                    </a:lnTo>
                    <a:lnTo>
                      <a:pt x="10833" y="17347"/>
                    </a:lnTo>
                    <a:lnTo>
                      <a:pt x="10751" y="17509"/>
                    </a:lnTo>
                    <a:lnTo>
                      <a:pt x="10649" y="17596"/>
                    </a:lnTo>
                    <a:lnTo>
                      <a:pt x="10454" y="17759"/>
                    </a:lnTo>
                    <a:lnTo>
                      <a:pt x="10312" y="17818"/>
                    </a:lnTo>
                    <a:lnTo>
                      <a:pt x="10135" y="17898"/>
                    </a:lnTo>
                    <a:lnTo>
                      <a:pt x="9999" y="17898"/>
                    </a:lnTo>
                    <a:lnTo>
                      <a:pt x="9792" y="17879"/>
                    </a:lnTo>
                    <a:lnTo>
                      <a:pt x="9606" y="17831"/>
                    </a:lnTo>
                    <a:lnTo>
                      <a:pt x="9447" y="17654"/>
                    </a:lnTo>
                    <a:lnTo>
                      <a:pt x="9334" y="17487"/>
                    </a:lnTo>
                    <a:lnTo>
                      <a:pt x="9279" y="17285"/>
                    </a:lnTo>
                    <a:lnTo>
                      <a:pt x="9196" y="16914"/>
                    </a:lnTo>
                    <a:lnTo>
                      <a:pt x="9146" y="16624"/>
                    </a:lnTo>
                    <a:lnTo>
                      <a:pt x="9129" y="16345"/>
                    </a:lnTo>
                    <a:lnTo>
                      <a:pt x="9167" y="16032"/>
                    </a:lnTo>
                    <a:lnTo>
                      <a:pt x="9286" y="15655"/>
                    </a:lnTo>
                    <a:lnTo>
                      <a:pt x="9383" y="15401"/>
                    </a:lnTo>
                    <a:lnTo>
                      <a:pt x="9400" y="15183"/>
                    </a:lnTo>
                    <a:lnTo>
                      <a:pt x="9406" y="14977"/>
                    </a:lnTo>
                    <a:lnTo>
                      <a:pt x="9444" y="14790"/>
                    </a:lnTo>
                    <a:lnTo>
                      <a:pt x="9506" y="14595"/>
                    </a:lnTo>
                    <a:lnTo>
                      <a:pt x="9635" y="14457"/>
                    </a:lnTo>
                    <a:lnTo>
                      <a:pt x="9806" y="14284"/>
                    </a:lnTo>
                    <a:lnTo>
                      <a:pt x="10189" y="14050"/>
                    </a:lnTo>
                    <a:lnTo>
                      <a:pt x="10354" y="13911"/>
                    </a:lnTo>
                    <a:lnTo>
                      <a:pt x="10480" y="13836"/>
                    </a:lnTo>
                    <a:lnTo>
                      <a:pt x="10603" y="13720"/>
                    </a:lnTo>
                    <a:lnTo>
                      <a:pt x="10739" y="13684"/>
                    </a:lnTo>
                    <a:lnTo>
                      <a:pt x="10870" y="13684"/>
                    </a:lnTo>
                    <a:lnTo>
                      <a:pt x="10993" y="13742"/>
                    </a:lnTo>
                    <a:lnTo>
                      <a:pt x="11150" y="13886"/>
                    </a:lnTo>
                    <a:lnTo>
                      <a:pt x="11296" y="13993"/>
                    </a:lnTo>
                    <a:lnTo>
                      <a:pt x="11413" y="14043"/>
                    </a:lnTo>
                    <a:lnTo>
                      <a:pt x="11504" y="14043"/>
                    </a:lnTo>
                    <a:lnTo>
                      <a:pt x="11606" y="13970"/>
                    </a:lnTo>
                    <a:lnTo>
                      <a:pt x="11711" y="13735"/>
                    </a:lnTo>
                    <a:lnTo>
                      <a:pt x="11875" y="13611"/>
                    </a:lnTo>
                    <a:lnTo>
                      <a:pt x="12014" y="13548"/>
                    </a:lnTo>
                    <a:lnTo>
                      <a:pt x="12178" y="13504"/>
                    </a:lnTo>
                    <a:lnTo>
                      <a:pt x="12297" y="13548"/>
                    </a:lnTo>
                    <a:lnTo>
                      <a:pt x="12373" y="13646"/>
                    </a:lnTo>
                    <a:lnTo>
                      <a:pt x="12497" y="13704"/>
                    </a:lnTo>
                    <a:lnTo>
                      <a:pt x="12604" y="13781"/>
                    </a:lnTo>
                    <a:lnTo>
                      <a:pt x="12701" y="13812"/>
                    </a:lnTo>
                    <a:lnTo>
                      <a:pt x="12778" y="13740"/>
                    </a:lnTo>
                    <a:lnTo>
                      <a:pt x="12875" y="13710"/>
                    </a:lnTo>
                    <a:lnTo>
                      <a:pt x="12998" y="13746"/>
                    </a:lnTo>
                    <a:lnTo>
                      <a:pt x="13081" y="13890"/>
                    </a:lnTo>
                    <a:lnTo>
                      <a:pt x="13168" y="13996"/>
                    </a:lnTo>
                    <a:lnTo>
                      <a:pt x="13228" y="14124"/>
                    </a:lnTo>
                    <a:lnTo>
                      <a:pt x="13245" y="14260"/>
                    </a:lnTo>
                    <a:lnTo>
                      <a:pt x="13188" y="14382"/>
                    </a:lnTo>
                    <a:lnTo>
                      <a:pt x="13150" y="14515"/>
                    </a:lnTo>
                    <a:lnTo>
                      <a:pt x="13150" y="14661"/>
                    </a:lnTo>
                    <a:lnTo>
                      <a:pt x="13213" y="14744"/>
                    </a:lnTo>
                    <a:lnTo>
                      <a:pt x="13265" y="14853"/>
                    </a:lnTo>
                    <a:lnTo>
                      <a:pt x="13283" y="15108"/>
                    </a:lnTo>
                    <a:lnTo>
                      <a:pt x="13334" y="15290"/>
                    </a:lnTo>
                    <a:lnTo>
                      <a:pt x="13452" y="15424"/>
                    </a:lnTo>
                    <a:lnTo>
                      <a:pt x="13548" y="15365"/>
                    </a:lnTo>
                    <a:lnTo>
                      <a:pt x="13603" y="15222"/>
                    </a:lnTo>
                    <a:lnTo>
                      <a:pt x="13654" y="15037"/>
                    </a:lnTo>
                    <a:lnTo>
                      <a:pt x="13654" y="14814"/>
                    </a:lnTo>
                    <a:lnTo>
                      <a:pt x="13681" y="14602"/>
                    </a:lnTo>
                    <a:lnTo>
                      <a:pt x="13650" y="14293"/>
                    </a:lnTo>
                    <a:lnTo>
                      <a:pt x="13616" y="14170"/>
                    </a:lnTo>
                    <a:lnTo>
                      <a:pt x="13599" y="13973"/>
                    </a:lnTo>
                    <a:lnTo>
                      <a:pt x="13582" y="13688"/>
                    </a:lnTo>
                    <a:lnTo>
                      <a:pt x="13593" y="13506"/>
                    </a:lnTo>
                    <a:lnTo>
                      <a:pt x="13658" y="13353"/>
                    </a:lnTo>
                    <a:lnTo>
                      <a:pt x="13728" y="13200"/>
                    </a:lnTo>
                    <a:lnTo>
                      <a:pt x="13825" y="13091"/>
                    </a:lnTo>
                    <a:lnTo>
                      <a:pt x="13927" y="12967"/>
                    </a:lnTo>
                    <a:lnTo>
                      <a:pt x="14218" y="12701"/>
                    </a:lnTo>
                    <a:lnTo>
                      <a:pt x="14326" y="12563"/>
                    </a:lnTo>
                    <a:lnTo>
                      <a:pt x="14453" y="12468"/>
                    </a:lnTo>
                    <a:lnTo>
                      <a:pt x="14577" y="12404"/>
                    </a:lnTo>
                    <a:lnTo>
                      <a:pt x="14723" y="12341"/>
                    </a:lnTo>
                    <a:lnTo>
                      <a:pt x="14852" y="12246"/>
                    </a:lnTo>
                    <a:lnTo>
                      <a:pt x="14935" y="12127"/>
                    </a:lnTo>
                    <a:lnTo>
                      <a:pt x="15055" y="12032"/>
                    </a:lnTo>
                    <a:lnTo>
                      <a:pt x="15152" y="11945"/>
                    </a:lnTo>
                    <a:lnTo>
                      <a:pt x="15263" y="11753"/>
                    </a:lnTo>
                    <a:lnTo>
                      <a:pt x="15280" y="11595"/>
                    </a:lnTo>
                    <a:lnTo>
                      <a:pt x="15303" y="11434"/>
                    </a:lnTo>
                    <a:lnTo>
                      <a:pt x="15281" y="11276"/>
                    </a:lnTo>
                    <a:lnTo>
                      <a:pt x="15281" y="11116"/>
                    </a:lnTo>
                    <a:lnTo>
                      <a:pt x="15303" y="10934"/>
                    </a:lnTo>
                    <a:lnTo>
                      <a:pt x="15389" y="10761"/>
                    </a:lnTo>
                    <a:lnTo>
                      <a:pt x="15482" y="10761"/>
                    </a:lnTo>
                    <a:lnTo>
                      <a:pt x="15499" y="10880"/>
                    </a:lnTo>
                    <a:lnTo>
                      <a:pt x="15546" y="11021"/>
                    </a:lnTo>
                    <a:lnTo>
                      <a:pt x="15614" y="10967"/>
                    </a:lnTo>
                    <a:lnTo>
                      <a:pt x="15535" y="10727"/>
                    </a:lnTo>
                    <a:lnTo>
                      <a:pt x="15650" y="10569"/>
                    </a:lnTo>
                    <a:lnTo>
                      <a:pt x="15762" y="10432"/>
                    </a:lnTo>
                    <a:lnTo>
                      <a:pt x="16024" y="10381"/>
                    </a:lnTo>
                    <a:lnTo>
                      <a:pt x="16117" y="10289"/>
                    </a:lnTo>
                    <a:lnTo>
                      <a:pt x="16183" y="10120"/>
                    </a:lnTo>
                    <a:lnTo>
                      <a:pt x="16253" y="10035"/>
                    </a:lnTo>
                    <a:lnTo>
                      <a:pt x="16440" y="9841"/>
                    </a:lnTo>
                    <a:lnTo>
                      <a:pt x="16600" y="9797"/>
                    </a:lnTo>
                    <a:lnTo>
                      <a:pt x="16827" y="9761"/>
                    </a:lnTo>
                    <a:lnTo>
                      <a:pt x="16975" y="9680"/>
                    </a:lnTo>
                    <a:lnTo>
                      <a:pt x="17100" y="9613"/>
                    </a:lnTo>
                    <a:lnTo>
                      <a:pt x="17191" y="9547"/>
                    </a:lnTo>
                    <a:lnTo>
                      <a:pt x="17242" y="9250"/>
                    </a:lnTo>
                    <a:lnTo>
                      <a:pt x="17356" y="9134"/>
                    </a:lnTo>
                    <a:lnTo>
                      <a:pt x="17482" y="9045"/>
                    </a:lnTo>
                    <a:lnTo>
                      <a:pt x="17579" y="8965"/>
                    </a:lnTo>
                    <a:lnTo>
                      <a:pt x="17788" y="8827"/>
                    </a:lnTo>
                    <a:lnTo>
                      <a:pt x="17966" y="8684"/>
                    </a:lnTo>
                    <a:lnTo>
                      <a:pt x="18192" y="8613"/>
                    </a:lnTo>
                    <a:lnTo>
                      <a:pt x="18339" y="8516"/>
                    </a:lnTo>
                    <a:lnTo>
                      <a:pt x="18489" y="8428"/>
                    </a:lnTo>
                    <a:lnTo>
                      <a:pt x="18633" y="8365"/>
                    </a:lnTo>
                    <a:lnTo>
                      <a:pt x="18762" y="8309"/>
                    </a:lnTo>
                    <a:lnTo>
                      <a:pt x="18913" y="8309"/>
                    </a:lnTo>
                    <a:lnTo>
                      <a:pt x="19010" y="8350"/>
                    </a:lnTo>
                    <a:lnTo>
                      <a:pt x="19016" y="8472"/>
                    </a:lnTo>
                    <a:lnTo>
                      <a:pt x="18873" y="8513"/>
                    </a:lnTo>
                    <a:lnTo>
                      <a:pt x="18706" y="8635"/>
                    </a:lnTo>
                    <a:lnTo>
                      <a:pt x="18595" y="8691"/>
                    </a:lnTo>
                    <a:lnTo>
                      <a:pt x="18495" y="8751"/>
                    </a:lnTo>
                    <a:lnTo>
                      <a:pt x="18450" y="8839"/>
                    </a:lnTo>
                    <a:lnTo>
                      <a:pt x="18511" y="8931"/>
                    </a:lnTo>
                    <a:lnTo>
                      <a:pt x="18611" y="8931"/>
                    </a:lnTo>
                    <a:lnTo>
                      <a:pt x="18791" y="8827"/>
                    </a:lnTo>
                    <a:lnTo>
                      <a:pt x="18930" y="8727"/>
                    </a:lnTo>
                    <a:lnTo>
                      <a:pt x="19074" y="8650"/>
                    </a:lnTo>
                    <a:lnTo>
                      <a:pt x="19244" y="8635"/>
                    </a:lnTo>
                    <a:cubicBezTo>
                      <a:pt x="19290" y="8619"/>
                      <a:pt x="19335" y="8600"/>
                      <a:pt x="19379" y="8579"/>
                    </a:cubicBezTo>
                    <a:cubicBezTo>
                      <a:pt x="19434" y="8553"/>
                      <a:pt x="19488" y="8523"/>
                      <a:pt x="19541" y="8489"/>
                    </a:cubicBezTo>
                    <a:lnTo>
                      <a:pt x="19653" y="8409"/>
                    </a:lnTo>
                    <a:lnTo>
                      <a:pt x="19869" y="8294"/>
                    </a:lnTo>
                    <a:lnTo>
                      <a:pt x="19833" y="8195"/>
                    </a:lnTo>
                    <a:lnTo>
                      <a:pt x="19698" y="8202"/>
                    </a:lnTo>
                    <a:lnTo>
                      <a:pt x="19554" y="8292"/>
                    </a:lnTo>
                    <a:lnTo>
                      <a:pt x="19488" y="8314"/>
                    </a:lnTo>
                    <a:lnTo>
                      <a:pt x="19341" y="8314"/>
                    </a:lnTo>
                    <a:lnTo>
                      <a:pt x="19174" y="8207"/>
                    </a:lnTo>
                    <a:lnTo>
                      <a:pt x="18993" y="8112"/>
                    </a:lnTo>
                    <a:lnTo>
                      <a:pt x="18933" y="7978"/>
                    </a:lnTo>
                    <a:lnTo>
                      <a:pt x="18938" y="7840"/>
                    </a:lnTo>
                    <a:lnTo>
                      <a:pt x="18944" y="7690"/>
                    </a:lnTo>
                    <a:lnTo>
                      <a:pt x="19006" y="7610"/>
                    </a:lnTo>
                    <a:lnTo>
                      <a:pt x="19140" y="7428"/>
                    </a:lnTo>
                    <a:lnTo>
                      <a:pt x="19187" y="7345"/>
                    </a:lnTo>
                    <a:lnTo>
                      <a:pt x="19237" y="7180"/>
                    </a:lnTo>
                    <a:lnTo>
                      <a:pt x="19106" y="7144"/>
                    </a:lnTo>
                    <a:lnTo>
                      <a:pt x="18892" y="7163"/>
                    </a:lnTo>
                    <a:lnTo>
                      <a:pt x="18659" y="7228"/>
                    </a:lnTo>
                    <a:lnTo>
                      <a:pt x="18407" y="7344"/>
                    </a:lnTo>
                    <a:lnTo>
                      <a:pt x="18286" y="7459"/>
                    </a:lnTo>
                    <a:lnTo>
                      <a:pt x="18115" y="7495"/>
                    </a:lnTo>
                    <a:lnTo>
                      <a:pt x="18053" y="7522"/>
                    </a:lnTo>
                    <a:lnTo>
                      <a:pt x="17997" y="7406"/>
                    </a:lnTo>
                    <a:lnTo>
                      <a:pt x="18048" y="7304"/>
                    </a:lnTo>
                    <a:lnTo>
                      <a:pt x="18150" y="7238"/>
                    </a:lnTo>
                    <a:lnTo>
                      <a:pt x="18577" y="7007"/>
                    </a:lnTo>
                    <a:lnTo>
                      <a:pt x="18765" y="6862"/>
                    </a:lnTo>
                    <a:cubicBezTo>
                      <a:pt x="18809" y="6831"/>
                      <a:pt x="18854" y="6805"/>
                      <a:pt x="18901" y="6781"/>
                    </a:cubicBezTo>
                    <a:cubicBezTo>
                      <a:pt x="18965" y="6749"/>
                      <a:pt x="19031" y="6724"/>
                      <a:pt x="19098" y="6706"/>
                    </a:cubicBezTo>
                    <a:lnTo>
                      <a:pt x="19233" y="6665"/>
                    </a:lnTo>
                    <a:lnTo>
                      <a:pt x="19413" y="6636"/>
                    </a:lnTo>
                    <a:lnTo>
                      <a:pt x="19652" y="6658"/>
                    </a:lnTo>
                    <a:lnTo>
                      <a:pt x="19921" y="6687"/>
                    </a:lnTo>
                    <a:lnTo>
                      <a:pt x="20075" y="6660"/>
                    </a:lnTo>
                    <a:lnTo>
                      <a:pt x="20242" y="6618"/>
                    </a:lnTo>
                    <a:lnTo>
                      <a:pt x="20490" y="6615"/>
                    </a:lnTo>
                    <a:lnTo>
                      <a:pt x="20803" y="6477"/>
                    </a:lnTo>
                    <a:lnTo>
                      <a:pt x="20930" y="6409"/>
                    </a:lnTo>
                    <a:cubicBezTo>
                      <a:pt x="20988" y="6390"/>
                      <a:pt x="21045" y="6366"/>
                      <a:pt x="21099" y="6336"/>
                    </a:cubicBezTo>
                    <a:cubicBezTo>
                      <a:pt x="21140" y="6313"/>
                      <a:pt x="21179" y="6288"/>
                      <a:pt x="21217" y="6260"/>
                    </a:cubicBezTo>
                    <a:lnTo>
                      <a:pt x="21276" y="6209"/>
                    </a:lnTo>
                    <a:lnTo>
                      <a:pt x="21373" y="6131"/>
                    </a:lnTo>
                    <a:cubicBezTo>
                      <a:pt x="21397" y="6115"/>
                      <a:pt x="21420" y="6096"/>
                      <a:pt x="21441" y="6073"/>
                    </a:cubicBezTo>
                    <a:cubicBezTo>
                      <a:pt x="21471" y="6042"/>
                      <a:pt x="21497" y="6005"/>
                      <a:pt x="21518" y="5964"/>
                    </a:cubicBezTo>
                    <a:lnTo>
                      <a:pt x="21583" y="5842"/>
                    </a:lnTo>
                    <a:lnTo>
                      <a:pt x="21600" y="5716"/>
                    </a:lnTo>
                    <a:lnTo>
                      <a:pt x="21594" y="5645"/>
                    </a:lnTo>
                    <a:lnTo>
                      <a:pt x="21471" y="5526"/>
                    </a:lnTo>
                    <a:lnTo>
                      <a:pt x="21403" y="5467"/>
                    </a:lnTo>
                    <a:lnTo>
                      <a:pt x="21327" y="5446"/>
                    </a:lnTo>
                    <a:lnTo>
                      <a:pt x="21196" y="5446"/>
                    </a:lnTo>
                    <a:lnTo>
                      <a:pt x="21091" y="5453"/>
                    </a:lnTo>
                    <a:lnTo>
                      <a:pt x="20995" y="5547"/>
                    </a:lnTo>
                    <a:lnTo>
                      <a:pt x="20900" y="5567"/>
                    </a:lnTo>
                    <a:lnTo>
                      <a:pt x="20828" y="5523"/>
                    </a:lnTo>
                    <a:lnTo>
                      <a:pt x="20828" y="5416"/>
                    </a:lnTo>
                    <a:cubicBezTo>
                      <a:pt x="20860" y="5376"/>
                      <a:pt x="20896" y="5339"/>
                      <a:pt x="20934" y="5307"/>
                    </a:cubicBezTo>
                    <a:cubicBezTo>
                      <a:pt x="20959" y="5286"/>
                      <a:pt x="20985" y="5266"/>
                      <a:pt x="21011" y="5249"/>
                    </a:cubicBezTo>
                    <a:lnTo>
                      <a:pt x="20920" y="5120"/>
                    </a:lnTo>
                    <a:lnTo>
                      <a:pt x="20871" y="4942"/>
                    </a:lnTo>
                    <a:lnTo>
                      <a:pt x="20814" y="4814"/>
                    </a:lnTo>
                    <a:lnTo>
                      <a:pt x="20734" y="4712"/>
                    </a:lnTo>
                    <a:lnTo>
                      <a:pt x="20746" y="4563"/>
                    </a:lnTo>
                    <a:lnTo>
                      <a:pt x="20846" y="4476"/>
                    </a:lnTo>
                    <a:lnTo>
                      <a:pt x="20856" y="4345"/>
                    </a:lnTo>
                    <a:lnTo>
                      <a:pt x="20833" y="4183"/>
                    </a:lnTo>
                    <a:lnTo>
                      <a:pt x="20762" y="4113"/>
                    </a:lnTo>
                    <a:lnTo>
                      <a:pt x="20722" y="4001"/>
                    </a:lnTo>
                    <a:cubicBezTo>
                      <a:pt x="20752" y="3980"/>
                      <a:pt x="20776" y="3947"/>
                      <a:pt x="20790" y="3907"/>
                    </a:cubicBezTo>
                    <a:cubicBezTo>
                      <a:pt x="20808" y="3857"/>
                      <a:pt x="20810" y="3800"/>
                      <a:pt x="20796" y="3749"/>
                    </a:cubicBezTo>
                    <a:lnTo>
                      <a:pt x="20745" y="3647"/>
                    </a:lnTo>
                    <a:lnTo>
                      <a:pt x="20720" y="3537"/>
                    </a:lnTo>
                    <a:lnTo>
                      <a:pt x="20625" y="3493"/>
                    </a:lnTo>
                    <a:lnTo>
                      <a:pt x="20528" y="3632"/>
                    </a:lnTo>
                    <a:lnTo>
                      <a:pt x="20392" y="3756"/>
                    </a:lnTo>
                    <a:lnTo>
                      <a:pt x="20250" y="3892"/>
                    </a:lnTo>
                    <a:lnTo>
                      <a:pt x="20115" y="4018"/>
                    </a:lnTo>
                    <a:lnTo>
                      <a:pt x="19946" y="4098"/>
                    </a:lnTo>
                    <a:lnTo>
                      <a:pt x="19822" y="4091"/>
                    </a:lnTo>
                    <a:lnTo>
                      <a:pt x="19744" y="4074"/>
                    </a:lnTo>
                    <a:lnTo>
                      <a:pt x="19649" y="3952"/>
                    </a:lnTo>
                    <a:lnTo>
                      <a:pt x="19564" y="3858"/>
                    </a:lnTo>
                    <a:lnTo>
                      <a:pt x="19617" y="3705"/>
                    </a:lnTo>
                    <a:lnTo>
                      <a:pt x="19691" y="3562"/>
                    </a:lnTo>
                    <a:lnTo>
                      <a:pt x="19670" y="3362"/>
                    </a:lnTo>
                    <a:lnTo>
                      <a:pt x="19615" y="3265"/>
                    </a:lnTo>
                    <a:lnTo>
                      <a:pt x="19484" y="3118"/>
                    </a:lnTo>
                    <a:lnTo>
                      <a:pt x="19382" y="3053"/>
                    </a:lnTo>
                    <a:lnTo>
                      <a:pt x="19268" y="2958"/>
                    </a:lnTo>
                    <a:lnTo>
                      <a:pt x="19145" y="2912"/>
                    </a:lnTo>
                    <a:lnTo>
                      <a:pt x="19014" y="2919"/>
                    </a:lnTo>
                    <a:lnTo>
                      <a:pt x="18924" y="2834"/>
                    </a:lnTo>
                    <a:lnTo>
                      <a:pt x="18793" y="2819"/>
                    </a:lnTo>
                    <a:lnTo>
                      <a:pt x="18658" y="2819"/>
                    </a:lnTo>
                    <a:lnTo>
                      <a:pt x="18524" y="2863"/>
                    </a:lnTo>
                    <a:lnTo>
                      <a:pt x="18416" y="2934"/>
                    </a:lnTo>
                    <a:lnTo>
                      <a:pt x="18334" y="2997"/>
                    </a:lnTo>
                    <a:lnTo>
                      <a:pt x="18277" y="3133"/>
                    </a:lnTo>
                    <a:lnTo>
                      <a:pt x="18228" y="3344"/>
                    </a:lnTo>
                    <a:lnTo>
                      <a:pt x="18114" y="3556"/>
                    </a:lnTo>
                    <a:lnTo>
                      <a:pt x="18057" y="3665"/>
                    </a:lnTo>
                    <a:lnTo>
                      <a:pt x="17966" y="3765"/>
                    </a:lnTo>
                    <a:lnTo>
                      <a:pt x="17864" y="3806"/>
                    </a:lnTo>
                    <a:lnTo>
                      <a:pt x="17813" y="3908"/>
                    </a:lnTo>
                    <a:lnTo>
                      <a:pt x="17790" y="3988"/>
                    </a:lnTo>
                    <a:lnTo>
                      <a:pt x="17790" y="4105"/>
                    </a:lnTo>
                    <a:lnTo>
                      <a:pt x="17807" y="4220"/>
                    </a:lnTo>
                    <a:lnTo>
                      <a:pt x="17813" y="4330"/>
                    </a:lnTo>
                    <a:lnTo>
                      <a:pt x="17807" y="4419"/>
                    </a:lnTo>
                    <a:lnTo>
                      <a:pt x="17727" y="4570"/>
                    </a:lnTo>
                    <a:lnTo>
                      <a:pt x="17608" y="4723"/>
                    </a:lnTo>
                    <a:lnTo>
                      <a:pt x="17570" y="4807"/>
                    </a:lnTo>
                    <a:lnTo>
                      <a:pt x="17479" y="4941"/>
                    </a:lnTo>
                    <a:lnTo>
                      <a:pt x="17394" y="5028"/>
                    </a:lnTo>
                    <a:lnTo>
                      <a:pt x="17345" y="5072"/>
                    </a:lnTo>
                    <a:lnTo>
                      <a:pt x="17172" y="5175"/>
                    </a:lnTo>
                    <a:lnTo>
                      <a:pt x="17093" y="5197"/>
                    </a:lnTo>
                    <a:lnTo>
                      <a:pt x="16951" y="5269"/>
                    </a:lnTo>
                    <a:lnTo>
                      <a:pt x="16873" y="5378"/>
                    </a:lnTo>
                    <a:lnTo>
                      <a:pt x="16811" y="5487"/>
                    </a:lnTo>
                    <a:lnTo>
                      <a:pt x="16771" y="5592"/>
                    </a:lnTo>
                    <a:lnTo>
                      <a:pt x="16743" y="5750"/>
                    </a:lnTo>
                    <a:lnTo>
                      <a:pt x="16726" y="5871"/>
                    </a:lnTo>
                    <a:lnTo>
                      <a:pt x="16709" y="5944"/>
                    </a:lnTo>
                    <a:lnTo>
                      <a:pt x="16652" y="6076"/>
                    </a:lnTo>
                    <a:lnTo>
                      <a:pt x="16601" y="6191"/>
                    </a:lnTo>
                    <a:lnTo>
                      <a:pt x="16482" y="6279"/>
                    </a:lnTo>
                    <a:lnTo>
                      <a:pt x="16345" y="6351"/>
                    </a:lnTo>
                    <a:lnTo>
                      <a:pt x="16220" y="6410"/>
                    </a:lnTo>
                    <a:lnTo>
                      <a:pt x="16108" y="6417"/>
                    </a:lnTo>
                    <a:lnTo>
                      <a:pt x="16026" y="6249"/>
                    </a:lnTo>
                    <a:lnTo>
                      <a:pt x="15965" y="6129"/>
                    </a:lnTo>
                    <a:lnTo>
                      <a:pt x="15948" y="6014"/>
                    </a:lnTo>
                    <a:lnTo>
                      <a:pt x="15982" y="5833"/>
                    </a:lnTo>
                    <a:lnTo>
                      <a:pt x="16056" y="5667"/>
                    </a:lnTo>
                    <a:lnTo>
                      <a:pt x="16079" y="5551"/>
                    </a:lnTo>
                    <a:lnTo>
                      <a:pt x="16130" y="5398"/>
                    </a:lnTo>
                    <a:lnTo>
                      <a:pt x="16168" y="5299"/>
                    </a:lnTo>
                    <a:lnTo>
                      <a:pt x="16158" y="5212"/>
                    </a:lnTo>
                    <a:lnTo>
                      <a:pt x="16120" y="5149"/>
                    </a:lnTo>
                    <a:lnTo>
                      <a:pt x="16044" y="5134"/>
                    </a:lnTo>
                    <a:lnTo>
                      <a:pt x="15842" y="5066"/>
                    </a:lnTo>
                    <a:lnTo>
                      <a:pt x="15649" y="5016"/>
                    </a:lnTo>
                    <a:lnTo>
                      <a:pt x="15519" y="4899"/>
                    </a:lnTo>
                    <a:lnTo>
                      <a:pt x="15428" y="4807"/>
                    </a:lnTo>
                    <a:lnTo>
                      <a:pt x="15295" y="4703"/>
                    </a:lnTo>
                    <a:lnTo>
                      <a:pt x="15101" y="4615"/>
                    </a:lnTo>
                    <a:lnTo>
                      <a:pt x="15030" y="4608"/>
                    </a:lnTo>
                    <a:lnTo>
                      <a:pt x="14853" y="4596"/>
                    </a:lnTo>
                    <a:lnTo>
                      <a:pt x="14711" y="4533"/>
                    </a:lnTo>
                    <a:lnTo>
                      <a:pt x="14656" y="4441"/>
                    </a:lnTo>
                    <a:lnTo>
                      <a:pt x="14613" y="4335"/>
                    </a:lnTo>
                    <a:lnTo>
                      <a:pt x="14581" y="4174"/>
                    </a:lnTo>
                    <a:lnTo>
                      <a:pt x="14534" y="4070"/>
                    </a:lnTo>
                    <a:lnTo>
                      <a:pt x="14451" y="4048"/>
                    </a:lnTo>
                    <a:lnTo>
                      <a:pt x="14384" y="3982"/>
                    </a:lnTo>
                    <a:lnTo>
                      <a:pt x="14380" y="3875"/>
                    </a:lnTo>
                    <a:lnTo>
                      <a:pt x="14437" y="3743"/>
                    </a:lnTo>
                    <a:lnTo>
                      <a:pt x="14496" y="3639"/>
                    </a:lnTo>
                    <a:lnTo>
                      <a:pt x="14589" y="3529"/>
                    </a:lnTo>
                    <a:lnTo>
                      <a:pt x="14644" y="3420"/>
                    </a:lnTo>
                    <a:lnTo>
                      <a:pt x="14712" y="3355"/>
                    </a:lnTo>
                    <a:lnTo>
                      <a:pt x="14846" y="3290"/>
                    </a:lnTo>
                    <a:lnTo>
                      <a:pt x="14960" y="3224"/>
                    </a:lnTo>
                    <a:lnTo>
                      <a:pt x="15117" y="3068"/>
                    </a:lnTo>
                    <a:lnTo>
                      <a:pt x="15265" y="2971"/>
                    </a:lnTo>
                    <a:lnTo>
                      <a:pt x="15367" y="2891"/>
                    </a:lnTo>
                    <a:lnTo>
                      <a:pt x="15479" y="2833"/>
                    </a:lnTo>
                    <a:lnTo>
                      <a:pt x="15627" y="2760"/>
                    </a:lnTo>
                    <a:lnTo>
                      <a:pt x="15801" y="2672"/>
                    </a:lnTo>
                    <a:lnTo>
                      <a:pt x="15902" y="2616"/>
                    </a:lnTo>
                    <a:lnTo>
                      <a:pt x="15953" y="2544"/>
                    </a:lnTo>
                    <a:lnTo>
                      <a:pt x="15902" y="2480"/>
                    </a:lnTo>
                    <a:lnTo>
                      <a:pt x="15942" y="2320"/>
                    </a:lnTo>
                    <a:lnTo>
                      <a:pt x="16029" y="2276"/>
                    </a:lnTo>
                    <a:lnTo>
                      <a:pt x="16111" y="2336"/>
                    </a:lnTo>
                    <a:lnTo>
                      <a:pt x="16338" y="2329"/>
                    </a:lnTo>
                    <a:lnTo>
                      <a:pt x="16515" y="2242"/>
                    </a:lnTo>
                    <a:lnTo>
                      <a:pt x="16662" y="2213"/>
                    </a:lnTo>
                    <a:lnTo>
                      <a:pt x="16803" y="2154"/>
                    </a:lnTo>
                    <a:lnTo>
                      <a:pt x="16958" y="2088"/>
                    </a:lnTo>
                    <a:lnTo>
                      <a:pt x="16928" y="1994"/>
                    </a:lnTo>
                    <a:lnTo>
                      <a:pt x="16828" y="1852"/>
                    </a:lnTo>
                    <a:lnTo>
                      <a:pt x="16746" y="1775"/>
                    </a:lnTo>
                    <a:lnTo>
                      <a:pt x="16786" y="1685"/>
                    </a:lnTo>
                    <a:lnTo>
                      <a:pt x="16894" y="1649"/>
                    </a:lnTo>
                    <a:lnTo>
                      <a:pt x="17022" y="1728"/>
                    </a:lnTo>
                    <a:cubicBezTo>
                      <a:pt x="17065" y="1745"/>
                      <a:pt x="17109" y="1754"/>
                      <a:pt x="17154" y="1754"/>
                    </a:cubicBezTo>
                    <a:cubicBezTo>
                      <a:pt x="17193" y="1754"/>
                      <a:pt x="17232" y="1748"/>
                      <a:pt x="17270" y="1735"/>
                    </a:cubicBezTo>
                    <a:lnTo>
                      <a:pt x="17369" y="1675"/>
                    </a:lnTo>
                    <a:lnTo>
                      <a:pt x="17463" y="1580"/>
                    </a:lnTo>
                    <a:lnTo>
                      <a:pt x="17617" y="1551"/>
                    </a:lnTo>
                    <a:lnTo>
                      <a:pt x="17797" y="1546"/>
                    </a:lnTo>
                    <a:lnTo>
                      <a:pt x="17945" y="1517"/>
                    </a:lnTo>
                    <a:cubicBezTo>
                      <a:pt x="18025" y="1530"/>
                      <a:pt x="18106" y="1530"/>
                      <a:pt x="18186" y="1517"/>
                    </a:cubicBezTo>
                    <a:cubicBezTo>
                      <a:pt x="18230" y="1510"/>
                      <a:pt x="18274" y="1499"/>
                      <a:pt x="18316" y="1480"/>
                    </a:cubicBezTo>
                    <a:cubicBezTo>
                      <a:pt x="18379" y="1453"/>
                      <a:pt x="18437" y="1411"/>
                      <a:pt x="18487" y="1357"/>
                    </a:cubicBezTo>
                    <a:lnTo>
                      <a:pt x="18576" y="1269"/>
                    </a:lnTo>
                    <a:lnTo>
                      <a:pt x="18679" y="1133"/>
                    </a:lnTo>
                    <a:lnTo>
                      <a:pt x="18740" y="1033"/>
                    </a:lnTo>
                    <a:lnTo>
                      <a:pt x="18827" y="887"/>
                    </a:lnTo>
                    <a:lnTo>
                      <a:pt x="18865" y="773"/>
                    </a:lnTo>
                    <a:lnTo>
                      <a:pt x="18842" y="683"/>
                    </a:lnTo>
                    <a:lnTo>
                      <a:pt x="18706" y="662"/>
                    </a:lnTo>
                    <a:lnTo>
                      <a:pt x="18611" y="642"/>
                    </a:lnTo>
                    <a:lnTo>
                      <a:pt x="18371" y="642"/>
                    </a:lnTo>
                    <a:lnTo>
                      <a:pt x="18303" y="678"/>
                    </a:lnTo>
                    <a:lnTo>
                      <a:pt x="18196" y="812"/>
                    </a:lnTo>
                    <a:lnTo>
                      <a:pt x="18035" y="1029"/>
                    </a:lnTo>
                    <a:lnTo>
                      <a:pt x="17939" y="1072"/>
                    </a:lnTo>
                    <a:lnTo>
                      <a:pt x="17774" y="1203"/>
                    </a:lnTo>
                    <a:lnTo>
                      <a:pt x="17708" y="1283"/>
                    </a:lnTo>
                    <a:lnTo>
                      <a:pt x="17630" y="1324"/>
                    </a:lnTo>
                    <a:lnTo>
                      <a:pt x="17575" y="1297"/>
                    </a:lnTo>
                    <a:lnTo>
                      <a:pt x="17456" y="1210"/>
                    </a:lnTo>
                    <a:lnTo>
                      <a:pt x="17478" y="1123"/>
                    </a:lnTo>
                    <a:lnTo>
                      <a:pt x="17579" y="987"/>
                    </a:lnTo>
                    <a:lnTo>
                      <a:pt x="17620" y="848"/>
                    </a:lnTo>
                    <a:lnTo>
                      <a:pt x="17580" y="746"/>
                    </a:lnTo>
                    <a:lnTo>
                      <a:pt x="17480" y="713"/>
                    </a:lnTo>
                    <a:lnTo>
                      <a:pt x="17389" y="669"/>
                    </a:lnTo>
                    <a:lnTo>
                      <a:pt x="17377" y="770"/>
                    </a:lnTo>
                    <a:lnTo>
                      <a:pt x="17275" y="843"/>
                    </a:lnTo>
                    <a:lnTo>
                      <a:pt x="17223" y="719"/>
                    </a:lnTo>
                    <a:lnTo>
                      <a:pt x="17188" y="550"/>
                    </a:lnTo>
                    <a:lnTo>
                      <a:pt x="17158" y="474"/>
                    </a:lnTo>
                    <a:lnTo>
                      <a:pt x="17158" y="393"/>
                    </a:lnTo>
                    <a:lnTo>
                      <a:pt x="17262" y="250"/>
                    </a:lnTo>
                    <a:lnTo>
                      <a:pt x="17279" y="137"/>
                    </a:lnTo>
                    <a:lnTo>
                      <a:pt x="17211" y="42"/>
                    </a:lnTo>
                    <a:lnTo>
                      <a:pt x="17121" y="0"/>
                    </a:lnTo>
                    <a:lnTo>
                      <a:pt x="16997" y="69"/>
                    </a:lnTo>
                    <a:lnTo>
                      <a:pt x="16878" y="193"/>
                    </a:lnTo>
                    <a:lnTo>
                      <a:pt x="16739" y="264"/>
                    </a:lnTo>
                    <a:lnTo>
                      <a:pt x="16601" y="308"/>
                    </a:lnTo>
                    <a:lnTo>
                      <a:pt x="16495" y="385"/>
                    </a:lnTo>
                    <a:lnTo>
                      <a:pt x="16478" y="478"/>
                    </a:lnTo>
                    <a:lnTo>
                      <a:pt x="16580" y="499"/>
                    </a:lnTo>
                    <a:lnTo>
                      <a:pt x="16696" y="652"/>
                    </a:lnTo>
                    <a:lnTo>
                      <a:pt x="16774" y="698"/>
                    </a:lnTo>
                    <a:lnTo>
                      <a:pt x="16711" y="834"/>
                    </a:lnTo>
                    <a:lnTo>
                      <a:pt x="16611" y="914"/>
                    </a:lnTo>
                    <a:lnTo>
                      <a:pt x="16484" y="970"/>
                    </a:lnTo>
                    <a:lnTo>
                      <a:pt x="16336" y="992"/>
                    </a:lnTo>
                    <a:lnTo>
                      <a:pt x="16211" y="1072"/>
                    </a:lnTo>
                    <a:lnTo>
                      <a:pt x="16065" y="1208"/>
                    </a:lnTo>
                    <a:lnTo>
                      <a:pt x="15938" y="1300"/>
                    </a:lnTo>
                    <a:lnTo>
                      <a:pt x="15900" y="1403"/>
                    </a:lnTo>
                    <a:lnTo>
                      <a:pt x="15840" y="1405"/>
                    </a:lnTo>
                    <a:lnTo>
                      <a:pt x="15806" y="1296"/>
                    </a:lnTo>
                    <a:lnTo>
                      <a:pt x="15726" y="1252"/>
                    </a:lnTo>
                    <a:lnTo>
                      <a:pt x="15631" y="1267"/>
                    </a:lnTo>
                    <a:lnTo>
                      <a:pt x="15605" y="1192"/>
                    </a:lnTo>
                    <a:cubicBezTo>
                      <a:pt x="15584" y="1165"/>
                      <a:pt x="15559" y="1144"/>
                      <a:pt x="15531" y="1131"/>
                    </a:cubicBezTo>
                    <a:cubicBezTo>
                      <a:pt x="15512" y="1122"/>
                      <a:pt x="15491" y="1117"/>
                      <a:pt x="15471" y="1117"/>
                    </a:cubicBezTo>
                    <a:lnTo>
                      <a:pt x="15344" y="1117"/>
                    </a:lnTo>
                    <a:lnTo>
                      <a:pt x="15199" y="1177"/>
                    </a:lnTo>
                    <a:lnTo>
                      <a:pt x="15108" y="1170"/>
                    </a:lnTo>
                    <a:lnTo>
                      <a:pt x="14956" y="1162"/>
                    </a:lnTo>
                    <a:lnTo>
                      <a:pt x="14865" y="1119"/>
                    </a:lnTo>
                    <a:cubicBezTo>
                      <a:pt x="14833" y="1105"/>
                      <a:pt x="14801" y="1091"/>
                      <a:pt x="14769" y="1075"/>
                    </a:cubicBezTo>
                    <a:cubicBezTo>
                      <a:pt x="14722" y="1053"/>
                      <a:pt x="14676" y="1028"/>
                      <a:pt x="14628" y="1010"/>
                    </a:cubicBezTo>
                    <a:cubicBezTo>
                      <a:pt x="14586" y="993"/>
                      <a:pt x="14542" y="981"/>
                      <a:pt x="14498" y="973"/>
                    </a:cubicBezTo>
                    <a:lnTo>
                      <a:pt x="14362" y="995"/>
                    </a:lnTo>
                    <a:lnTo>
                      <a:pt x="14227" y="1051"/>
                    </a:lnTo>
                    <a:lnTo>
                      <a:pt x="14126" y="1073"/>
                    </a:lnTo>
                    <a:lnTo>
                      <a:pt x="14007" y="1095"/>
                    </a:lnTo>
                    <a:lnTo>
                      <a:pt x="13915" y="1160"/>
                    </a:lnTo>
                    <a:lnTo>
                      <a:pt x="13864" y="1223"/>
                    </a:lnTo>
                    <a:lnTo>
                      <a:pt x="13791" y="1318"/>
                    </a:lnTo>
                    <a:cubicBezTo>
                      <a:pt x="13779" y="1341"/>
                      <a:pt x="13766" y="1364"/>
                      <a:pt x="13753" y="1386"/>
                    </a:cubicBezTo>
                    <a:cubicBezTo>
                      <a:pt x="13728" y="1427"/>
                      <a:pt x="13701" y="1467"/>
                      <a:pt x="13670" y="1500"/>
                    </a:cubicBezTo>
                    <a:cubicBezTo>
                      <a:pt x="13638" y="1533"/>
                      <a:pt x="13603" y="1560"/>
                      <a:pt x="13565" y="1580"/>
                    </a:cubicBezTo>
                    <a:lnTo>
                      <a:pt x="13469" y="1480"/>
                    </a:lnTo>
                    <a:lnTo>
                      <a:pt x="13459" y="1310"/>
                    </a:lnTo>
                    <a:lnTo>
                      <a:pt x="13425" y="1176"/>
                    </a:lnTo>
                    <a:lnTo>
                      <a:pt x="13378" y="1120"/>
                    </a:lnTo>
                    <a:lnTo>
                      <a:pt x="13268" y="1101"/>
                    </a:lnTo>
                    <a:lnTo>
                      <a:pt x="13148" y="1115"/>
                    </a:lnTo>
                    <a:lnTo>
                      <a:pt x="13089" y="1183"/>
                    </a:lnTo>
                    <a:lnTo>
                      <a:pt x="13018" y="1183"/>
                    </a:lnTo>
                    <a:lnTo>
                      <a:pt x="12818" y="1192"/>
                    </a:lnTo>
                    <a:lnTo>
                      <a:pt x="12642" y="1192"/>
                    </a:lnTo>
                    <a:lnTo>
                      <a:pt x="12500" y="1104"/>
                    </a:lnTo>
                    <a:lnTo>
                      <a:pt x="12494" y="1027"/>
                    </a:lnTo>
                    <a:lnTo>
                      <a:pt x="12560" y="956"/>
                    </a:lnTo>
                    <a:lnTo>
                      <a:pt x="12650" y="915"/>
                    </a:lnTo>
                    <a:lnTo>
                      <a:pt x="12674" y="840"/>
                    </a:lnTo>
                    <a:lnTo>
                      <a:pt x="12555" y="840"/>
                    </a:lnTo>
                    <a:lnTo>
                      <a:pt x="12364" y="876"/>
                    </a:lnTo>
                    <a:lnTo>
                      <a:pt x="12266" y="825"/>
                    </a:lnTo>
                    <a:lnTo>
                      <a:pt x="12129" y="723"/>
                    </a:lnTo>
                    <a:lnTo>
                      <a:pt x="11999" y="650"/>
                    </a:lnTo>
                    <a:lnTo>
                      <a:pt x="11913" y="614"/>
                    </a:lnTo>
                    <a:lnTo>
                      <a:pt x="11760" y="572"/>
                    </a:lnTo>
                    <a:lnTo>
                      <a:pt x="11642" y="550"/>
                    </a:lnTo>
                    <a:lnTo>
                      <a:pt x="11514" y="550"/>
                    </a:lnTo>
                    <a:lnTo>
                      <a:pt x="11415" y="558"/>
                    </a:lnTo>
                    <a:lnTo>
                      <a:pt x="11319" y="601"/>
                    </a:lnTo>
                    <a:lnTo>
                      <a:pt x="11143" y="637"/>
                    </a:lnTo>
                    <a:lnTo>
                      <a:pt x="11018" y="616"/>
                    </a:lnTo>
                    <a:lnTo>
                      <a:pt x="10847" y="514"/>
                    </a:lnTo>
                    <a:lnTo>
                      <a:pt x="10762" y="449"/>
                    </a:lnTo>
                    <a:lnTo>
                      <a:pt x="10681" y="458"/>
                    </a:lnTo>
                    <a:lnTo>
                      <a:pt x="10573" y="509"/>
                    </a:lnTo>
                    <a:lnTo>
                      <a:pt x="10499" y="546"/>
                    </a:lnTo>
                    <a:lnTo>
                      <a:pt x="10376" y="524"/>
                    </a:lnTo>
                    <a:lnTo>
                      <a:pt x="10291" y="502"/>
                    </a:lnTo>
                    <a:lnTo>
                      <a:pt x="10121" y="517"/>
                    </a:lnTo>
                    <a:lnTo>
                      <a:pt x="9918" y="575"/>
                    </a:lnTo>
                    <a:lnTo>
                      <a:pt x="9714" y="655"/>
                    </a:lnTo>
                    <a:lnTo>
                      <a:pt x="9448" y="747"/>
                    </a:lnTo>
                    <a:lnTo>
                      <a:pt x="9329" y="769"/>
                    </a:lnTo>
                    <a:lnTo>
                      <a:pt x="8951" y="819"/>
                    </a:lnTo>
                    <a:lnTo>
                      <a:pt x="8616" y="776"/>
                    </a:lnTo>
                    <a:lnTo>
                      <a:pt x="8127" y="613"/>
                    </a:lnTo>
                    <a:lnTo>
                      <a:pt x="7941" y="509"/>
                    </a:lnTo>
                    <a:lnTo>
                      <a:pt x="7648" y="483"/>
                    </a:lnTo>
                    <a:lnTo>
                      <a:pt x="7075" y="407"/>
                    </a:lnTo>
                    <a:lnTo>
                      <a:pt x="6936" y="356"/>
                    </a:lnTo>
                    <a:lnTo>
                      <a:pt x="6817" y="290"/>
                    </a:lnTo>
                    <a:lnTo>
                      <a:pt x="6682" y="254"/>
                    </a:lnTo>
                    <a:lnTo>
                      <a:pt x="6466" y="217"/>
                    </a:lnTo>
                    <a:lnTo>
                      <a:pt x="6284" y="195"/>
                    </a:lnTo>
                    <a:lnTo>
                      <a:pt x="6126" y="188"/>
                    </a:lnTo>
                    <a:lnTo>
                      <a:pt x="5969" y="188"/>
                    </a:lnTo>
                    <a:lnTo>
                      <a:pt x="5690" y="225"/>
                    </a:lnTo>
                    <a:lnTo>
                      <a:pt x="5320" y="268"/>
                    </a:lnTo>
                    <a:lnTo>
                      <a:pt x="5074" y="361"/>
                    </a:lnTo>
                    <a:lnTo>
                      <a:pt x="4688" y="433"/>
                    </a:lnTo>
                    <a:lnTo>
                      <a:pt x="4586" y="477"/>
                    </a:lnTo>
                    <a:lnTo>
                      <a:pt x="4348" y="572"/>
                    </a:lnTo>
                    <a:lnTo>
                      <a:pt x="4054" y="701"/>
                    </a:lnTo>
                    <a:lnTo>
                      <a:pt x="3823" y="793"/>
                    </a:lnTo>
                    <a:lnTo>
                      <a:pt x="3588" y="866"/>
                    </a:lnTo>
                    <a:lnTo>
                      <a:pt x="3471" y="862"/>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70" name="Shape 235">
                <a:extLst>
                  <a:ext uri="{FF2B5EF4-FFF2-40B4-BE49-F238E27FC236}">
                    <a16:creationId xmlns:a16="http://schemas.microsoft.com/office/drawing/2014/main" id="{D5F747F6-EAC0-4430-88AC-0D00EF30DFB8}"/>
                  </a:ext>
                </a:extLst>
              </p:cNvPr>
              <p:cNvSpPr/>
              <p:nvPr/>
            </p:nvSpPr>
            <p:spPr>
              <a:xfrm>
                <a:off x="2954268" y="420933"/>
                <a:ext cx="904712" cy="326180"/>
              </a:xfrm>
              <a:custGeom>
                <a:avLst/>
                <a:gdLst/>
                <a:ahLst/>
                <a:cxnLst>
                  <a:cxn ang="0">
                    <a:pos x="wd2" y="hd2"/>
                  </a:cxn>
                  <a:cxn ang="5400000">
                    <a:pos x="wd2" y="hd2"/>
                  </a:cxn>
                  <a:cxn ang="10800000">
                    <a:pos x="wd2" y="hd2"/>
                  </a:cxn>
                  <a:cxn ang="16200000">
                    <a:pos x="wd2" y="hd2"/>
                  </a:cxn>
                </a:cxnLst>
                <a:rect l="0" t="0" r="r" b="b"/>
                <a:pathLst>
                  <a:path w="21600" h="21600" extrusionOk="0">
                    <a:moveTo>
                      <a:pt x="5634" y="1167"/>
                    </a:moveTo>
                    <a:lnTo>
                      <a:pt x="4811" y="2252"/>
                    </a:lnTo>
                    <a:lnTo>
                      <a:pt x="2967" y="4498"/>
                    </a:lnTo>
                    <a:lnTo>
                      <a:pt x="1963" y="5618"/>
                    </a:lnTo>
                    <a:lnTo>
                      <a:pt x="576" y="7014"/>
                    </a:lnTo>
                    <a:lnTo>
                      <a:pt x="80" y="8227"/>
                    </a:lnTo>
                    <a:lnTo>
                      <a:pt x="0" y="9312"/>
                    </a:lnTo>
                    <a:lnTo>
                      <a:pt x="451" y="10588"/>
                    </a:lnTo>
                    <a:lnTo>
                      <a:pt x="1016" y="11735"/>
                    </a:lnTo>
                    <a:cubicBezTo>
                      <a:pt x="1189" y="11851"/>
                      <a:pt x="1367" y="11914"/>
                      <a:pt x="1545" y="11921"/>
                    </a:cubicBezTo>
                    <a:cubicBezTo>
                      <a:pt x="2101" y="11944"/>
                      <a:pt x="2642" y="11441"/>
                      <a:pt x="3079" y="10495"/>
                    </a:cubicBezTo>
                    <a:lnTo>
                      <a:pt x="3970" y="9406"/>
                    </a:lnTo>
                    <a:lnTo>
                      <a:pt x="5427" y="8286"/>
                    </a:lnTo>
                    <a:lnTo>
                      <a:pt x="6330" y="8286"/>
                    </a:lnTo>
                    <a:lnTo>
                      <a:pt x="7392" y="10183"/>
                    </a:lnTo>
                    <a:lnTo>
                      <a:pt x="7965" y="10836"/>
                    </a:lnTo>
                    <a:lnTo>
                      <a:pt x="7774" y="11797"/>
                    </a:lnTo>
                    <a:lnTo>
                      <a:pt x="7111" y="12073"/>
                    </a:lnTo>
                    <a:cubicBezTo>
                      <a:pt x="6813" y="12042"/>
                      <a:pt x="6516" y="12011"/>
                      <a:pt x="6219" y="11980"/>
                    </a:cubicBezTo>
                    <a:cubicBezTo>
                      <a:pt x="5914" y="11948"/>
                      <a:pt x="5609" y="11917"/>
                      <a:pt x="5304" y="11886"/>
                    </a:cubicBezTo>
                    <a:lnTo>
                      <a:pt x="5201" y="13473"/>
                    </a:lnTo>
                    <a:lnTo>
                      <a:pt x="6409" y="14126"/>
                    </a:lnTo>
                    <a:cubicBezTo>
                      <a:pt x="6963" y="14051"/>
                      <a:pt x="7516" y="13958"/>
                      <a:pt x="8069" y="13846"/>
                    </a:cubicBezTo>
                    <a:cubicBezTo>
                      <a:pt x="8714" y="13716"/>
                      <a:pt x="9358" y="13560"/>
                      <a:pt x="10001" y="13380"/>
                    </a:cubicBezTo>
                    <a:lnTo>
                      <a:pt x="10642" y="15239"/>
                    </a:lnTo>
                    <a:lnTo>
                      <a:pt x="9896" y="15981"/>
                    </a:lnTo>
                    <a:cubicBezTo>
                      <a:pt x="9546" y="16191"/>
                      <a:pt x="9192" y="16347"/>
                      <a:pt x="8836" y="16448"/>
                    </a:cubicBezTo>
                    <a:cubicBezTo>
                      <a:pt x="7951" y="16697"/>
                      <a:pt x="7059" y="16604"/>
                      <a:pt x="6183" y="16172"/>
                    </a:cubicBezTo>
                    <a:lnTo>
                      <a:pt x="4831" y="16172"/>
                    </a:lnTo>
                    <a:lnTo>
                      <a:pt x="4764" y="17467"/>
                    </a:lnTo>
                    <a:lnTo>
                      <a:pt x="5860" y="18555"/>
                    </a:lnTo>
                    <a:lnTo>
                      <a:pt x="7450" y="19951"/>
                    </a:lnTo>
                    <a:lnTo>
                      <a:pt x="9207" y="21320"/>
                    </a:lnTo>
                    <a:lnTo>
                      <a:pt x="10369" y="21600"/>
                    </a:lnTo>
                    <a:lnTo>
                      <a:pt x="11950" y="21507"/>
                    </a:lnTo>
                    <a:lnTo>
                      <a:pt x="13656" y="20231"/>
                    </a:lnTo>
                    <a:cubicBezTo>
                      <a:pt x="13887" y="19682"/>
                      <a:pt x="14168" y="19316"/>
                      <a:pt x="14469" y="19174"/>
                    </a:cubicBezTo>
                    <a:cubicBezTo>
                      <a:pt x="14818" y="19009"/>
                      <a:pt x="15172" y="19150"/>
                      <a:pt x="15519" y="19329"/>
                    </a:cubicBezTo>
                    <a:cubicBezTo>
                      <a:pt x="15975" y="19564"/>
                      <a:pt x="16427" y="19863"/>
                      <a:pt x="16872" y="20224"/>
                    </a:cubicBezTo>
                    <a:lnTo>
                      <a:pt x="18689" y="19850"/>
                    </a:lnTo>
                    <a:lnTo>
                      <a:pt x="20146" y="18544"/>
                    </a:lnTo>
                    <a:lnTo>
                      <a:pt x="21195" y="17237"/>
                    </a:lnTo>
                    <a:lnTo>
                      <a:pt x="21600" y="15873"/>
                    </a:lnTo>
                    <a:lnTo>
                      <a:pt x="21374" y="15130"/>
                    </a:lnTo>
                    <a:cubicBezTo>
                      <a:pt x="21049" y="15131"/>
                      <a:pt x="20734" y="14814"/>
                      <a:pt x="20486" y="14235"/>
                    </a:cubicBezTo>
                    <a:cubicBezTo>
                      <a:pt x="20325" y="13859"/>
                      <a:pt x="20198" y="13383"/>
                      <a:pt x="20115" y="12847"/>
                    </a:cubicBezTo>
                    <a:cubicBezTo>
                      <a:pt x="20094" y="12509"/>
                      <a:pt x="20094" y="12163"/>
                      <a:pt x="20115" y="11824"/>
                    </a:cubicBezTo>
                    <a:cubicBezTo>
                      <a:pt x="20168" y="10953"/>
                      <a:pt x="20353" y="10185"/>
                      <a:pt x="20623" y="9709"/>
                    </a:cubicBezTo>
                    <a:lnTo>
                      <a:pt x="21199" y="6443"/>
                    </a:lnTo>
                    <a:lnTo>
                      <a:pt x="21301" y="5513"/>
                    </a:lnTo>
                    <a:cubicBezTo>
                      <a:pt x="21336" y="5080"/>
                      <a:pt x="21268" y="4633"/>
                      <a:pt x="21131" y="4397"/>
                    </a:cubicBezTo>
                    <a:cubicBezTo>
                      <a:pt x="20903" y="4004"/>
                      <a:pt x="20627" y="4349"/>
                      <a:pt x="20376" y="4646"/>
                    </a:cubicBezTo>
                    <a:cubicBezTo>
                      <a:pt x="20058" y="5024"/>
                      <a:pt x="19716" y="5284"/>
                      <a:pt x="19439" y="5860"/>
                    </a:cubicBezTo>
                    <a:cubicBezTo>
                      <a:pt x="19169" y="6418"/>
                      <a:pt x="18986" y="7219"/>
                      <a:pt x="18761" y="7909"/>
                    </a:cubicBezTo>
                    <a:cubicBezTo>
                      <a:pt x="18530" y="8617"/>
                      <a:pt x="18255" y="9207"/>
                      <a:pt x="17949" y="9651"/>
                    </a:cubicBezTo>
                    <a:lnTo>
                      <a:pt x="17192" y="8997"/>
                    </a:lnTo>
                    <a:cubicBezTo>
                      <a:pt x="17245" y="8451"/>
                      <a:pt x="17264" y="7885"/>
                      <a:pt x="17249" y="7321"/>
                    </a:cubicBezTo>
                    <a:cubicBezTo>
                      <a:pt x="17234" y="6788"/>
                      <a:pt x="17188" y="6264"/>
                      <a:pt x="17113" y="5770"/>
                    </a:cubicBezTo>
                    <a:lnTo>
                      <a:pt x="16235" y="5863"/>
                    </a:lnTo>
                    <a:lnTo>
                      <a:pt x="15637" y="7539"/>
                    </a:lnTo>
                    <a:lnTo>
                      <a:pt x="14936" y="7349"/>
                    </a:lnTo>
                    <a:lnTo>
                      <a:pt x="14394" y="6820"/>
                    </a:lnTo>
                    <a:lnTo>
                      <a:pt x="13160" y="5925"/>
                    </a:lnTo>
                    <a:lnTo>
                      <a:pt x="12891" y="4996"/>
                    </a:lnTo>
                    <a:lnTo>
                      <a:pt x="12371" y="3658"/>
                    </a:lnTo>
                    <a:lnTo>
                      <a:pt x="11460" y="2356"/>
                    </a:lnTo>
                    <a:lnTo>
                      <a:pt x="10150" y="1298"/>
                    </a:lnTo>
                    <a:lnTo>
                      <a:pt x="9103" y="649"/>
                    </a:lnTo>
                    <a:lnTo>
                      <a:pt x="8371" y="2"/>
                    </a:lnTo>
                    <a:lnTo>
                      <a:pt x="7461" y="0"/>
                    </a:lnTo>
                    <a:lnTo>
                      <a:pt x="6933" y="376"/>
                    </a:lnTo>
                    <a:lnTo>
                      <a:pt x="5634" y="1167"/>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71" name="Shape 236">
                <a:extLst>
                  <a:ext uri="{FF2B5EF4-FFF2-40B4-BE49-F238E27FC236}">
                    <a16:creationId xmlns:a16="http://schemas.microsoft.com/office/drawing/2014/main" id="{F6478E72-72D1-4BDD-A18F-B232F7FB3D97}"/>
                  </a:ext>
                </a:extLst>
              </p:cNvPr>
              <p:cNvSpPr/>
              <p:nvPr/>
            </p:nvSpPr>
            <p:spPr>
              <a:xfrm>
                <a:off x="3930504" y="684662"/>
                <a:ext cx="156842" cy="77930"/>
              </a:xfrm>
              <a:custGeom>
                <a:avLst/>
                <a:gdLst/>
                <a:ahLst/>
                <a:cxnLst>
                  <a:cxn ang="0">
                    <a:pos x="wd2" y="hd2"/>
                  </a:cxn>
                  <a:cxn ang="5400000">
                    <a:pos x="wd2" y="hd2"/>
                  </a:cxn>
                  <a:cxn ang="10800000">
                    <a:pos x="wd2" y="hd2"/>
                  </a:cxn>
                  <a:cxn ang="16200000">
                    <a:pos x="wd2" y="hd2"/>
                  </a:cxn>
                </a:cxnLst>
                <a:rect l="0" t="0" r="r" b="b"/>
                <a:pathLst>
                  <a:path w="21600" h="21600" extrusionOk="0">
                    <a:moveTo>
                      <a:pt x="10670" y="2473"/>
                    </a:moveTo>
                    <a:lnTo>
                      <a:pt x="5361" y="4164"/>
                    </a:lnTo>
                    <a:lnTo>
                      <a:pt x="2017" y="7047"/>
                    </a:lnTo>
                    <a:lnTo>
                      <a:pt x="0" y="10954"/>
                    </a:lnTo>
                    <a:lnTo>
                      <a:pt x="2552" y="17693"/>
                    </a:lnTo>
                    <a:lnTo>
                      <a:pt x="5850" y="21600"/>
                    </a:lnTo>
                    <a:cubicBezTo>
                      <a:pt x="7389" y="21202"/>
                      <a:pt x="8897" y="20415"/>
                      <a:pt x="10337" y="19256"/>
                    </a:cubicBezTo>
                    <a:cubicBezTo>
                      <a:pt x="12339" y="17645"/>
                      <a:pt x="14178" y="15341"/>
                      <a:pt x="16135" y="13527"/>
                    </a:cubicBezTo>
                    <a:cubicBezTo>
                      <a:pt x="17883" y="11907"/>
                      <a:pt x="19716" y="10684"/>
                      <a:pt x="21600" y="9880"/>
                    </a:cubicBezTo>
                    <a:lnTo>
                      <a:pt x="21014" y="4151"/>
                    </a:lnTo>
                    <a:lnTo>
                      <a:pt x="17112" y="2719"/>
                    </a:lnTo>
                    <a:lnTo>
                      <a:pt x="14661" y="0"/>
                    </a:lnTo>
                    <a:lnTo>
                      <a:pt x="10670" y="2473"/>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72" name="Shape 237">
                <a:extLst>
                  <a:ext uri="{FF2B5EF4-FFF2-40B4-BE49-F238E27FC236}">
                    <a16:creationId xmlns:a16="http://schemas.microsoft.com/office/drawing/2014/main" id="{D2E157BC-6DA7-4ABF-96BD-7BD3D5AC6CFF}"/>
                  </a:ext>
                </a:extLst>
              </p:cNvPr>
              <p:cNvSpPr/>
              <p:nvPr/>
            </p:nvSpPr>
            <p:spPr>
              <a:xfrm>
                <a:off x="3988573" y="441265"/>
                <a:ext cx="280512" cy="143143"/>
              </a:xfrm>
              <a:custGeom>
                <a:avLst/>
                <a:gdLst/>
                <a:ahLst/>
                <a:cxnLst>
                  <a:cxn ang="0">
                    <a:pos x="wd2" y="hd2"/>
                  </a:cxn>
                  <a:cxn ang="5400000">
                    <a:pos x="wd2" y="hd2"/>
                  </a:cxn>
                  <a:cxn ang="10800000">
                    <a:pos x="wd2" y="hd2"/>
                  </a:cxn>
                  <a:cxn ang="16200000">
                    <a:pos x="wd2" y="hd2"/>
                  </a:cxn>
                </a:cxnLst>
                <a:rect l="0" t="0" r="r" b="b"/>
                <a:pathLst>
                  <a:path w="21600" h="21600" extrusionOk="0">
                    <a:moveTo>
                      <a:pt x="9855" y="8070"/>
                    </a:moveTo>
                    <a:lnTo>
                      <a:pt x="7801" y="11552"/>
                    </a:lnTo>
                    <a:lnTo>
                      <a:pt x="5516" y="10656"/>
                    </a:lnTo>
                    <a:lnTo>
                      <a:pt x="2915" y="8883"/>
                    </a:lnTo>
                    <a:lnTo>
                      <a:pt x="484" y="9938"/>
                    </a:lnTo>
                    <a:lnTo>
                      <a:pt x="0" y="12339"/>
                    </a:lnTo>
                    <a:lnTo>
                      <a:pt x="2322" y="13819"/>
                    </a:lnTo>
                    <a:lnTo>
                      <a:pt x="4989" y="16372"/>
                    </a:lnTo>
                    <a:lnTo>
                      <a:pt x="6259" y="21600"/>
                    </a:lnTo>
                    <a:lnTo>
                      <a:pt x="8764" y="21166"/>
                    </a:lnTo>
                    <a:lnTo>
                      <a:pt x="11419" y="18835"/>
                    </a:lnTo>
                    <a:lnTo>
                      <a:pt x="13595" y="17559"/>
                    </a:lnTo>
                    <a:lnTo>
                      <a:pt x="16209" y="16717"/>
                    </a:lnTo>
                    <a:lnTo>
                      <a:pt x="18103" y="12039"/>
                    </a:lnTo>
                    <a:lnTo>
                      <a:pt x="18868" y="8289"/>
                    </a:lnTo>
                    <a:lnTo>
                      <a:pt x="21600" y="2573"/>
                    </a:lnTo>
                    <a:lnTo>
                      <a:pt x="21345" y="797"/>
                    </a:lnTo>
                    <a:lnTo>
                      <a:pt x="19965" y="0"/>
                    </a:lnTo>
                    <a:lnTo>
                      <a:pt x="18121" y="1761"/>
                    </a:lnTo>
                    <a:lnTo>
                      <a:pt x="15430" y="3083"/>
                    </a:lnTo>
                    <a:cubicBezTo>
                      <a:pt x="14909" y="2790"/>
                      <a:pt x="14357" y="2790"/>
                      <a:pt x="13836" y="3083"/>
                    </a:cubicBezTo>
                    <a:cubicBezTo>
                      <a:pt x="13246" y="3416"/>
                      <a:pt x="12725" y="4109"/>
                      <a:pt x="12352" y="5060"/>
                    </a:cubicBezTo>
                    <a:lnTo>
                      <a:pt x="9855" y="807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73" name="Shape 238">
                <a:extLst>
                  <a:ext uri="{FF2B5EF4-FFF2-40B4-BE49-F238E27FC236}">
                    <a16:creationId xmlns:a16="http://schemas.microsoft.com/office/drawing/2014/main" id="{CC5E19FF-5728-4761-A3BE-C74B4374207E}"/>
                  </a:ext>
                </a:extLst>
              </p:cNvPr>
              <p:cNvSpPr/>
              <p:nvPr/>
            </p:nvSpPr>
            <p:spPr>
              <a:xfrm>
                <a:off x="4290311" y="440395"/>
                <a:ext cx="218211" cy="95369"/>
              </a:xfrm>
              <a:custGeom>
                <a:avLst/>
                <a:gdLst/>
                <a:ahLst/>
                <a:cxnLst>
                  <a:cxn ang="0">
                    <a:pos x="wd2" y="hd2"/>
                  </a:cxn>
                  <a:cxn ang="5400000">
                    <a:pos x="wd2" y="hd2"/>
                  </a:cxn>
                  <a:cxn ang="10800000">
                    <a:pos x="wd2" y="hd2"/>
                  </a:cxn>
                  <a:cxn ang="16200000">
                    <a:pos x="wd2" y="hd2"/>
                  </a:cxn>
                </a:cxnLst>
                <a:rect l="0" t="0" r="r" b="b"/>
                <a:pathLst>
                  <a:path w="21600" h="21600" extrusionOk="0">
                    <a:moveTo>
                      <a:pt x="16283" y="0"/>
                    </a:moveTo>
                    <a:lnTo>
                      <a:pt x="11928" y="3126"/>
                    </a:lnTo>
                    <a:lnTo>
                      <a:pt x="8108" y="3244"/>
                    </a:lnTo>
                    <a:lnTo>
                      <a:pt x="5428" y="5147"/>
                    </a:lnTo>
                    <a:lnTo>
                      <a:pt x="1745" y="9615"/>
                    </a:lnTo>
                    <a:lnTo>
                      <a:pt x="0" y="15547"/>
                    </a:lnTo>
                    <a:lnTo>
                      <a:pt x="588" y="20642"/>
                    </a:lnTo>
                    <a:lnTo>
                      <a:pt x="3255" y="21600"/>
                    </a:lnTo>
                    <a:lnTo>
                      <a:pt x="5550" y="17130"/>
                    </a:lnTo>
                    <a:lnTo>
                      <a:pt x="11731" y="15960"/>
                    </a:lnTo>
                    <a:lnTo>
                      <a:pt x="16226" y="17237"/>
                    </a:lnTo>
                    <a:lnTo>
                      <a:pt x="19914" y="14058"/>
                    </a:lnTo>
                    <a:lnTo>
                      <a:pt x="21459" y="10547"/>
                    </a:lnTo>
                    <a:lnTo>
                      <a:pt x="21600" y="3750"/>
                    </a:lnTo>
                    <a:lnTo>
                      <a:pt x="20248" y="1848"/>
                    </a:lnTo>
                    <a:lnTo>
                      <a:pt x="16283"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74" name="Shape 239">
                <a:extLst>
                  <a:ext uri="{FF2B5EF4-FFF2-40B4-BE49-F238E27FC236}">
                    <a16:creationId xmlns:a16="http://schemas.microsoft.com/office/drawing/2014/main" id="{3B01CBFD-E27D-4A69-B1F7-FD13580A76BD}"/>
                  </a:ext>
                </a:extLst>
              </p:cNvPr>
              <p:cNvSpPr/>
              <p:nvPr/>
            </p:nvSpPr>
            <p:spPr>
              <a:xfrm>
                <a:off x="4587178" y="317908"/>
                <a:ext cx="537970" cy="123270"/>
              </a:xfrm>
              <a:custGeom>
                <a:avLst/>
                <a:gdLst/>
                <a:ahLst/>
                <a:cxnLst>
                  <a:cxn ang="0">
                    <a:pos x="wd2" y="hd2"/>
                  </a:cxn>
                  <a:cxn ang="5400000">
                    <a:pos x="wd2" y="hd2"/>
                  </a:cxn>
                  <a:cxn ang="10800000">
                    <a:pos x="wd2" y="hd2"/>
                  </a:cxn>
                  <a:cxn ang="16200000">
                    <a:pos x="wd2" y="hd2"/>
                  </a:cxn>
                </a:cxnLst>
                <a:rect l="0" t="0" r="r" b="b"/>
                <a:pathLst>
                  <a:path w="21600" h="21600" extrusionOk="0">
                    <a:moveTo>
                      <a:pt x="3838" y="93"/>
                    </a:moveTo>
                    <a:lnTo>
                      <a:pt x="2736" y="1503"/>
                    </a:lnTo>
                    <a:lnTo>
                      <a:pt x="1623" y="3591"/>
                    </a:lnTo>
                    <a:lnTo>
                      <a:pt x="622" y="6051"/>
                    </a:lnTo>
                    <a:lnTo>
                      <a:pt x="0" y="11309"/>
                    </a:lnTo>
                    <a:cubicBezTo>
                      <a:pt x="23" y="12625"/>
                      <a:pt x="147" y="13870"/>
                      <a:pt x="350" y="14850"/>
                    </a:cubicBezTo>
                    <a:cubicBezTo>
                      <a:pt x="1005" y="17999"/>
                      <a:pt x="2162" y="17761"/>
                      <a:pt x="2744" y="14356"/>
                    </a:cubicBezTo>
                    <a:lnTo>
                      <a:pt x="5745" y="14109"/>
                    </a:lnTo>
                    <a:lnTo>
                      <a:pt x="6941" y="15344"/>
                    </a:lnTo>
                    <a:lnTo>
                      <a:pt x="7732" y="17545"/>
                    </a:lnTo>
                    <a:lnTo>
                      <a:pt x="11998" y="18080"/>
                    </a:lnTo>
                    <a:lnTo>
                      <a:pt x="14484" y="17092"/>
                    </a:lnTo>
                    <a:lnTo>
                      <a:pt x="15087" y="21600"/>
                    </a:lnTo>
                    <a:lnTo>
                      <a:pt x="16550" y="21600"/>
                    </a:lnTo>
                    <a:lnTo>
                      <a:pt x="17231" y="19140"/>
                    </a:lnTo>
                    <a:lnTo>
                      <a:pt x="18865" y="15518"/>
                    </a:lnTo>
                    <a:lnTo>
                      <a:pt x="20308" y="14036"/>
                    </a:lnTo>
                    <a:lnTo>
                      <a:pt x="21600" y="11412"/>
                    </a:lnTo>
                    <a:cubicBezTo>
                      <a:pt x="21334" y="10787"/>
                      <a:pt x="21058" y="10251"/>
                      <a:pt x="20774" y="9806"/>
                    </a:cubicBezTo>
                    <a:cubicBezTo>
                      <a:pt x="20288" y="9047"/>
                      <a:pt x="19783" y="8563"/>
                      <a:pt x="19275" y="8160"/>
                    </a:cubicBezTo>
                    <a:cubicBezTo>
                      <a:pt x="18598" y="7622"/>
                      <a:pt x="17913" y="7228"/>
                      <a:pt x="17224" y="7172"/>
                    </a:cubicBezTo>
                    <a:cubicBezTo>
                      <a:pt x="16485" y="7113"/>
                      <a:pt x="15746" y="7444"/>
                      <a:pt x="15026" y="8160"/>
                    </a:cubicBezTo>
                    <a:lnTo>
                      <a:pt x="12369" y="8407"/>
                    </a:lnTo>
                    <a:lnTo>
                      <a:pt x="10911" y="9394"/>
                    </a:lnTo>
                    <a:lnTo>
                      <a:pt x="8883" y="10619"/>
                    </a:lnTo>
                    <a:lnTo>
                      <a:pt x="7915" y="8232"/>
                    </a:lnTo>
                    <a:lnTo>
                      <a:pt x="5806" y="3786"/>
                    </a:lnTo>
                    <a:lnTo>
                      <a:pt x="5241" y="0"/>
                    </a:lnTo>
                    <a:lnTo>
                      <a:pt x="3838" y="93"/>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75" name="Shape 240">
                <a:extLst>
                  <a:ext uri="{FF2B5EF4-FFF2-40B4-BE49-F238E27FC236}">
                    <a16:creationId xmlns:a16="http://schemas.microsoft.com/office/drawing/2014/main" id="{1FD8377B-D2D4-43C2-9714-A4C702168372}"/>
                  </a:ext>
                </a:extLst>
              </p:cNvPr>
              <p:cNvSpPr/>
              <p:nvPr/>
            </p:nvSpPr>
            <p:spPr>
              <a:xfrm>
                <a:off x="4839529" y="0"/>
                <a:ext cx="1232586" cy="349457"/>
              </a:xfrm>
              <a:custGeom>
                <a:avLst/>
                <a:gdLst/>
                <a:ahLst/>
                <a:cxnLst>
                  <a:cxn ang="0">
                    <a:pos x="wd2" y="hd2"/>
                  </a:cxn>
                  <a:cxn ang="5400000">
                    <a:pos x="wd2" y="hd2"/>
                  </a:cxn>
                  <a:cxn ang="10800000">
                    <a:pos x="wd2" y="hd2"/>
                  </a:cxn>
                  <a:cxn ang="16200000">
                    <a:pos x="wd2" y="hd2"/>
                  </a:cxn>
                </a:cxnLst>
                <a:rect l="0" t="0" r="r" b="b"/>
                <a:pathLst>
                  <a:path w="21600" h="21600" extrusionOk="0">
                    <a:moveTo>
                      <a:pt x="5561" y="13378"/>
                    </a:moveTo>
                    <a:lnTo>
                      <a:pt x="5088" y="13526"/>
                    </a:lnTo>
                    <a:lnTo>
                      <a:pt x="4669" y="12962"/>
                    </a:lnTo>
                    <a:lnTo>
                      <a:pt x="4219" y="12959"/>
                    </a:lnTo>
                    <a:lnTo>
                      <a:pt x="3753" y="12614"/>
                    </a:lnTo>
                    <a:lnTo>
                      <a:pt x="3243" y="12700"/>
                    </a:lnTo>
                    <a:lnTo>
                      <a:pt x="3001" y="13654"/>
                    </a:lnTo>
                    <a:lnTo>
                      <a:pt x="3447" y="14348"/>
                    </a:lnTo>
                    <a:lnTo>
                      <a:pt x="4117" y="13825"/>
                    </a:lnTo>
                    <a:lnTo>
                      <a:pt x="4612" y="14954"/>
                    </a:lnTo>
                    <a:lnTo>
                      <a:pt x="4247" y="16144"/>
                    </a:lnTo>
                    <a:lnTo>
                      <a:pt x="3401" y="16493"/>
                    </a:lnTo>
                    <a:lnTo>
                      <a:pt x="3037" y="17070"/>
                    </a:lnTo>
                    <a:lnTo>
                      <a:pt x="2338" y="17502"/>
                    </a:lnTo>
                    <a:lnTo>
                      <a:pt x="1089" y="17154"/>
                    </a:lnTo>
                    <a:lnTo>
                      <a:pt x="368" y="16144"/>
                    </a:lnTo>
                    <a:lnTo>
                      <a:pt x="0" y="16754"/>
                    </a:lnTo>
                    <a:lnTo>
                      <a:pt x="473" y="17680"/>
                    </a:lnTo>
                    <a:lnTo>
                      <a:pt x="1410" y="19248"/>
                    </a:lnTo>
                    <a:cubicBezTo>
                      <a:pt x="1564" y="19437"/>
                      <a:pt x="1722" y="19583"/>
                      <a:pt x="1882" y="19684"/>
                    </a:cubicBezTo>
                    <a:cubicBezTo>
                      <a:pt x="2315" y="19954"/>
                      <a:pt x="2758" y="19895"/>
                      <a:pt x="3184" y="19509"/>
                    </a:cubicBezTo>
                    <a:lnTo>
                      <a:pt x="4003" y="18899"/>
                    </a:lnTo>
                    <a:lnTo>
                      <a:pt x="4865" y="19684"/>
                    </a:lnTo>
                    <a:lnTo>
                      <a:pt x="5810" y="21600"/>
                    </a:lnTo>
                    <a:lnTo>
                      <a:pt x="6299" y="20087"/>
                    </a:lnTo>
                    <a:cubicBezTo>
                      <a:pt x="6564" y="19546"/>
                      <a:pt x="6838" y="19061"/>
                      <a:pt x="7119" y="18634"/>
                    </a:cubicBezTo>
                    <a:cubicBezTo>
                      <a:pt x="7498" y="18061"/>
                      <a:pt x="7889" y="17595"/>
                      <a:pt x="8288" y="17241"/>
                    </a:cubicBezTo>
                    <a:lnTo>
                      <a:pt x="8943" y="16573"/>
                    </a:lnTo>
                    <a:cubicBezTo>
                      <a:pt x="9325" y="16367"/>
                      <a:pt x="9696" y="15967"/>
                      <a:pt x="10045" y="15386"/>
                    </a:cubicBezTo>
                    <a:cubicBezTo>
                      <a:pt x="10339" y="14896"/>
                      <a:pt x="10614" y="14282"/>
                      <a:pt x="10865" y="13557"/>
                    </a:cubicBezTo>
                    <a:lnTo>
                      <a:pt x="11910" y="11553"/>
                    </a:lnTo>
                    <a:lnTo>
                      <a:pt x="12755" y="10329"/>
                    </a:lnTo>
                    <a:lnTo>
                      <a:pt x="14123" y="9460"/>
                    </a:lnTo>
                    <a:lnTo>
                      <a:pt x="15016" y="8853"/>
                    </a:lnTo>
                    <a:lnTo>
                      <a:pt x="16306" y="7600"/>
                    </a:lnTo>
                    <a:lnTo>
                      <a:pt x="17582" y="6587"/>
                    </a:lnTo>
                    <a:lnTo>
                      <a:pt x="19014" y="5139"/>
                    </a:lnTo>
                    <a:lnTo>
                      <a:pt x="20556" y="3047"/>
                    </a:lnTo>
                    <a:lnTo>
                      <a:pt x="21202" y="1453"/>
                    </a:lnTo>
                    <a:lnTo>
                      <a:pt x="21600" y="174"/>
                    </a:lnTo>
                    <a:lnTo>
                      <a:pt x="21294" y="0"/>
                    </a:lnTo>
                    <a:lnTo>
                      <a:pt x="20633" y="10"/>
                    </a:lnTo>
                    <a:lnTo>
                      <a:pt x="19151" y="1139"/>
                    </a:lnTo>
                    <a:cubicBezTo>
                      <a:pt x="18849" y="1367"/>
                      <a:pt x="18545" y="1570"/>
                      <a:pt x="18239" y="1749"/>
                    </a:cubicBezTo>
                    <a:cubicBezTo>
                      <a:pt x="17545" y="2156"/>
                      <a:pt x="16846" y="2436"/>
                      <a:pt x="16143" y="2588"/>
                    </a:cubicBezTo>
                    <a:lnTo>
                      <a:pt x="14478" y="2326"/>
                    </a:lnTo>
                    <a:lnTo>
                      <a:pt x="13302" y="2239"/>
                    </a:lnTo>
                    <a:lnTo>
                      <a:pt x="12681" y="2239"/>
                    </a:lnTo>
                    <a:lnTo>
                      <a:pt x="11912" y="2497"/>
                    </a:lnTo>
                    <a:lnTo>
                      <a:pt x="10970" y="2932"/>
                    </a:lnTo>
                    <a:cubicBezTo>
                      <a:pt x="10552" y="3620"/>
                      <a:pt x="10097" y="3995"/>
                      <a:pt x="9635" y="4036"/>
                    </a:cubicBezTo>
                    <a:cubicBezTo>
                      <a:pt x="9179" y="4076"/>
                      <a:pt x="8728" y="3788"/>
                      <a:pt x="8276" y="3600"/>
                    </a:cubicBezTo>
                    <a:cubicBezTo>
                      <a:pt x="7888" y="3439"/>
                      <a:pt x="7498" y="3352"/>
                      <a:pt x="7108" y="3339"/>
                    </a:cubicBezTo>
                    <a:lnTo>
                      <a:pt x="6305" y="3339"/>
                    </a:lnTo>
                    <a:lnTo>
                      <a:pt x="5909" y="3945"/>
                    </a:lnTo>
                    <a:lnTo>
                      <a:pt x="6356" y="4864"/>
                    </a:lnTo>
                    <a:lnTo>
                      <a:pt x="6967" y="5096"/>
                    </a:lnTo>
                    <a:cubicBezTo>
                      <a:pt x="7229" y="5258"/>
                      <a:pt x="7491" y="5403"/>
                      <a:pt x="7755" y="5531"/>
                    </a:cubicBezTo>
                    <a:cubicBezTo>
                      <a:pt x="8151" y="5725"/>
                      <a:pt x="8549" y="5880"/>
                      <a:pt x="8948" y="5996"/>
                    </a:cubicBezTo>
                    <a:cubicBezTo>
                      <a:pt x="9130" y="6050"/>
                      <a:pt x="9312" y="6050"/>
                      <a:pt x="9493" y="5996"/>
                    </a:cubicBezTo>
                    <a:cubicBezTo>
                      <a:pt x="9721" y="5928"/>
                      <a:pt x="9946" y="5776"/>
                      <a:pt x="10171" y="5648"/>
                    </a:cubicBezTo>
                    <a:cubicBezTo>
                      <a:pt x="10400" y="5517"/>
                      <a:pt x="10629" y="5411"/>
                      <a:pt x="10859" y="5328"/>
                    </a:cubicBezTo>
                    <a:lnTo>
                      <a:pt x="11646" y="6374"/>
                    </a:lnTo>
                    <a:lnTo>
                      <a:pt x="11398" y="7992"/>
                    </a:lnTo>
                    <a:lnTo>
                      <a:pt x="10289" y="8686"/>
                    </a:lnTo>
                    <a:cubicBezTo>
                      <a:pt x="9973" y="8994"/>
                      <a:pt x="9649" y="9198"/>
                      <a:pt x="9321" y="9296"/>
                    </a:cubicBezTo>
                    <a:cubicBezTo>
                      <a:pt x="8943" y="9409"/>
                      <a:pt x="8562" y="9380"/>
                      <a:pt x="8186" y="9209"/>
                    </a:cubicBezTo>
                    <a:lnTo>
                      <a:pt x="7166" y="9034"/>
                    </a:lnTo>
                    <a:cubicBezTo>
                      <a:pt x="6949" y="8622"/>
                      <a:pt x="6715" y="8329"/>
                      <a:pt x="6473" y="8167"/>
                    </a:cubicBezTo>
                    <a:cubicBezTo>
                      <a:pt x="6175" y="7967"/>
                      <a:pt x="5868" y="7967"/>
                      <a:pt x="5570" y="8167"/>
                    </a:cubicBezTo>
                    <a:lnTo>
                      <a:pt x="4985" y="8744"/>
                    </a:lnTo>
                    <a:lnTo>
                      <a:pt x="5399" y="10189"/>
                    </a:lnTo>
                    <a:lnTo>
                      <a:pt x="5614" y="11056"/>
                    </a:lnTo>
                    <a:lnTo>
                      <a:pt x="5762" y="12595"/>
                    </a:lnTo>
                    <a:lnTo>
                      <a:pt x="5561" y="13378"/>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76" name="Shape 241">
                <a:extLst>
                  <a:ext uri="{FF2B5EF4-FFF2-40B4-BE49-F238E27FC236}">
                    <a16:creationId xmlns:a16="http://schemas.microsoft.com/office/drawing/2014/main" id="{FC7624E0-B8BD-408D-B212-010E6024A1AF}"/>
                  </a:ext>
                </a:extLst>
              </p:cNvPr>
              <p:cNvSpPr/>
              <p:nvPr/>
            </p:nvSpPr>
            <p:spPr>
              <a:xfrm>
                <a:off x="5582047" y="10287"/>
                <a:ext cx="2400499" cy="1230578"/>
              </a:xfrm>
              <a:custGeom>
                <a:avLst/>
                <a:gdLst/>
                <a:ahLst/>
                <a:cxnLst>
                  <a:cxn ang="0">
                    <a:pos x="wd2" y="hd2"/>
                  </a:cxn>
                  <a:cxn ang="5400000">
                    <a:pos x="wd2" y="hd2"/>
                  </a:cxn>
                  <a:cxn ang="10800000">
                    <a:pos x="wd2" y="hd2"/>
                  </a:cxn>
                  <a:cxn ang="16200000">
                    <a:pos x="wd2" y="hd2"/>
                  </a:cxn>
                </a:cxnLst>
                <a:rect l="0" t="0" r="r" b="b"/>
                <a:pathLst>
                  <a:path w="21600" h="21600" extrusionOk="0">
                    <a:moveTo>
                      <a:pt x="4570" y="1596"/>
                    </a:moveTo>
                    <a:lnTo>
                      <a:pt x="3927" y="2113"/>
                    </a:lnTo>
                    <a:lnTo>
                      <a:pt x="2963" y="3015"/>
                    </a:lnTo>
                    <a:lnTo>
                      <a:pt x="2197" y="3378"/>
                    </a:lnTo>
                    <a:cubicBezTo>
                      <a:pt x="1959" y="3423"/>
                      <a:pt x="1720" y="3456"/>
                      <a:pt x="1481" y="3477"/>
                    </a:cubicBezTo>
                    <a:cubicBezTo>
                      <a:pt x="1325" y="3490"/>
                      <a:pt x="1168" y="3498"/>
                      <a:pt x="1012" y="3501"/>
                    </a:cubicBezTo>
                    <a:lnTo>
                      <a:pt x="480" y="3625"/>
                    </a:lnTo>
                    <a:lnTo>
                      <a:pt x="0" y="4046"/>
                    </a:lnTo>
                    <a:lnTo>
                      <a:pt x="205" y="4266"/>
                    </a:lnTo>
                    <a:lnTo>
                      <a:pt x="192" y="4578"/>
                    </a:lnTo>
                    <a:lnTo>
                      <a:pt x="145" y="4873"/>
                    </a:lnTo>
                    <a:lnTo>
                      <a:pt x="366" y="5235"/>
                    </a:lnTo>
                    <a:cubicBezTo>
                      <a:pt x="483" y="5325"/>
                      <a:pt x="606" y="5381"/>
                      <a:pt x="731" y="5399"/>
                    </a:cubicBezTo>
                    <a:cubicBezTo>
                      <a:pt x="871" y="5420"/>
                      <a:pt x="1012" y="5394"/>
                      <a:pt x="1152" y="5399"/>
                    </a:cubicBezTo>
                    <a:cubicBezTo>
                      <a:pt x="1276" y="5404"/>
                      <a:pt x="1400" y="5432"/>
                      <a:pt x="1522" y="5399"/>
                    </a:cubicBezTo>
                    <a:cubicBezTo>
                      <a:pt x="1649" y="5365"/>
                      <a:pt x="1769" y="5267"/>
                      <a:pt x="1892" y="5202"/>
                    </a:cubicBezTo>
                    <a:cubicBezTo>
                      <a:pt x="2058" y="5116"/>
                      <a:pt x="2231" y="5090"/>
                      <a:pt x="2402" y="5128"/>
                    </a:cubicBezTo>
                    <a:lnTo>
                      <a:pt x="2767" y="5276"/>
                    </a:lnTo>
                    <a:cubicBezTo>
                      <a:pt x="2900" y="5352"/>
                      <a:pt x="3033" y="5420"/>
                      <a:pt x="3167" y="5482"/>
                    </a:cubicBezTo>
                    <a:cubicBezTo>
                      <a:pt x="3243" y="5518"/>
                      <a:pt x="3319" y="5551"/>
                      <a:pt x="3395" y="5581"/>
                    </a:cubicBezTo>
                    <a:lnTo>
                      <a:pt x="3650" y="5902"/>
                    </a:lnTo>
                    <a:lnTo>
                      <a:pt x="4020" y="6514"/>
                    </a:lnTo>
                    <a:lnTo>
                      <a:pt x="4415" y="7659"/>
                    </a:lnTo>
                    <a:lnTo>
                      <a:pt x="4440" y="8450"/>
                    </a:lnTo>
                    <a:lnTo>
                      <a:pt x="4352" y="9024"/>
                    </a:lnTo>
                    <a:lnTo>
                      <a:pt x="4531" y="9485"/>
                    </a:lnTo>
                    <a:lnTo>
                      <a:pt x="4876" y="9749"/>
                    </a:lnTo>
                    <a:lnTo>
                      <a:pt x="5054" y="10490"/>
                    </a:lnTo>
                    <a:lnTo>
                      <a:pt x="5054" y="11980"/>
                    </a:lnTo>
                    <a:lnTo>
                      <a:pt x="4876" y="12838"/>
                    </a:lnTo>
                    <a:lnTo>
                      <a:pt x="4638" y="13183"/>
                    </a:lnTo>
                    <a:lnTo>
                      <a:pt x="3903" y="13807"/>
                    </a:lnTo>
                    <a:lnTo>
                      <a:pt x="3525" y="14343"/>
                    </a:lnTo>
                    <a:lnTo>
                      <a:pt x="3368" y="15002"/>
                    </a:lnTo>
                    <a:lnTo>
                      <a:pt x="3321" y="15677"/>
                    </a:lnTo>
                    <a:cubicBezTo>
                      <a:pt x="3404" y="15780"/>
                      <a:pt x="3470" y="15925"/>
                      <a:pt x="3512" y="16096"/>
                    </a:cubicBezTo>
                    <a:cubicBezTo>
                      <a:pt x="3580" y="16367"/>
                      <a:pt x="3585" y="16682"/>
                      <a:pt x="3525" y="16960"/>
                    </a:cubicBezTo>
                    <a:lnTo>
                      <a:pt x="3385" y="17619"/>
                    </a:lnTo>
                    <a:lnTo>
                      <a:pt x="3351" y="18130"/>
                    </a:lnTo>
                    <a:lnTo>
                      <a:pt x="3444" y="18881"/>
                    </a:lnTo>
                    <a:lnTo>
                      <a:pt x="3708" y="19400"/>
                    </a:lnTo>
                    <a:lnTo>
                      <a:pt x="4236" y="20174"/>
                    </a:lnTo>
                    <a:lnTo>
                      <a:pt x="4376" y="20719"/>
                    </a:lnTo>
                    <a:lnTo>
                      <a:pt x="4670" y="21057"/>
                    </a:lnTo>
                    <a:lnTo>
                      <a:pt x="4900" y="21337"/>
                    </a:lnTo>
                    <a:lnTo>
                      <a:pt x="5157" y="21600"/>
                    </a:lnTo>
                    <a:lnTo>
                      <a:pt x="5715" y="21600"/>
                    </a:lnTo>
                    <a:lnTo>
                      <a:pt x="6033" y="21031"/>
                    </a:lnTo>
                    <a:lnTo>
                      <a:pt x="6548" y="20355"/>
                    </a:lnTo>
                    <a:lnTo>
                      <a:pt x="6705" y="19796"/>
                    </a:lnTo>
                    <a:lnTo>
                      <a:pt x="6910" y="19062"/>
                    </a:lnTo>
                    <a:lnTo>
                      <a:pt x="7139" y="18519"/>
                    </a:lnTo>
                    <a:lnTo>
                      <a:pt x="7301" y="17868"/>
                    </a:lnTo>
                    <a:lnTo>
                      <a:pt x="7390" y="17406"/>
                    </a:lnTo>
                    <a:lnTo>
                      <a:pt x="7761" y="16591"/>
                    </a:lnTo>
                    <a:cubicBezTo>
                      <a:pt x="7873" y="16404"/>
                      <a:pt x="7997" y="16246"/>
                      <a:pt x="8131" y="16121"/>
                    </a:cubicBezTo>
                    <a:cubicBezTo>
                      <a:pt x="8328" y="15937"/>
                      <a:pt x="8542" y="15828"/>
                      <a:pt x="8761" y="15801"/>
                    </a:cubicBezTo>
                    <a:lnTo>
                      <a:pt x="9305" y="15727"/>
                    </a:lnTo>
                    <a:cubicBezTo>
                      <a:pt x="9405" y="15710"/>
                      <a:pt x="9504" y="15685"/>
                      <a:pt x="9603" y="15652"/>
                    </a:cubicBezTo>
                    <a:cubicBezTo>
                      <a:pt x="9812" y="15583"/>
                      <a:pt x="10017" y="15478"/>
                      <a:pt x="10216" y="15339"/>
                    </a:cubicBezTo>
                    <a:cubicBezTo>
                      <a:pt x="10289" y="15303"/>
                      <a:pt x="10361" y="15262"/>
                      <a:pt x="10433" y="15215"/>
                    </a:cubicBezTo>
                    <a:cubicBezTo>
                      <a:pt x="10645" y="15077"/>
                      <a:pt x="10849" y="14891"/>
                      <a:pt x="11040" y="14663"/>
                    </a:cubicBezTo>
                    <a:lnTo>
                      <a:pt x="11355" y="14177"/>
                    </a:lnTo>
                    <a:lnTo>
                      <a:pt x="11891" y="13522"/>
                    </a:lnTo>
                    <a:lnTo>
                      <a:pt x="12235" y="13078"/>
                    </a:lnTo>
                    <a:lnTo>
                      <a:pt x="12847" y="13004"/>
                    </a:lnTo>
                    <a:lnTo>
                      <a:pt x="13102" y="13144"/>
                    </a:lnTo>
                    <a:lnTo>
                      <a:pt x="13519" y="13218"/>
                    </a:lnTo>
                    <a:lnTo>
                      <a:pt x="13829" y="13053"/>
                    </a:lnTo>
                    <a:lnTo>
                      <a:pt x="14271" y="12814"/>
                    </a:lnTo>
                    <a:lnTo>
                      <a:pt x="14663" y="12566"/>
                    </a:lnTo>
                    <a:lnTo>
                      <a:pt x="15084" y="12467"/>
                    </a:lnTo>
                    <a:lnTo>
                      <a:pt x="15497" y="12402"/>
                    </a:lnTo>
                    <a:lnTo>
                      <a:pt x="15854" y="12327"/>
                    </a:lnTo>
                    <a:lnTo>
                      <a:pt x="16108" y="12327"/>
                    </a:lnTo>
                    <a:lnTo>
                      <a:pt x="16138" y="11701"/>
                    </a:lnTo>
                    <a:lnTo>
                      <a:pt x="15849" y="11379"/>
                    </a:lnTo>
                    <a:cubicBezTo>
                      <a:pt x="15736" y="11393"/>
                      <a:pt x="15622" y="11407"/>
                      <a:pt x="15509" y="11420"/>
                    </a:cubicBezTo>
                    <a:cubicBezTo>
                      <a:pt x="15303" y="11445"/>
                      <a:pt x="15098" y="11470"/>
                      <a:pt x="14892" y="11494"/>
                    </a:cubicBezTo>
                    <a:lnTo>
                      <a:pt x="14740" y="11123"/>
                    </a:lnTo>
                    <a:cubicBezTo>
                      <a:pt x="14769" y="10919"/>
                      <a:pt x="14851" y="10760"/>
                      <a:pt x="14956" y="10703"/>
                    </a:cubicBezTo>
                    <a:cubicBezTo>
                      <a:pt x="15099" y="10626"/>
                      <a:pt x="15250" y="10749"/>
                      <a:pt x="15322" y="11000"/>
                    </a:cubicBezTo>
                    <a:cubicBezTo>
                      <a:pt x="15374" y="10900"/>
                      <a:pt x="15405" y="10769"/>
                      <a:pt x="15412" y="10629"/>
                    </a:cubicBezTo>
                    <a:cubicBezTo>
                      <a:pt x="15424" y="10350"/>
                      <a:pt x="15341" y="10089"/>
                      <a:pt x="15207" y="9985"/>
                    </a:cubicBezTo>
                    <a:lnTo>
                      <a:pt x="15493" y="9515"/>
                    </a:lnTo>
                    <a:cubicBezTo>
                      <a:pt x="15637" y="9640"/>
                      <a:pt x="15768" y="9813"/>
                      <a:pt x="15880" y="10027"/>
                    </a:cubicBezTo>
                    <a:cubicBezTo>
                      <a:pt x="15998" y="10251"/>
                      <a:pt x="16093" y="10517"/>
                      <a:pt x="16160" y="10810"/>
                    </a:cubicBezTo>
                    <a:lnTo>
                      <a:pt x="16658" y="11082"/>
                    </a:lnTo>
                    <a:lnTo>
                      <a:pt x="16895" y="10959"/>
                    </a:lnTo>
                    <a:lnTo>
                      <a:pt x="17018" y="10515"/>
                    </a:lnTo>
                    <a:lnTo>
                      <a:pt x="16294" y="9855"/>
                    </a:lnTo>
                    <a:lnTo>
                      <a:pt x="16103" y="9419"/>
                    </a:lnTo>
                    <a:lnTo>
                      <a:pt x="15695" y="8999"/>
                    </a:lnTo>
                    <a:lnTo>
                      <a:pt x="15487" y="8406"/>
                    </a:lnTo>
                    <a:lnTo>
                      <a:pt x="15870" y="8134"/>
                    </a:lnTo>
                    <a:lnTo>
                      <a:pt x="16533" y="8547"/>
                    </a:lnTo>
                    <a:cubicBezTo>
                      <a:pt x="16596" y="8499"/>
                      <a:pt x="16659" y="8450"/>
                      <a:pt x="16721" y="8398"/>
                    </a:cubicBezTo>
                    <a:cubicBezTo>
                      <a:pt x="16929" y="8224"/>
                      <a:pt x="17132" y="8026"/>
                      <a:pt x="17328" y="7805"/>
                    </a:cubicBezTo>
                    <a:lnTo>
                      <a:pt x="17788" y="7319"/>
                    </a:lnTo>
                    <a:lnTo>
                      <a:pt x="18210" y="6429"/>
                    </a:lnTo>
                    <a:lnTo>
                      <a:pt x="18235" y="5884"/>
                    </a:lnTo>
                    <a:cubicBezTo>
                      <a:pt x="18303" y="5655"/>
                      <a:pt x="18399" y="5463"/>
                      <a:pt x="18515" y="5325"/>
                    </a:cubicBezTo>
                    <a:cubicBezTo>
                      <a:pt x="18632" y="5186"/>
                      <a:pt x="18765" y="5106"/>
                      <a:pt x="18902" y="5094"/>
                    </a:cubicBezTo>
                    <a:lnTo>
                      <a:pt x="18902" y="4509"/>
                    </a:lnTo>
                    <a:lnTo>
                      <a:pt x="18817" y="4263"/>
                    </a:lnTo>
                    <a:lnTo>
                      <a:pt x="18746" y="3869"/>
                    </a:lnTo>
                    <a:lnTo>
                      <a:pt x="18880" y="3190"/>
                    </a:lnTo>
                    <a:lnTo>
                      <a:pt x="19186" y="2499"/>
                    </a:lnTo>
                    <a:lnTo>
                      <a:pt x="19696" y="2178"/>
                    </a:lnTo>
                    <a:lnTo>
                      <a:pt x="20121" y="2202"/>
                    </a:lnTo>
                    <a:lnTo>
                      <a:pt x="20414" y="1856"/>
                    </a:lnTo>
                    <a:lnTo>
                      <a:pt x="21001" y="1881"/>
                    </a:lnTo>
                    <a:cubicBezTo>
                      <a:pt x="21065" y="1886"/>
                      <a:pt x="21130" y="1860"/>
                      <a:pt x="21188" y="1807"/>
                    </a:cubicBezTo>
                    <a:cubicBezTo>
                      <a:pt x="21269" y="1732"/>
                      <a:pt x="21335" y="1607"/>
                      <a:pt x="21375" y="1452"/>
                    </a:cubicBezTo>
                    <a:lnTo>
                      <a:pt x="21591" y="1348"/>
                    </a:lnTo>
                    <a:lnTo>
                      <a:pt x="21600" y="1011"/>
                    </a:lnTo>
                    <a:lnTo>
                      <a:pt x="21150" y="975"/>
                    </a:lnTo>
                    <a:cubicBezTo>
                      <a:pt x="20995" y="1003"/>
                      <a:pt x="20843" y="1062"/>
                      <a:pt x="20694" y="1151"/>
                    </a:cubicBezTo>
                    <a:cubicBezTo>
                      <a:pt x="20557" y="1233"/>
                      <a:pt x="20423" y="1342"/>
                      <a:pt x="20282" y="1390"/>
                    </a:cubicBezTo>
                    <a:cubicBezTo>
                      <a:pt x="20093" y="1454"/>
                      <a:pt x="19900" y="1411"/>
                      <a:pt x="19724" y="1265"/>
                    </a:cubicBezTo>
                    <a:cubicBezTo>
                      <a:pt x="19577" y="1262"/>
                      <a:pt x="19430" y="1212"/>
                      <a:pt x="19291" y="1117"/>
                    </a:cubicBezTo>
                    <a:cubicBezTo>
                      <a:pt x="19095" y="983"/>
                      <a:pt x="18917" y="763"/>
                      <a:pt x="18772" y="474"/>
                    </a:cubicBezTo>
                    <a:lnTo>
                      <a:pt x="18083" y="0"/>
                    </a:lnTo>
                    <a:lnTo>
                      <a:pt x="16508" y="3"/>
                    </a:lnTo>
                    <a:lnTo>
                      <a:pt x="15693" y="275"/>
                    </a:lnTo>
                    <a:lnTo>
                      <a:pt x="14944" y="531"/>
                    </a:lnTo>
                    <a:lnTo>
                      <a:pt x="14463" y="291"/>
                    </a:lnTo>
                    <a:lnTo>
                      <a:pt x="13875" y="143"/>
                    </a:lnTo>
                    <a:lnTo>
                      <a:pt x="13340" y="291"/>
                    </a:lnTo>
                    <a:lnTo>
                      <a:pt x="12195" y="653"/>
                    </a:lnTo>
                    <a:lnTo>
                      <a:pt x="10633" y="1133"/>
                    </a:lnTo>
                    <a:lnTo>
                      <a:pt x="9702" y="1133"/>
                    </a:lnTo>
                    <a:lnTo>
                      <a:pt x="8978" y="1388"/>
                    </a:lnTo>
                    <a:lnTo>
                      <a:pt x="8396" y="1388"/>
                    </a:lnTo>
                    <a:lnTo>
                      <a:pt x="7809" y="1141"/>
                    </a:lnTo>
                    <a:lnTo>
                      <a:pt x="7009" y="1092"/>
                    </a:lnTo>
                    <a:lnTo>
                      <a:pt x="6559" y="1002"/>
                    </a:lnTo>
                    <a:lnTo>
                      <a:pt x="5776" y="1002"/>
                    </a:lnTo>
                    <a:lnTo>
                      <a:pt x="5285" y="1142"/>
                    </a:lnTo>
                    <a:lnTo>
                      <a:pt x="4570" y="1596"/>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77" name="Shape 242">
                <a:extLst>
                  <a:ext uri="{FF2B5EF4-FFF2-40B4-BE49-F238E27FC236}">
                    <a16:creationId xmlns:a16="http://schemas.microsoft.com/office/drawing/2014/main" id="{92B89DD9-AE51-4B37-A62C-400B1EBC716E}"/>
                  </a:ext>
                </a:extLst>
              </p:cNvPr>
              <p:cNvSpPr/>
              <p:nvPr/>
            </p:nvSpPr>
            <p:spPr>
              <a:xfrm>
                <a:off x="4479868" y="460468"/>
                <a:ext cx="987695" cy="686409"/>
              </a:xfrm>
              <a:custGeom>
                <a:avLst/>
                <a:gdLst/>
                <a:ahLst/>
                <a:cxnLst>
                  <a:cxn ang="0">
                    <a:pos x="wd2" y="hd2"/>
                  </a:cxn>
                  <a:cxn ang="5400000">
                    <a:pos x="wd2" y="hd2"/>
                  </a:cxn>
                  <a:cxn ang="10800000">
                    <a:pos x="wd2" y="hd2"/>
                  </a:cxn>
                  <a:cxn ang="16200000">
                    <a:pos x="wd2" y="hd2"/>
                  </a:cxn>
                </a:cxnLst>
                <a:rect l="0" t="0" r="r" b="b"/>
                <a:pathLst>
                  <a:path w="21600" h="21600" extrusionOk="0">
                    <a:moveTo>
                      <a:pt x="8021" y="593"/>
                    </a:moveTo>
                    <a:lnTo>
                      <a:pt x="7339" y="943"/>
                    </a:lnTo>
                    <a:lnTo>
                      <a:pt x="6138" y="1776"/>
                    </a:lnTo>
                    <a:lnTo>
                      <a:pt x="5808" y="2763"/>
                    </a:lnTo>
                    <a:lnTo>
                      <a:pt x="5092" y="3323"/>
                    </a:lnTo>
                    <a:cubicBezTo>
                      <a:pt x="4981" y="3552"/>
                      <a:pt x="4794" y="3681"/>
                      <a:pt x="4600" y="3663"/>
                    </a:cubicBezTo>
                    <a:cubicBezTo>
                      <a:pt x="4347" y="3639"/>
                      <a:pt x="4136" y="3380"/>
                      <a:pt x="4082" y="3027"/>
                    </a:cubicBezTo>
                    <a:lnTo>
                      <a:pt x="4399" y="1979"/>
                    </a:lnTo>
                    <a:lnTo>
                      <a:pt x="5690" y="798"/>
                    </a:lnTo>
                    <a:lnTo>
                      <a:pt x="5100" y="0"/>
                    </a:lnTo>
                    <a:cubicBezTo>
                      <a:pt x="4899" y="133"/>
                      <a:pt x="4693" y="250"/>
                      <a:pt x="4483" y="350"/>
                    </a:cubicBezTo>
                    <a:cubicBezTo>
                      <a:pt x="4069" y="547"/>
                      <a:pt x="3640" y="676"/>
                      <a:pt x="3206" y="735"/>
                    </a:cubicBezTo>
                    <a:lnTo>
                      <a:pt x="2729" y="1223"/>
                    </a:lnTo>
                    <a:lnTo>
                      <a:pt x="1867" y="1975"/>
                    </a:lnTo>
                    <a:lnTo>
                      <a:pt x="1287" y="3024"/>
                    </a:lnTo>
                    <a:lnTo>
                      <a:pt x="765" y="3246"/>
                    </a:lnTo>
                    <a:lnTo>
                      <a:pt x="240" y="4131"/>
                    </a:lnTo>
                    <a:lnTo>
                      <a:pt x="0" y="4706"/>
                    </a:lnTo>
                    <a:lnTo>
                      <a:pt x="488" y="5355"/>
                    </a:lnTo>
                    <a:lnTo>
                      <a:pt x="1157" y="5843"/>
                    </a:lnTo>
                    <a:lnTo>
                      <a:pt x="1737" y="6153"/>
                    </a:lnTo>
                    <a:lnTo>
                      <a:pt x="2377" y="6286"/>
                    </a:lnTo>
                    <a:lnTo>
                      <a:pt x="3276" y="6064"/>
                    </a:lnTo>
                    <a:lnTo>
                      <a:pt x="4259" y="5754"/>
                    </a:lnTo>
                    <a:lnTo>
                      <a:pt x="5354" y="6094"/>
                    </a:lnTo>
                    <a:lnTo>
                      <a:pt x="6511" y="6183"/>
                    </a:lnTo>
                    <a:lnTo>
                      <a:pt x="7184" y="6626"/>
                    </a:lnTo>
                    <a:cubicBezTo>
                      <a:pt x="7405" y="6541"/>
                      <a:pt x="7623" y="6437"/>
                      <a:pt x="7835" y="6316"/>
                    </a:cubicBezTo>
                    <a:cubicBezTo>
                      <a:pt x="8220" y="6096"/>
                      <a:pt x="8587" y="5819"/>
                      <a:pt x="8931" y="5490"/>
                    </a:cubicBezTo>
                    <a:lnTo>
                      <a:pt x="9355" y="5312"/>
                    </a:lnTo>
                    <a:lnTo>
                      <a:pt x="9932" y="5575"/>
                    </a:lnTo>
                    <a:lnTo>
                      <a:pt x="10644" y="6240"/>
                    </a:lnTo>
                    <a:lnTo>
                      <a:pt x="11141" y="6846"/>
                    </a:lnTo>
                    <a:lnTo>
                      <a:pt x="12060" y="7539"/>
                    </a:lnTo>
                    <a:lnTo>
                      <a:pt x="12619" y="8736"/>
                    </a:lnTo>
                    <a:lnTo>
                      <a:pt x="13095" y="10006"/>
                    </a:lnTo>
                    <a:lnTo>
                      <a:pt x="13435" y="11054"/>
                    </a:lnTo>
                    <a:lnTo>
                      <a:pt x="14056" y="11586"/>
                    </a:lnTo>
                    <a:lnTo>
                      <a:pt x="14914" y="12148"/>
                    </a:lnTo>
                    <a:lnTo>
                      <a:pt x="14833" y="12869"/>
                    </a:lnTo>
                    <a:lnTo>
                      <a:pt x="14379" y="13177"/>
                    </a:lnTo>
                    <a:lnTo>
                      <a:pt x="13740" y="13602"/>
                    </a:lnTo>
                    <a:lnTo>
                      <a:pt x="12986" y="13647"/>
                    </a:lnTo>
                    <a:lnTo>
                      <a:pt x="12638" y="13264"/>
                    </a:lnTo>
                    <a:lnTo>
                      <a:pt x="11587" y="13042"/>
                    </a:lnTo>
                    <a:lnTo>
                      <a:pt x="10513" y="13484"/>
                    </a:lnTo>
                    <a:lnTo>
                      <a:pt x="9841" y="14502"/>
                    </a:lnTo>
                    <a:lnTo>
                      <a:pt x="9564" y="15162"/>
                    </a:lnTo>
                    <a:lnTo>
                      <a:pt x="9078" y="15545"/>
                    </a:lnTo>
                    <a:lnTo>
                      <a:pt x="7809" y="15678"/>
                    </a:lnTo>
                    <a:lnTo>
                      <a:pt x="6983" y="15367"/>
                    </a:lnTo>
                    <a:lnTo>
                      <a:pt x="6084" y="15147"/>
                    </a:lnTo>
                    <a:lnTo>
                      <a:pt x="5096" y="15369"/>
                    </a:lnTo>
                    <a:lnTo>
                      <a:pt x="4413" y="16019"/>
                    </a:lnTo>
                    <a:lnTo>
                      <a:pt x="5045" y="16668"/>
                    </a:lnTo>
                    <a:lnTo>
                      <a:pt x="6285" y="16934"/>
                    </a:lnTo>
                    <a:lnTo>
                      <a:pt x="7287" y="16420"/>
                    </a:lnTo>
                    <a:lnTo>
                      <a:pt x="8059" y="16243"/>
                    </a:lnTo>
                    <a:lnTo>
                      <a:pt x="9091" y="16300"/>
                    </a:lnTo>
                    <a:lnTo>
                      <a:pt x="9462" y="16921"/>
                    </a:lnTo>
                    <a:lnTo>
                      <a:pt x="9564" y="17355"/>
                    </a:lnTo>
                    <a:lnTo>
                      <a:pt x="9891" y="18150"/>
                    </a:lnTo>
                    <a:lnTo>
                      <a:pt x="10014" y="18797"/>
                    </a:lnTo>
                    <a:lnTo>
                      <a:pt x="10439" y="19327"/>
                    </a:lnTo>
                    <a:lnTo>
                      <a:pt x="10902" y="19443"/>
                    </a:lnTo>
                    <a:lnTo>
                      <a:pt x="12019" y="20417"/>
                    </a:lnTo>
                    <a:lnTo>
                      <a:pt x="12722" y="21245"/>
                    </a:lnTo>
                    <a:lnTo>
                      <a:pt x="14241" y="21600"/>
                    </a:lnTo>
                    <a:lnTo>
                      <a:pt x="14643" y="21336"/>
                    </a:lnTo>
                    <a:lnTo>
                      <a:pt x="15294" y="20804"/>
                    </a:lnTo>
                    <a:cubicBezTo>
                      <a:pt x="15170" y="20619"/>
                      <a:pt x="15023" y="20469"/>
                      <a:pt x="14861" y="20360"/>
                    </a:cubicBezTo>
                    <a:cubicBezTo>
                      <a:pt x="14623" y="20200"/>
                      <a:pt x="14358" y="20132"/>
                      <a:pt x="14128" y="19948"/>
                    </a:cubicBezTo>
                    <a:cubicBezTo>
                      <a:pt x="13879" y="19749"/>
                      <a:pt x="13688" y="19429"/>
                      <a:pt x="13590" y="19046"/>
                    </a:cubicBezTo>
                    <a:lnTo>
                      <a:pt x="13158" y="18532"/>
                    </a:lnTo>
                    <a:lnTo>
                      <a:pt x="13427" y="18017"/>
                    </a:lnTo>
                    <a:lnTo>
                      <a:pt x="14110" y="18105"/>
                    </a:lnTo>
                    <a:lnTo>
                      <a:pt x="14793" y="18460"/>
                    </a:lnTo>
                    <a:lnTo>
                      <a:pt x="15377" y="18697"/>
                    </a:lnTo>
                    <a:lnTo>
                      <a:pt x="15778" y="19005"/>
                    </a:lnTo>
                    <a:lnTo>
                      <a:pt x="16295" y="19094"/>
                    </a:lnTo>
                    <a:lnTo>
                      <a:pt x="16532" y="18785"/>
                    </a:lnTo>
                    <a:lnTo>
                      <a:pt x="16863" y="17974"/>
                    </a:lnTo>
                    <a:lnTo>
                      <a:pt x="16832" y="16720"/>
                    </a:lnTo>
                    <a:lnTo>
                      <a:pt x="16410" y="15436"/>
                    </a:lnTo>
                    <a:lnTo>
                      <a:pt x="16038" y="14519"/>
                    </a:lnTo>
                    <a:lnTo>
                      <a:pt x="16348" y="13987"/>
                    </a:lnTo>
                    <a:lnTo>
                      <a:pt x="17092" y="13263"/>
                    </a:lnTo>
                    <a:lnTo>
                      <a:pt x="17959" y="13751"/>
                    </a:lnTo>
                    <a:cubicBezTo>
                      <a:pt x="18224" y="13919"/>
                      <a:pt x="18489" y="14087"/>
                      <a:pt x="18755" y="14253"/>
                    </a:cubicBezTo>
                    <a:cubicBezTo>
                      <a:pt x="19010" y="14412"/>
                      <a:pt x="19265" y="14570"/>
                      <a:pt x="19521" y="14726"/>
                    </a:cubicBezTo>
                    <a:lnTo>
                      <a:pt x="20059" y="14800"/>
                    </a:lnTo>
                    <a:cubicBezTo>
                      <a:pt x="20261" y="14738"/>
                      <a:pt x="20456" y="14633"/>
                      <a:pt x="20638" y="14490"/>
                    </a:cubicBezTo>
                    <a:cubicBezTo>
                      <a:pt x="21053" y="14162"/>
                      <a:pt x="21380" y="13647"/>
                      <a:pt x="21569" y="13026"/>
                    </a:cubicBezTo>
                    <a:lnTo>
                      <a:pt x="21600" y="12364"/>
                    </a:lnTo>
                    <a:lnTo>
                      <a:pt x="20876" y="11537"/>
                    </a:lnTo>
                    <a:lnTo>
                      <a:pt x="20172" y="11271"/>
                    </a:lnTo>
                    <a:cubicBezTo>
                      <a:pt x="19977" y="10989"/>
                      <a:pt x="19782" y="10709"/>
                      <a:pt x="19585" y="10430"/>
                    </a:cubicBezTo>
                    <a:cubicBezTo>
                      <a:pt x="19314" y="10044"/>
                      <a:pt x="19041" y="9659"/>
                      <a:pt x="18768" y="9277"/>
                    </a:cubicBezTo>
                    <a:lnTo>
                      <a:pt x="18552" y="8352"/>
                    </a:lnTo>
                    <a:lnTo>
                      <a:pt x="18707" y="7850"/>
                    </a:lnTo>
                    <a:lnTo>
                      <a:pt x="18707" y="7053"/>
                    </a:lnTo>
                    <a:lnTo>
                      <a:pt x="18460" y="6506"/>
                    </a:lnTo>
                    <a:lnTo>
                      <a:pt x="17665" y="6018"/>
                    </a:lnTo>
                    <a:lnTo>
                      <a:pt x="16139" y="5357"/>
                    </a:lnTo>
                    <a:lnTo>
                      <a:pt x="15519" y="4734"/>
                    </a:lnTo>
                    <a:lnTo>
                      <a:pt x="14962" y="3542"/>
                    </a:lnTo>
                    <a:lnTo>
                      <a:pt x="14662" y="2965"/>
                    </a:lnTo>
                    <a:lnTo>
                      <a:pt x="14176" y="2226"/>
                    </a:lnTo>
                    <a:lnTo>
                      <a:pt x="13369" y="2581"/>
                    </a:lnTo>
                    <a:lnTo>
                      <a:pt x="12408" y="3126"/>
                    </a:lnTo>
                    <a:lnTo>
                      <a:pt x="11913" y="2771"/>
                    </a:lnTo>
                    <a:cubicBezTo>
                      <a:pt x="11698" y="2567"/>
                      <a:pt x="11484" y="2360"/>
                      <a:pt x="11271" y="2150"/>
                    </a:cubicBezTo>
                    <a:cubicBezTo>
                      <a:pt x="11036" y="1918"/>
                      <a:pt x="10801" y="1682"/>
                      <a:pt x="10569" y="1443"/>
                    </a:cubicBezTo>
                    <a:lnTo>
                      <a:pt x="9607" y="777"/>
                    </a:lnTo>
                    <a:lnTo>
                      <a:pt x="9009" y="497"/>
                    </a:lnTo>
                    <a:lnTo>
                      <a:pt x="8021" y="593"/>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78" name="Shape 243">
                <a:extLst>
                  <a:ext uri="{FF2B5EF4-FFF2-40B4-BE49-F238E27FC236}">
                    <a16:creationId xmlns:a16="http://schemas.microsoft.com/office/drawing/2014/main" id="{2E697EF6-3616-4E88-B637-0E1BFD48026D}"/>
                  </a:ext>
                </a:extLst>
              </p:cNvPr>
              <p:cNvSpPr/>
              <p:nvPr/>
            </p:nvSpPr>
            <p:spPr>
              <a:xfrm>
                <a:off x="4272088" y="944425"/>
                <a:ext cx="249903" cy="117628"/>
              </a:xfrm>
              <a:custGeom>
                <a:avLst/>
                <a:gdLst/>
                <a:ahLst/>
                <a:cxnLst>
                  <a:cxn ang="0">
                    <a:pos x="wd2" y="hd2"/>
                  </a:cxn>
                  <a:cxn ang="5400000">
                    <a:pos x="wd2" y="hd2"/>
                  </a:cxn>
                  <a:cxn ang="10800000">
                    <a:pos x="wd2" y="hd2"/>
                  </a:cxn>
                  <a:cxn ang="16200000">
                    <a:pos x="wd2" y="hd2"/>
                  </a:cxn>
                </a:cxnLst>
                <a:rect l="0" t="0" r="r" b="b"/>
                <a:pathLst>
                  <a:path w="21486" h="21600" extrusionOk="0">
                    <a:moveTo>
                      <a:pt x="14288" y="2825"/>
                    </a:moveTo>
                    <a:lnTo>
                      <a:pt x="10337" y="0"/>
                    </a:lnTo>
                    <a:lnTo>
                      <a:pt x="6944" y="635"/>
                    </a:lnTo>
                    <a:lnTo>
                      <a:pt x="4261" y="5531"/>
                    </a:lnTo>
                    <a:lnTo>
                      <a:pt x="923" y="10880"/>
                    </a:lnTo>
                    <a:lnTo>
                      <a:pt x="0" y="13544"/>
                    </a:lnTo>
                    <a:lnTo>
                      <a:pt x="505" y="17480"/>
                    </a:lnTo>
                    <a:lnTo>
                      <a:pt x="3926" y="18763"/>
                    </a:lnTo>
                    <a:lnTo>
                      <a:pt x="6234" y="16694"/>
                    </a:lnTo>
                    <a:lnTo>
                      <a:pt x="9366" y="14882"/>
                    </a:lnTo>
                    <a:cubicBezTo>
                      <a:pt x="10482" y="14254"/>
                      <a:pt x="11657" y="14254"/>
                      <a:pt x="12773" y="14882"/>
                    </a:cubicBezTo>
                    <a:cubicBezTo>
                      <a:pt x="14008" y="15576"/>
                      <a:pt x="15124" y="17010"/>
                      <a:pt x="15986" y="19012"/>
                    </a:cubicBezTo>
                    <a:lnTo>
                      <a:pt x="19647" y="21600"/>
                    </a:lnTo>
                    <a:cubicBezTo>
                      <a:pt x="20643" y="20974"/>
                      <a:pt x="21364" y="19135"/>
                      <a:pt x="21472" y="16942"/>
                    </a:cubicBezTo>
                    <a:cubicBezTo>
                      <a:pt x="21600" y="14339"/>
                      <a:pt x="20855" y="11900"/>
                      <a:pt x="19682" y="11085"/>
                    </a:cubicBezTo>
                    <a:lnTo>
                      <a:pt x="16154" y="7063"/>
                    </a:lnTo>
                    <a:lnTo>
                      <a:pt x="14288" y="2825"/>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79" name="Shape 244">
                <a:extLst>
                  <a:ext uri="{FF2B5EF4-FFF2-40B4-BE49-F238E27FC236}">
                    <a16:creationId xmlns:a16="http://schemas.microsoft.com/office/drawing/2014/main" id="{231D5C6E-F491-471F-8C35-17B2534A8A01}"/>
                  </a:ext>
                </a:extLst>
              </p:cNvPr>
              <p:cNvSpPr/>
              <p:nvPr/>
            </p:nvSpPr>
            <p:spPr>
              <a:xfrm>
                <a:off x="5072532" y="1833377"/>
                <a:ext cx="356385" cy="283417"/>
              </a:xfrm>
              <a:custGeom>
                <a:avLst/>
                <a:gdLst/>
                <a:ahLst/>
                <a:cxnLst>
                  <a:cxn ang="0">
                    <a:pos x="wd2" y="hd2"/>
                  </a:cxn>
                  <a:cxn ang="5400000">
                    <a:pos x="wd2" y="hd2"/>
                  </a:cxn>
                  <a:cxn ang="10800000">
                    <a:pos x="wd2" y="hd2"/>
                  </a:cxn>
                  <a:cxn ang="16200000">
                    <a:pos x="wd2" y="hd2"/>
                  </a:cxn>
                </a:cxnLst>
                <a:rect l="0" t="0" r="r" b="b"/>
                <a:pathLst>
                  <a:path w="21600" h="21600" extrusionOk="0">
                    <a:moveTo>
                      <a:pt x="13617" y="713"/>
                    </a:moveTo>
                    <a:lnTo>
                      <a:pt x="12158" y="1430"/>
                    </a:lnTo>
                    <a:lnTo>
                      <a:pt x="10460" y="3510"/>
                    </a:lnTo>
                    <a:lnTo>
                      <a:pt x="9735" y="5219"/>
                    </a:lnTo>
                    <a:lnTo>
                      <a:pt x="8711" y="7368"/>
                    </a:lnTo>
                    <a:lnTo>
                      <a:pt x="6506" y="9587"/>
                    </a:lnTo>
                    <a:lnTo>
                      <a:pt x="4116" y="10124"/>
                    </a:lnTo>
                    <a:lnTo>
                      <a:pt x="3238" y="12590"/>
                    </a:lnTo>
                    <a:lnTo>
                      <a:pt x="2264" y="14703"/>
                    </a:lnTo>
                    <a:lnTo>
                      <a:pt x="112" y="15347"/>
                    </a:lnTo>
                    <a:lnTo>
                      <a:pt x="0" y="16883"/>
                    </a:lnTo>
                    <a:lnTo>
                      <a:pt x="2956" y="16668"/>
                    </a:lnTo>
                    <a:lnTo>
                      <a:pt x="4669" y="16668"/>
                    </a:lnTo>
                    <a:lnTo>
                      <a:pt x="6963" y="17384"/>
                    </a:lnTo>
                    <a:lnTo>
                      <a:pt x="8339" y="17778"/>
                    </a:lnTo>
                    <a:lnTo>
                      <a:pt x="7794" y="19707"/>
                    </a:lnTo>
                    <a:lnTo>
                      <a:pt x="8250" y="21600"/>
                    </a:lnTo>
                    <a:lnTo>
                      <a:pt x="9877" y="20459"/>
                    </a:lnTo>
                    <a:lnTo>
                      <a:pt x="9307" y="17997"/>
                    </a:lnTo>
                    <a:lnTo>
                      <a:pt x="11744" y="17389"/>
                    </a:lnTo>
                    <a:lnTo>
                      <a:pt x="13751" y="17389"/>
                    </a:lnTo>
                    <a:lnTo>
                      <a:pt x="15873" y="16529"/>
                    </a:lnTo>
                    <a:lnTo>
                      <a:pt x="18822" y="16207"/>
                    </a:lnTo>
                    <a:lnTo>
                      <a:pt x="20342" y="15240"/>
                    </a:lnTo>
                    <a:lnTo>
                      <a:pt x="21600" y="14632"/>
                    </a:lnTo>
                    <a:lnTo>
                      <a:pt x="18847" y="11235"/>
                    </a:lnTo>
                    <a:lnTo>
                      <a:pt x="17711" y="9945"/>
                    </a:lnTo>
                    <a:lnTo>
                      <a:pt x="15740" y="9095"/>
                    </a:lnTo>
                    <a:lnTo>
                      <a:pt x="13625" y="8379"/>
                    </a:lnTo>
                    <a:lnTo>
                      <a:pt x="12948" y="7206"/>
                    </a:lnTo>
                    <a:cubicBezTo>
                      <a:pt x="12674" y="6625"/>
                      <a:pt x="12582" y="5938"/>
                      <a:pt x="12690" y="5277"/>
                    </a:cubicBezTo>
                    <a:cubicBezTo>
                      <a:pt x="12841" y="4349"/>
                      <a:pt x="13359" y="3580"/>
                      <a:pt x="14066" y="3237"/>
                    </a:cubicBezTo>
                    <a:cubicBezTo>
                      <a:pt x="14497" y="2942"/>
                      <a:pt x="14876" y="2541"/>
                      <a:pt x="15181" y="2059"/>
                    </a:cubicBezTo>
                    <a:cubicBezTo>
                      <a:pt x="15444" y="1642"/>
                      <a:pt x="15646" y="1171"/>
                      <a:pt x="15779" y="667"/>
                    </a:cubicBezTo>
                    <a:lnTo>
                      <a:pt x="15098" y="0"/>
                    </a:lnTo>
                    <a:lnTo>
                      <a:pt x="13617" y="713"/>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80" name="Shape 245">
                <a:extLst>
                  <a:ext uri="{FF2B5EF4-FFF2-40B4-BE49-F238E27FC236}">
                    <a16:creationId xmlns:a16="http://schemas.microsoft.com/office/drawing/2014/main" id="{5467CD16-285E-4BA3-B66D-9C2D0B656F62}"/>
                  </a:ext>
                </a:extLst>
              </p:cNvPr>
              <p:cNvSpPr/>
              <p:nvPr/>
            </p:nvSpPr>
            <p:spPr>
              <a:xfrm>
                <a:off x="4413003" y="3019056"/>
                <a:ext cx="80212" cy="58646"/>
              </a:xfrm>
              <a:custGeom>
                <a:avLst/>
                <a:gdLst/>
                <a:ahLst/>
                <a:cxnLst>
                  <a:cxn ang="0">
                    <a:pos x="wd2" y="hd2"/>
                  </a:cxn>
                  <a:cxn ang="5400000">
                    <a:pos x="wd2" y="hd2"/>
                  </a:cxn>
                  <a:cxn ang="10800000">
                    <a:pos x="wd2" y="hd2"/>
                  </a:cxn>
                  <a:cxn ang="16200000">
                    <a:pos x="wd2" y="hd2"/>
                  </a:cxn>
                </a:cxnLst>
                <a:rect l="0" t="0" r="r" b="b"/>
                <a:pathLst>
                  <a:path w="21600" h="21600" extrusionOk="0">
                    <a:moveTo>
                      <a:pt x="9449" y="0"/>
                    </a:moveTo>
                    <a:lnTo>
                      <a:pt x="4511" y="2596"/>
                    </a:lnTo>
                    <a:lnTo>
                      <a:pt x="0" y="15912"/>
                    </a:lnTo>
                    <a:lnTo>
                      <a:pt x="12679" y="21600"/>
                    </a:lnTo>
                    <a:lnTo>
                      <a:pt x="21600" y="12688"/>
                    </a:lnTo>
                    <a:lnTo>
                      <a:pt x="9449"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81" name="Shape 246">
                <a:extLst>
                  <a:ext uri="{FF2B5EF4-FFF2-40B4-BE49-F238E27FC236}">
                    <a16:creationId xmlns:a16="http://schemas.microsoft.com/office/drawing/2014/main" id="{1EB02B96-0602-4AB0-AC49-1219AEAB6A08}"/>
                  </a:ext>
                </a:extLst>
              </p:cNvPr>
              <p:cNvSpPr/>
              <p:nvPr/>
            </p:nvSpPr>
            <p:spPr>
              <a:xfrm>
                <a:off x="3069983" y="3705375"/>
                <a:ext cx="625126" cy="223588"/>
              </a:xfrm>
              <a:custGeom>
                <a:avLst/>
                <a:gdLst/>
                <a:ahLst/>
                <a:cxnLst>
                  <a:cxn ang="0">
                    <a:pos x="wd2" y="hd2"/>
                  </a:cxn>
                  <a:cxn ang="5400000">
                    <a:pos x="wd2" y="hd2"/>
                  </a:cxn>
                  <a:cxn ang="10800000">
                    <a:pos x="wd2" y="hd2"/>
                  </a:cxn>
                  <a:cxn ang="16200000">
                    <a:pos x="wd2" y="hd2"/>
                  </a:cxn>
                </a:cxnLst>
                <a:rect l="0" t="0" r="r" b="b"/>
                <a:pathLst>
                  <a:path w="21600" h="21424" extrusionOk="0">
                    <a:moveTo>
                      <a:pt x="6693" y="0"/>
                    </a:moveTo>
                    <a:lnTo>
                      <a:pt x="3994" y="298"/>
                    </a:lnTo>
                    <a:lnTo>
                      <a:pt x="1905" y="1849"/>
                    </a:lnTo>
                    <a:lnTo>
                      <a:pt x="0" y="4685"/>
                    </a:lnTo>
                    <a:lnTo>
                      <a:pt x="3" y="8050"/>
                    </a:lnTo>
                    <a:lnTo>
                      <a:pt x="2136" y="6609"/>
                    </a:lnTo>
                    <a:lnTo>
                      <a:pt x="5761" y="4730"/>
                    </a:lnTo>
                    <a:lnTo>
                      <a:pt x="7958" y="6075"/>
                    </a:lnTo>
                    <a:lnTo>
                      <a:pt x="10066" y="8095"/>
                    </a:lnTo>
                    <a:lnTo>
                      <a:pt x="12698" y="10886"/>
                    </a:lnTo>
                    <a:lnTo>
                      <a:pt x="13431" y="13491"/>
                    </a:lnTo>
                    <a:lnTo>
                      <a:pt x="13576" y="16728"/>
                    </a:lnTo>
                    <a:lnTo>
                      <a:pt x="13202" y="18838"/>
                    </a:lnTo>
                    <a:lnTo>
                      <a:pt x="14379" y="19732"/>
                    </a:lnTo>
                    <a:lnTo>
                      <a:pt x="15587" y="19372"/>
                    </a:lnTo>
                    <a:lnTo>
                      <a:pt x="17041" y="19372"/>
                    </a:lnTo>
                    <a:lnTo>
                      <a:pt x="17973" y="20722"/>
                    </a:lnTo>
                    <a:cubicBezTo>
                      <a:pt x="18362" y="21404"/>
                      <a:pt x="18837" y="21600"/>
                      <a:pt x="19281" y="21263"/>
                    </a:cubicBezTo>
                    <a:cubicBezTo>
                      <a:pt x="19538" y="21068"/>
                      <a:pt x="19773" y="20698"/>
                      <a:pt x="19965" y="20188"/>
                    </a:cubicBezTo>
                    <a:lnTo>
                      <a:pt x="20995" y="19018"/>
                    </a:lnTo>
                    <a:lnTo>
                      <a:pt x="21584" y="18883"/>
                    </a:lnTo>
                    <a:lnTo>
                      <a:pt x="21600" y="16502"/>
                    </a:lnTo>
                    <a:lnTo>
                      <a:pt x="20145" y="14116"/>
                    </a:lnTo>
                    <a:cubicBezTo>
                      <a:pt x="19497" y="13439"/>
                      <a:pt x="18849" y="12764"/>
                      <a:pt x="18200" y="12091"/>
                    </a:cubicBezTo>
                    <a:cubicBezTo>
                      <a:pt x="17606" y="11474"/>
                      <a:pt x="17013" y="10859"/>
                      <a:pt x="16418" y="10245"/>
                    </a:cubicBezTo>
                    <a:lnTo>
                      <a:pt x="14034" y="5974"/>
                    </a:lnTo>
                    <a:lnTo>
                      <a:pt x="11880" y="2378"/>
                    </a:lnTo>
                    <a:lnTo>
                      <a:pt x="9839" y="1348"/>
                    </a:lnTo>
                    <a:lnTo>
                      <a:pt x="8476" y="678"/>
                    </a:lnTo>
                    <a:lnTo>
                      <a:pt x="6693"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83" name="Shape 247">
                <a:extLst>
                  <a:ext uri="{FF2B5EF4-FFF2-40B4-BE49-F238E27FC236}">
                    <a16:creationId xmlns:a16="http://schemas.microsoft.com/office/drawing/2014/main" id="{168C2239-048C-419A-9AD8-E00BACC43FBE}"/>
                  </a:ext>
                </a:extLst>
              </p:cNvPr>
              <p:cNvSpPr/>
              <p:nvPr/>
            </p:nvSpPr>
            <p:spPr>
              <a:xfrm>
                <a:off x="3614705" y="3931710"/>
                <a:ext cx="413866" cy="129447"/>
              </a:xfrm>
              <a:custGeom>
                <a:avLst/>
                <a:gdLst/>
                <a:ahLst/>
                <a:cxnLst>
                  <a:cxn ang="0">
                    <a:pos x="wd2" y="hd2"/>
                  </a:cxn>
                  <a:cxn ang="5400000">
                    <a:pos x="wd2" y="hd2"/>
                  </a:cxn>
                  <a:cxn ang="10800000">
                    <a:pos x="wd2" y="hd2"/>
                  </a:cxn>
                  <a:cxn ang="16200000">
                    <a:pos x="wd2" y="hd2"/>
                  </a:cxn>
                </a:cxnLst>
                <a:rect l="0" t="0" r="r" b="b"/>
                <a:pathLst>
                  <a:path w="21600" h="21321" extrusionOk="0">
                    <a:moveTo>
                      <a:pt x="8080" y="2346"/>
                    </a:moveTo>
                    <a:lnTo>
                      <a:pt x="7608" y="5248"/>
                    </a:lnTo>
                    <a:lnTo>
                      <a:pt x="9192" y="9941"/>
                    </a:lnTo>
                    <a:lnTo>
                      <a:pt x="8133" y="13268"/>
                    </a:lnTo>
                    <a:lnTo>
                      <a:pt x="6167" y="13491"/>
                    </a:lnTo>
                    <a:cubicBezTo>
                      <a:pt x="5337" y="12924"/>
                      <a:pt x="4494" y="12536"/>
                      <a:pt x="3646" y="12331"/>
                    </a:cubicBezTo>
                    <a:cubicBezTo>
                      <a:pt x="2705" y="12103"/>
                      <a:pt x="1759" y="12099"/>
                      <a:pt x="817" y="12321"/>
                    </a:cubicBezTo>
                    <a:lnTo>
                      <a:pt x="0" y="15310"/>
                    </a:lnTo>
                    <a:lnTo>
                      <a:pt x="1925" y="18019"/>
                    </a:lnTo>
                    <a:lnTo>
                      <a:pt x="4070" y="18251"/>
                    </a:lnTo>
                    <a:lnTo>
                      <a:pt x="5845" y="19877"/>
                    </a:lnTo>
                    <a:lnTo>
                      <a:pt x="7598" y="18329"/>
                    </a:lnTo>
                    <a:lnTo>
                      <a:pt x="9746" y="17400"/>
                    </a:lnTo>
                    <a:cubicBezTo>
                      <a:pt x="10130" y="18713"/>
                      <a:pt x="10602" y="19744"/>
                      <a:pt x="11128" y="20417"/>
                    </a:cubicBezTo>
                    <a:cubicBezTo>
                      <a:pt x="11927" y="21440"/>
                      <a:pt x="12812" y="21600"/>
                      <a:pt x="13644" y="20872"/>
                    </a:cubicBezTo>
                    <a:cubicBezTo>
                      <a:pt x="14104" y="19420"/>
                      <a:pt x="14627" y="18174"/>
                      <a:pt x="15196" y="17168"/>
                    </a:cubicBezTo>
                    <a:cubicBezTo>
                      <a:pt x="15866" y="15984"/>
                      <a:pt x="16591" y="15148"/>
                      <a:pt x="17341" y="14614"/>
                    </a:cubicBezTo>
                    <a:cubicBezTo>
                      <a:pt x="18005" y="14141"/>
                      <a:pt x="18684" y="13907"/>
                      <a:pt x="19365" y="13918"/>
                    </a:cubicBezTo>
                    <a:lnTo>
                      <a:pt x="20717" y="13841"/>
                    </a:lnTo>
                    <a:lnTo>
                      <a:pt x="21600" y="12215"/>
                    </a:lnTo>
                    <a:lnTo>
                      <a:pt x="21378" y="8984"/>
                    </a:lnTo>
                    <a:lnTo>
                      <a:pt x="19406" y="7282"/>
                    </a:lnTo>
                    <a:lnTo>
                      <a:pt x="18248" y="4350"/>
                    </a:lnTo>
                    <a:lnTo>
                      <a:pt x="15434" y="1333"/>
                    </a:lnTo>
                    <a:lnTo>
                      <a:pt x="12671" y="459"/>
                    </a:lnTo>
                    <a:lnTo>
                      <a:pt x="10801" y="0"/>
                    </a:lnTo>
                    <a:lnTo>
                      <a:pt x="9496" y="697"/>
                    </a:lnTo>
                    <a:lnTo>
                      <a:pt x="8080" y="2346"/>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84" name="Shape 248">
                <a:extLst>
                  <a:ext uri="{FF2B5EF4-FFF2-40B4-BE49-F238E27FC236}">
                    <a16:creationId xmlns:a16="http://schemas.microsoft.com/office/drawing/2014/main" id="{84051525-F383-4F9A-A525-3F5EF8283C4B}"/>
                  </a:ext>
                </a:extLst>
              </p:cNvPr>
              <p:cNvSpPr/>
              <p:nvPr/>
            </p:nvSpPr>
            <p:spPr>
              <a:xfrm>
                <a:off x="3392196" y="4008263"/>
                <a:ext cx="135432" cy="56992"/>
              </a:xfrm>
              <a:custGeom>
                <a:avLst/>
                <a:gdLst/>
                <a:ahLst/>
                <a:cxnLst>
                  <a:cxn ang="0">
                    <a:pos x="wd2" y="hd2"/>
                  </a:cxn>
                  <a:cxn ang="5400000">
                    <a:pos x="wd2" y="hd2"/>
                  </a:cxn>
                  <a:cxn ang="10800000">
                    <a:pos x="wd2" y="hd2"/>
                  </a:cxn>
                  <a:cxn ang="16200000">
                    <a:pos x="wd2" y="hd2"/>
                  </a:cxn>
                </a:cxnLst>
                <a:rect l="0" t="0" r="r" b="b"/>
                <a:pathLst>
                  <a:path w="21600" h="21600" extrusionOk="0">
                    <a:moveTo>
                      <a:pt x="9960" y="778"/>
                    </a:moveTo>
                    <a:lnTo>
                      <a:pt x="5952" y="0"/>
                    </a:lnTo>
                    <a:lnTo>
                      <a:pt x="0" y="4529"/>
                    </a:lnTo>
                    <a:lnTo>
                      <a:pt x="4023" y="14144"/>
                    </a:lnTo>
                    <a:lnTo>
                      <a:pt x="9924" y="18396"/>
                    </a:lnTo>
                    <a:lnTo>
                      <a:pt x="16715" y="21600"/>
                    </a:lnTo>
                    <a:lnTo>
                      <a:pt x="21157" y="18240"/>
                    </a:lnTo>
                    <a:lnTo>
                      <a:pt x="21600" y="11139"/>
                    </a:lnTo>
                    <a:lnTo>
                      <a:pt x="17129" y="5862"/>
                    </a:lnTo>
                    <a:lnTo>
                      <a:pt x="14054" y="2835"/>
                    </a:lnTo>
                    <a:lnTo>
                      <a:pt x="9960" y="778"/>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85" name="Shape 249">
                <a:extLst>
                  <a:ext uri="{FF2B5EF4-FFF2-40B4-BE49-F238E27FC236}">
                    <a16:creationId xmlns:a16="http://schemas.microsoft.com/office/drawing/2014/main" id="{6C89C5FC-DA60-4F78-9E5B-AB5F2C945177}"/>
                  </a:ext>
                </a:extLst>
              </p:cNvPr>
              <p:cNvSpPr/>
              <p:nvPr/>
            </p:nvSpPr>
            <p:spPr>
              <a:xfrm>
                <a:off x="4091728" y="4006262"/>
                <a:ext cx="104357" cy="54878"/>
              </a:xfrm>
              <a:custGeom>
                <a:avLst/>
                <a:gdLst/>
                <a:ahLst/>
                <a:cxnLst>
                  <a:cxn ang="0">
                    <a:pos x="wd2" y="hd2"/>
                  </a:cxn>
                  <a:cxn ang="5400000">
                    <a:pos x="wd2" y="hd2"/>
                  </a:cxn>
                  <a:cxn ang="10800000">
                    <a:pos x="wd2" y="hd2"/>
                  </a:cxn>
                  <a:cxn ang="16200000">
                    <a:pos x="wd2" y="hd2"/>
                  </a:cxn>
                </a:cxnLst>
                <a:rect l="0" t="0" r="r" b="b"/>
                <a:pathLst>
                  <a:path w="21600" h="21600" extrusionOk="0">
                    <a:moveTo>
                      <a:pt x="12717" y="0"/>
                    </a:moveTo>
                    <a:lnTo>
                      <a:pt x="6904" y="785"/>
                    </a:lnTo>
                    <a:lnTo>
                      <a:pt x="2619" y="2158"/>
                    </a:lnTo>
                    <a:lnTo>
                      <a:pt x="0" y="9325"/>
                    </a:lnTo>
                    <a:lnTo>
                      <a:pt x="1145" y="14597"/>
                    </a:lnTo>
                    <a:cubicBezTo>
                      <a:pt x="2957" y="16107"/>
                      <a:pt x="4818" y="17397"/>
                      <a:pt x="6717" y="18458"/>
                    </a:cubicBezTo>
                    <a:cubicBezTo>
                      <a:pt x="9466" y="19994"/>
                      <a:pt x="12285" y="21046"/>
                      <a:pt x="15138" y="21600"/>
                    </a:cubicBezTo>
                    <a:lnTo>
                      <a:pt x="21600" y="11985"/>
                    </a:lnTo>
                    <a:lnTo>
                      <a:pt x="18686" y="4286"/>
                    </a:lnTo>
                    <a:lnTo>
                      <a:pt x="12717"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86" name="Shape 250">
                <a:extLst>
                  <a:ext uri="{FF2B5EF4-FFF2-40B4-BE49-F238E27FC236}">
                    <a16:creationId xmlns:a16="http://schemas.microsoft.com/office/drawing/2014/main" id="{7B5D73F2-8708-4A8B-B6FF-ED9A85C1CB62}"/>
                  </a:ext>
                </a:extLst>
              </p:cNvPr>
              <p:cNvSpPr/>
              <p:nvPr/>
            </p:nvSpPr>
            <p:spPr>
              <a:xfrm>
                <a:off x="3773370" y="3714286"/>
                <a:ext cx="90562" cy="55121"/>
              </a:xfrm>
              <a:custGeom>
                <a:avLst/>
                <a:gdLst/>
                <a:ahLst/>
                <a:cxnLst>
                  <a:cxn ang="0">
                    <a:pos x="wd2" y="hd2"/>
                  </a:cxn>
                  <a:cxn ang="5400000">
                    <a:pos x="wd2" y="hd2"/>
                  </a:cxn>
                  <a:cxn ang="10800000">
                    <a:pos x="wd2" y="hd2"/>
                  </a:cxn>
                  <a:cxn ang="16200000">
                    <a:pos x="wd2" y="hd2"/>
                  </a:cxn>
                </a:cxnLst>
                <a:rect l="0" t="0" r="r" b="b"/>
                <a:pathLst>
                  <a:path w="21600" h="21600" extrusionOk="0">
                    <a:moveTo>
                      <a:pt x="10591" y="2096"/>
                    </a:moveTo>
                    <a:lnTo>
                      <a:pt x="5726" y="2074"/>
                    </a:lnTo>
                    <a:lnTo>
                      <a:pt x="0" y="12257"/>
                    </a:lnTo>
                    <a:lnTo>
                      <a:pt x="3941" y="21600"/>
                    </a:lnTo>
                    <a:lnTo>
                      <a:pt x="9231" y="16101"/>
                    </a:lnTo>
                    <a:lnTo>
                      <a:pt x="15549" y="13362"/>
                    </a:lnTo>
                    <a:lnTo>
                      <a:pt x="21600" y="7815"/>
                    </a:lnTo>
                    <a:lnTo>
                      <a:pt x="20020" y="727"/>
                    </a:lnTo>
                    <a:lnTo>
                      <a:pt x="15874" y="0"/>
                    </a:lnTo>
                    <a:lnTo>
                      <a:pt x="10591" y="2096"/>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87" name="Shape 251">
                <a:extLst>
                  <a:ext uri="{FF2B5EF4-FFF2-40B4-BE49-F238E27FC236}">
                    <a16:creationId xmlns:a16="http://schemas.microsoft.com/office/drawing/2014/main" id="{4E23FE21-FF9B-473D-9D79-61AA20F37079}"/>
                  </a:ext>
                </a:extLst>
              </p:cNvPr>
              <p:cNvSpPr/>
              <p:nvPr/>
            </p:nvSpPr>
            <p:spPr>
              <a:xfrm>
                <a:off x="3662276" y="3769609"/>
                <a:ext cx="74385" cy="35715"/>
              </a:xfrm>
              <a:custGeom>
                <a:avLst/>
                <a:gdLst/>
                <a:ahLst/>
                <a:cxnLst>
                  <a:cxn ang="0">
                    <a:pos x="wd2" y="hd2"/>
                  </a:cxn>
                  <a:cxn ang="5400000">
                    <a:pos x="wd2" y="hd2"/>
                  </a:cxn>
                  <a:cxn ang="10800000">
                    <a:pos x="wd2" y="hd2"/>
                  </a:cxn>
                  <a:cxn ang="16200000">
                    <a:pos x="wd2" y="hd2"/>
                  </a:cxn>
                </a:cxnLst>
                <a:rect l="0" t="0" r="r" b="b"/>
                <a:pathLst>
                  <a:path w="21600" h="21600" extrusionOk="0">
                    <a:moveTo>
                      <a:pt x="13268" y="0"/>
                    </a:moveTo>
                    <a:lnTo>
                      <a:pt x="6280" y="4263"/>
                    </a:lnTo>
                    <a:lnTo>
                      <a:pt x="0" y="14496"/>
                    </a:lnTo>
                    <a:lnTo>
                      <a:pt x="4170" y="17941"/>
                    </a:lnTo>
                    <a:lnTo>
                      <a:pt x="13786" y="19078"/>
                    </a:lnTo>
                    <a:lnTo>
                      <a:pt x="21583" y="21600"/>
                    </a:lnTo>
                    <a:lnTo>
                      <a:pt x="21600" y="6005"/>
                    </a:lnTo>
                    <a:lnTo>
                      <a:pt x="13268"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88" name="Shape 252">
                <a:extLst>
                  <a:ext uri="{FF2B5EF4-FFF2-40B4-BE49-F238E27FC236}">
                    <a16:creationId xmlns:a16="http://schemas.microsoft.com/office/drawing/2014/main" id="{E0F68FA3-EF16-4A1F-A136-4F7BB352E43A}"/>
                  </a:ext>
                </a:extLst>
              </p:cNvPr>
              <p:cNvSpPr/>
              <p:nvPr/>
            </p:nvSpPr>
            <p:spPr>
              <a:xfrm>
                <a:off x="3467262" y="3523381"/>
                <a:ext cx="52712" cy="98001"/>
              </a:xfrm>
              <a:custGeom>
                <a:avLst/>
                <a:gdLst/>
                <a:ahLst/>
                <a:cxnLst>
                  <a:cxn ang="0">
                    <a:pos x="wd2" y="hd2"/>
                  </a:cxn>
                  <a:cxn ang="5400000">
                    <a:pos x="wd2" y="hd2"/>
                  </a:cxn>
                  <a:cxn ang="10800000">
                    <a:pos x="wd2" y="hd2"/>
                  </a:cxn>
                  <a:cxn ang="16200000">
                    <a:pos x="wd2" y="hd2"/>
                  </a:cxn>
                </a:cxnLst>
                <a:rect l="0" t="0" r="r" b="b"/>
                <a:pathLst>
                  <a:path w="21600" h="21600" extrusionOk="0">
                    <a:moveTo>
                      <a:pt x="6366" y="0"/>
                    </a:moveTo>
                    <a:lnTo>
                      <a:pt x="15" y="2162"/>
                    </a:lnTo>
                    <a:lnTo>
                      <a:pt x="9987" y="9811"/>
                    </a:lnTo>
                    <a:lnTo>
                      <a:pt x="0" y="12733"/>
                    </a:lnTo>
                    <a:lnTo>
                      <a:pt x="12126" y="20150"/>
                    </a:lnTo>
                    <a:lnTo>
                      <a:pt x="19276" y="21600"/>
                    </a:lnTo>
                    <a:lnTo>
                      <a:pt x="21600" y="16009"/>
                    </a:lnTo>
                    <a:lnTo>
                      <a:pt x="14089" y="12940"/>
                    </a:lnTo>
                    <a:lnTo>
                      <a:pt x="16973" y="9329"/>
                    </a:lnTo>
                    <a:lnTo>
                      <a:pt x="16973" y="1873"/>
                    </a:lnTo>
                    <a:lnTo>
                      <a:pt x="6366"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89" name="Shape 253">
                <a:extLst>
                  <a:ext uri="{FF2B5EF4-FFF2-40B4-BE49-F238E27FC236}">
                    <a16:creationId xmlns:a16="http://schemas.microsoft.com/office/drawing/2014/main" id="{0345B978-7E71-48CB-9E5F-4FBC60529D07}"/>
                  </a:ext>
                </a:extLst>
              </p:cNvPr>
              <p:cNvSpPr/>
              <p:nvPr/>
            </p:nvSpPr>
            <p:spPr>
              <a:xfrm>
                <a:off x="3471609" y="3432066"/>
                <a:ext cx="62988" cy="64054"/>
              </a:xfrm>
              <a:custGeom>
                <a:avLst/>
                <a:gdLst/>
                <a:ahLst/>
                <a:cxnLst>
                  <a:cxn ang="0">
                    <a:pos x="wd2" y="hd2"/>
                  </a:cxn>
                  <a:cxn ang="5400000">
                    <a:pos x="wd2" y="hd2"/>
                  </a:cxn>
                  <a:cxn ang="10800000">
                    <a:pos x="wd2" y="hd2"/>
                  </a:cxn>
                  <a:cxn ang="16200000">
                    <a:pos x="wd2" y="hd2"/>
                  </a:cxn>
                </a:cxnLst>
                <a:rect l="0" t="0" r="r" b="b"/>
                <a:pathLst>
                  <a:path w="21600" h="21600" extrusionOk="0">
                    <a:moveTo>
                      <a:pt x="2939" y="3032"/>
                    </a:moveTo>
                    <a:lnTo>
                      <a:pt x="13971" y="0"/>
                    </a:lnTo>
                    <a:lnTo>
                      <a:pt x="21600" y="3050"/>
                    </a:lnTo>
                    <a:lnTo>
                      <a:pt x="17401" y="7736"/>
                    </a:lnTo>
                    <a:lnTo>
                      <a:pt x="11620" y="11520"/>
                    </a:lnTo>
                    <a:lnTo>
                      <a:pt x="10649" y="17817"/>
                    </a:lnTo>
                    <a:lnTo>
                      <a:pt x="3854" y="21600"/>
                    </a:lnTo>
                    <a:lnTo>
                      <a:pt x="0" y="19243"/>
                    </a:lnTo>
                    <a:lnTo>
                      <a:pt x="2779" y="14669"/>
                    </a:lnTo>
                    <a:lnTo>
                      <a:pt x="6081" y="9182"/>
                    </a:lnTo>
                    <a:lnTo>
                      <a:pt x="2939" y="3032"/>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90" name="Shape 254">
                <a:extLst>
                  <a:ext uri="{FF2B5EF4-FFF2-40B4-BE49-F238E27FC236}">
                    <a16:creationId xmlns:a16="http://schemas.microsoft.com/office/drawing/2014/main" id="{3148F25D-CADF-47AF-A66B-C5FAFC8EDAD5}"/>
                  </a:ext>
                </a:extLst>
              </p:cNvPr>
              <p:cNvSpPr/>
              <p:nvPr/>
            </p:nvSpPr>
            <p:spPr>
              <a:xfrm>
                <a:off x="3556910" y="3435001"/>
                <a:ext cx="46937" cy="67532"/>
              </a:xfrm>
              <a:custGeom>
                <a:avLst/>
                <a:gdLst/>
                <a:ahLst/>
                <a:cxnLst>
                  <a:cxn ang="0">
                    <a:pos x="wd2" y="hd2"/>
                  </a:cxn>
                  <a:cxn ang="5400000">
                    <a:pos x="wd2" y="hd2"/>
                  </a:cxn>
                  <a:cxn ang="10800000">
                    <a:pos x="wd2" y="hd2"/>
                  </a:cxn>
                  <a:cxn ang="16200000">
                    <a:pos x="wd2" y="hd2"/>
                  </a:cxn>
                </a:cxnLst>
                <a:rect l="0" t="0" r="r" b="b"/>
                <a:pathLst>
                  <a:path w="21600" h="21600" extrusionOk="0">
                    <a:moveTo>
                      <a:pt x="9070" y="0"/>
                    </a:moveTo>
                    <a:lnTo>
                      <a:pt x="14242" y="3737"/>
                    </a:lnTo>
                    <a:lnTo>
                      <a:pt x="21600" y="9259"/>
                    </a:lnTo>
                    <a:lnTo>
                      <a:pt x="18987" y="16321"/>
                    </a:lnTo>
                    <a:lnTo>
                      <a:pt x="8344" y="21600"/>
                    </a:lnTo>
                    <a:lnTo>
                      <a:pt x="5690" y="16490"/>
                    </a:lnTo>
                    <a:lnTo>
                      <a:pt x="2563" y="11082"/>
                    </a:lnTo>
                    <a:lnTo>
                      <a:pt x="0" y="2684"/>
                    </a:lnTo>
                    <a:lnTo>
                      <a:pt x="9070"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91" name="Shape 255">
                <a:extLst>
                  <a:ext uri="{FF2B5EF4-FFF2-40B4-BE49-F238E27FC236}">
                    <a16:creationId xmlns:a16="http://schemas.microsoft.com/office/drawing/2014/main" id="{B63455EE-AD3C-4D28-81A0-3587B1023589}"/>
                  </a:ext>
                </a:extLst>
              </p:cNvPr>
              <p:cNvSpPr/>
              <p:nvPr/>
            </p:nvSpPr>
            <p:spPr>
              <a:xfrm>
                <a:off x="3512975" y="3511070"/>
                <a:ext cx="53787" cy="30436"/>
              </a:xfrm>
              <a:custGeom>
                <a:avLst/>
                <a:gdLst/>
                <a:ahLst/>
                <a:cxnLst>
                  <a:cxn ang="0">
                    <a:pos x="wd2" y="hd2"/>
                  </a:cxn>
                  <a:cxn ang="5400000">
                    <a:pos x="wd2" y="hd2"/>
                  </a:cxn>
                  <a:cxn ang="10800000">
                    <a:pos x="wd2" y="hd2"/>
                  </a:cxn>
                  <a:cxn ang="16200000">
                    <a:pos x="wd2" y="hd2"/>
                  </a:cxn>
                </a:cxnLst>
                <a:rect l="0" t="0" r="r" b="b"/>
                <a:pathLst>
                  <a:path w="21600" h="21600" extrusionOk="0">
                    <a:moveTo>
                      <a:pt x="6041" y="0"/>
                    </a:moveTo>
                    <a:lnTo>
                      <a:pt x="13043" y="2762"/>
                    </a:lnTo>
                    <a:lnTo>
                      <a:pt x="21600" y="12283"/>
                    </a:lnTo>
                    <a:lnTo>
                      <a:pt x="16470" y="21600"/>
                    </a:lnTo>
                    <a:lnTo>
                      <a:pt x="5285" y="18232"/>
                    </a:lnTo>
                    <a:lnTo>
                      <a:pt x="0" y="10410"/>
                    </a:lnTo>
                    <a:lnTo>
                      <a:pt x="6041"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92" name="Shape 256">
                <a:extLst>
                  <a:ext uri="{FF2B5EF4-FFF2-40B4-BE49-F238E27FC236}">
                    <a16:creationId xmlns:a16="http://schemas.microsoft.com/office/drawing/2014/main" id="{EBC1581E-84FC-4BDF-9C87-51D0A7DCAB72}"/>
                  </a:ext>
                </a:extLst>
              </p:cNvPr>
              <p:cNvSpPr/>
              <p:nvPr/>
            </p:nvSpPr>
            <p:spPr>
              <a:xfrm>
                <a:off x="3642957" y="3603761"/>
                <a:ext cx="30436" cy="46186"/>
              </a:xfrm>
              <a:custGeom>
                <a:avLst/>
                <a:gdLst/>
                <a:ahLst/>
                <a:cxnLst>
                  <a:cxn ang="0">
                    <a:pos x="wd2" y="hd2"/>
                  </a:cxn>
                  <a:cxn ang="5400000">
                    <a:pos x="wd2" y="hd2"/>
                  </a:cxn>
                  <a:cxn ang="10800000">
                    <a:pos x="wd2" y="hd2"/>
                  </a:cxn>
                  <a:cxn ang="16200000">
                    <a:pos x="wd2" y="hd2"/>
                  </a:cxn>
                </a:cxnLst>
                <a:rect l="0" t="0" r="r" b="b"/>
                <a:pathLst>
                  <a:path w="21600" h="21600" extrusionOk="0">
                    <a:moveTo>
                      <a:pt x="11704" y="0"/>
                    </a:moveTo>
                    <a:lnTo>
                      <a:pt x="0" y="5659"/>
                    </a:lnTo>
                    <a:lnTo>
                      <a:pt x="2963" y="18412"/>
                    </a:lnTo>
                    <a:lnTo>
                      <a:pt x="21600" y="21600"/>
                    </a:lnTo>
                    <a:lnTo>
                      <a:pt x="21600" y="6494"/>
                    </a:lnTo>
                    <a:lnTo>
                      <a:pt x="11704"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93" name="Shape 257">
                <a:extLst>
                  <a:ext uri="{FF2B5EF4-FFF2-40B4-BE49-F238E27FC236}">
                    <a16:creationId xmlns:a16="http://schemas.microsoft.com/office/drawing/2014/main" id="{4749CEAF-9523-4D49-8D5A-8F8C484750D3}"/>
                  </a:ext>
                </a:extLst>
              </p:cNvPr>
              <p:cNvSpPr/>
              <p:nvPr/>
            </p:nvSpPr>
            <p:spPr>
              <a:xfrm>
                <a:off x="3651025" y="3677459"/>
                <a:ext cx="46533" cy="30455"/>
              </a:xfrm>
              <a:custGeom>
                <a:avLst/>
                <a:gdLst/>
                <a:ahLst/>
                <a:cxnLst>
                  <a:cxn ang="0">
                    <a:pos x="wd2" y="hd2"/>
                  </a:cxn>
                  <a:cxn ang="5400000">
                    <a:pos x="wd2" y="hd2"/>
                  </a:cxn>
                  <a:cxn ang="10800000">
                    <a:pos x="wd2" y="hd2"/>
                  </a:cxn>
                  <a:cxn ang="16200000">
                    <a:pos x="wd2" y="hd2"/>
                  </a:cxn>
                </a:cxnLst>
                <a:rect l="0" t="0" r="r" b="b"/>
                <a:pathLst>
                  <a:path w="21600" h="21600" extrusionOk="0">
                    <a:moveTo>
                      <a:pt x="17341" y="1756"/>
                    </a:moveTo>
                    <a:lnTo>
                      <a:pt x="5869" y="0"/>
                    </a:lnTo>
                    <a:lnTo>
                      <a:pt x="0" y="5101"/>
                    </a:lnTo>
                    <a:lnTo>
                      <a:pt x="11023" y="21600"/>
                    </a:lnTo>
                    <a:lnTo>
                      <a:pt x="21600" y="19642"/>
                    </a:lnTo>
                    <a:lnTo>
                      <a:pt x="17341" y="1756"/>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94" name="Shape 258">
                <a:extLst>
                  <a:ext uri="{FF2B5EF4-FFF2-40B4-BE49-F238E27FC236}">
                    <a16:creationId xmlns:a16="http://schemas.microsoft.com/office/drawing/2014/main" id="{7313B1BC-5BC9-413B-8F5D-5E1292BB9937}"/>
                  </a:ext>
                </a:extLst>
              </p:cNvPr>
              <p:cNvSpPr/>
              <p:nvPr/>
            </p:nvSpPr>
            <p:spPr>
              <a:xfrm>
                <a:off x="3188188" y="3929048"/>
                <a:ext cx="58959" cy="39351"/>
              </a:xfrm>
              <a:custGeom>
                <a:avLst/>
                <a:gdLst/>
                <a:ahLst/>
                <a:cxnLst>
                  <a:cxn ang="0">
                    <a:pos x="wd2" y="hd2"/>
                  </a:cxn>
                  <a:cxn ang="5400000">
                    <a:pos x="wd2" y="hd2"/>
                  </a:cxn>
                  <a:cxn ang="10800000">
                    <a:pos x="wd2" y="hd2"/>
                  </a:cxn>
                  <a:cxn ang="16200000">
                    <a:pos x="wd2" y="hd2"/>
                  </a:cxn>
                </a:cxnLst>
                <a:rect l="0" t="0" r="r" b="b"/>
                <a:pathLst>
                  <a:path w="21600" h="21600" extrusionOk="0">
                    <a:moveTo>
                      <a:pt x="3640" y="1640"/>
                    </a:moveTo>
                    <a:lnTo>
                      <a:pt x="0" y="7796"/>
                    </a:lnTo>
                    <a:lnTo>
                      <a:pt x="2602" y="18763"/>
                    </a:lnTo>
                    <a:lnTo>
                      <a:pt x="14365" y="21600"/>
                    </a:lnTo>
                    <a:lnTo>
                      <a:pt x="21600" y="10799"/>
                    </a:lnTo>
                    <a:lnTo>
                      <a:pt x="12284" y="0"/>
                    </a:lnTo>
                    <a:lnTo>
                      <a:pt x="3640" y="164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95" name="Shape 259">
                <a:extLst>
                  <a:ext uri="{FF2B5EF4-FFF2-40B4-BE49-F238E27FC236}">
                    <a16:creationId xmlns:a16="http://schemas.microsoft.com/office/drawing/2014/main" id="{CCAE96FC-2252-4D79-A081-4EB9781EA30D}"/>
                  </a:ext>
                </a:extLst>
              </p:cNvPr>
              <p:cNvSpPr/>
              <p:nvPr/>
            </p:nvSpPr>
            <p:spPr>
              <a:xfrm>
                <a:off x="4227974" y="3994335"/>
                <a:ext cx="62547" cy="37863"/>
              </a:xfrm>
              <a:custGeom>
                <a:avLst/>
                <a:gdLst/>
                <a:ahLst/>
                <a:cxnLst>
                  <a:cxn ang="0">
                    <a:pos x="wd2" y="hd2"/>
                  </a:cxn>
                  <a:cxn ang="5400000">
                    <a:pos x="wd2" y="hd2"/>
                  </a:cxn>
                  <a:cxn ang="10800000">
                    <a:pos x="wd2" y="hd2"/>
                  </a:cxn>
                  <a:cxn ang="16200000">
                    <a:pos x="wd2" y="hd2"/>
                  </a:cxn>
                </a:cxnLst>
                <a:rect l="0" t="0" r="r" b="b"/>
                <a:pathLst>
                  <a:path w="21600" h="21600" extrusionOk="0">
                    <a:moveTo>
                      <a:pt x="13908" y="0"/>
                    </a:moveTo>
                    <a:lnTo>
                      <a:pt x="4923" y="5629"/>
                    </a:lnTo>
                    <a:lnTo>
                      <a:pt x="0" y="15233"/>
                    </a:lnTo>
                    <a:lnTo>
                      <a:pt x="11838" y="21600"/>
                    </a:lnTo>
                    <a:lnTo>
                      <a:pt x="21600" y="13561"/>
                    </a:lnTo>
                    <a:lnTo>
                      <a:pt x="13908"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96" name="Shape 260">
                <a:extLst>
                  <a:ext uri="{FF2B5EF4-FFF2-40B4-BE49-F238E27FC236}">
                    <a16:creationId xmlns:a16="http://schemas.microsoft.com/office/drawing/2014/main" id="{E1DBBC33-A276-4611-B808-CF65D02DFF72}"/>
                  </a:ext>
                </a:extLst>
              </p:cNvPr>
              <p:cNvSpPr/>
              <p:nvPr/>
            </p:nvSpPr>
            <p:spPr>
              <a:xfrm>
                <a:off x="4204485" y="4053063"/>
                <a:ext cx="52939" cy="35417"/>
              </a:xfrm>
              <a:custGeom>
                <a:avLst/>
                <a:gdLst/>
                <a:ahLst/>
                <a:cxnLst>
                  <a:cxn ang="0">
                    <a:pos x="wd2" y="hd2"/>
                  </a:cxn>
                  <a:cxn ang="5400000">
                    <a:pos x="wd2" y="hd2"/>
                  </a:cxn>
                  <a:cxn ang="10800000">
                    <a:pos x="wd2" y="hd2"/>
                  </a:cxn>
                  <a:cxn ang="16200000">
                    <a:pos x="wd2" y="hd2"/>
                  </a:cxn>
                </a:cxnLst>
                <a:rect l="0" t="0" r="r" b="b"/>
                <a:pathLst>
                  <a:path w="21600" h="21600" extrusionOk="0">
                    <a:moveTo>
                      <a:pt x="9631" y="0"/>
                    </a:moveTo>
                    <a:lnTo>
                      <a:pt x="0" y="4044"/>
                    </a:lnTo>
                    <a:lnTo>
                      <a:pt x="1813" y="14722"/>
                    </a:lnTo>
                    <a:lnTo>
                      <a:pt x="18125" y="21600"/>
                    </a:lnTo>
                    <a:lnTo>
                      <a:pt x="21600" y="6160"/>
                    </a:lnTo>
                    <a:lnTo>
                      <a:pt x="9631"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97" name="Shape 261">
                <a:extLst>
                  <a:ext uri="{FF2B5EF4-FFF2-40B4-BE49-F238E27FC236}">
                    <a16:creationId xmlns:a16="http://schemas.microsoft.com/office/drawing/2014/main" id="{42333248-7017-4476-B6FA-9235CF9AA27E}"/>
                  </a:ext>
                </a:extLst>
              </p:cNvPr>
              <p:cNvSpPr/>
              <p:nvPr/>
            </p:nvSpPr>
            <p:spPr>
              <a:xfrm>
                <a:off x="4319237" y="4094221"/>
                <a:ext cx="66664" cy="42584"/>
              </a:xfrm>
              <a:custGeom>
                <a:avLst/>
                <a:gdLst/>
                <a:ahLst/>
                <a:cxnLst>
                  <a:cxn ang="0">
                    <a:pos x="wd2" y="hd2"/>
                  </a:cxn>
                  <a:cxn ang="5400000">
                    <a:pos x="wd2" y="hd2"/>
                  </a:cxn>
                  <a:cxn ang="10800000">
                    <a:pos x="wd2" y="hd2"/>
                  </a:cxn>
                  <a:cxn ang="16200000">
                    <a:pos x="wd2" y="hd2"/>
                  </a:cxn>
                </a:cxnLst>
                <a:rect l="0" t="0" r="r" b="b"/>
                <a:pathLst>
                  <a:path w="21600" h="21600" extrusionOk="0">
                    <a:moveTo>
                      <a:pt x="11523" y="6376"/>
                    </a:moveTo>
                    <a:lnTo>
                      <a:pt x="4204" y="0"/>
                    </a:lnTo>
                    <a:lnTo>
                      <a:pt x="0" y="8047"/>
                    </a:lnTo>
                    <a:lnTo>
                      <a:pt x="10142" y="21600"/>
                    </a:lnTo>
                    <a:lnTo>
                      <a:pt x="18861" y="21123"/>
                    </a:lnTo>
                    <a:lnTo>
                      <a:pt x="21600" y="13528"/>
                    </a:lnTo>
                    <a:lnTo>
                      <a:pt x="16408" y="10012"/>
                    </a:lnTo>
                    <a:lnTo>
                      <a:pt x="11523" y="6376"/>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98" name="Shape 262">
                <a:extLst>
                  <a:ext uri="{FF2B5EF4-FFF2-40B4-BE49-F238E27FC236}">
                    <a16:creationId xmlns:a16="http://schemas.microsoft.com/office/drawing/2014/main" id="{6BACB33C-7458-40B7-8DD2-C23F14CBE6E6}"/>
                  </a:ext>
                </a:extLst>
              </p:cNvPr>
              <p:cNvSpPr/>
              <p:nvPr/>
            </p:nvSpPr>
            <p:spPr>
              <a:xfrm>
                <a:off x="4395364" y="4061394"/>
                <a:ext cx="41458" cy="43761"/>
              </a:xfrm>
              <a:custGeom>
                <a:avLst/>
                <a:gdLst/>
                <a:ahLst/>
                <a:cxnLst>
                  <a:cxn ang="0">
                    <a:pos x="wd2" y="hd2"/>
                  </a:cxn>
                  <a:cxn ang="5400000">
                    <a:pos x="wd2" y="hd2"/>
                  </a:cxn>
                  <a:cxn ang="10800000">
                    <a:pos x="wd2" y="hd2"/>
                  </a:cxn>
                  <a:cxn ang="16200000">
                    <a:pos x="wd2" y="hd2"/>
                  </a:cxn>
                </a:cxnLst>
                <a:rect l="0" t="0" r="r" b="b"/>
                <a:pathLst>
                  <a:path w="21600" h="21600" extrusionOk="0">
                    <a:moveTo>
                      <a:pt x="6626" y="0"/>
                    </a:moveTo>
                    <a:lnTo>
                      <a:pt x="20027" y="3450"/>
                    </a:lnTo>
                    <a:lnTo>
                      <a:pt x="21600" y="15366"/>
                    </a:lnTo>
                    <a:lnTo>
                      <a:pt x="15221" y="21600"/>
                    </a:lnTo>
                    <a:lnTo>
                      <a:pt x="10567" y="15424"/>
                    </a:lnTo>
                    <a:lnTo>
                      <a:pt x="0" y="9425"/>
                    </a:lnTo>
                    <a:lnTo>
                      <a:pt x="6626"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99" name="Shape 263">
                <a:extLst>
                  <a:ext uri="{FF2B5EF4-FFF2-40B4-BE49-F238E27FC236}">
                    <a16:creationId xmlns:a16="http://schemas.microsoft.com/office/drawing/2014/main" id="{E90C01C1-A465-4058-A765-37C2B3C242CE}"/>
                  </a:ext>
                </a:extLst>
              </p:cNvPr>
              <p:cNvSpPr/>
              <p:nvPr/>
            </p:nvSpPr>
            <p:spPr>
              <a:xfrm>
                <a:off x="4307119" y="4007277"/>
                <a:ext cx="30437" cy="3043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4009"/>
                    </a:lnTo>
                    <a:lnTo>
                      <a:pt x="4094" y="21600"/>
                    </a:lnTo>
                    <a:lnTo>
                      <a:pt x="19333" y="19457"/>
                    </a:lnTo>
                    <a:lnTo>
                      <a:pt x="21600"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00" name="Shape 264">
                <a:extLst>
                  <a:ext uri="{FF2B5EF4-FFF2-40B4-BE49-F238E27FC236}">
                    <a16:creationId xmlns:a16="http://schemas.microsoft.com/office/drawing/2014/main" id="{2D8A1308-EC0C-4EFC-B0B3-127A01FD7F9A}"/>
                  </a:ext>
                </a:extLst>
              </p:cNvPr>
              <p:cNvSpPr/>
              <p:nvPr/>
            </p:nvSpPr>
            <p:spPr>
              <a:xfrm>
                <a:off x="4464367" y="4065322"/>
                <a:ext cx="46913" cy="44288"/>
              </a:xfrm>
              <a:custGeom>
                <a:avLst/>
                <a:gdLst/>
                <a:ahLst/>
                <a:cxnLst>
                  <a:cxn ang="0">
                    <a:pos x="wd2" y="hd2"/>
                  </a:cxn>
                  <a:cxn ang="5400000">
                    <a:pos x="wd2" y="hd2"/>
                  </a:cxn>
                  <a:cxn ang="10800000">
                    <a:pos x="wd2" y="hd2"/>
                  </a:cxn>
                  <a:cxn ang="16200000">
                    <a:pos x="wd2" y="hd2"/>
                  </a:cxn>
                </a:cxnLst>
                <a:rect l="0" t="0" r="r" b="b"/>
                <a:pathLst>
                  <a:path w="21600" h="21600" extrusionOk="0">
                    <a:moveTo>
                      <a:pt x="4658" y="0"/>
                    </a:moveTo>
                    <a:lnTo>
                      <a:pt x="0" y="6332"/>
                    </a:lnTo>
                    <a:lnTo>
                      <a:pt x="2862" y="20225"/>
                    </a:lnTo>
                    <a:lnTo>
                      <a:pt x="16398" y="21600"/>
                    </a:lnTo>
                    <a:lnTo>
                      <a:pt x="21600" y="13406"/>
                    </a:lnTo>
                    <a:lnTo>
                      <a:pt x="12259" y="9052"/>
                    </a:lnTo>
                    <a:lnTo>
                      <a:pt x="4658"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01" name="Shape 265">
                <a:extLst>
                  <a:ext uri="{FF2B5EF4-FFF2-40B4-BE49-F238E27FC236}">
                    <a16:creationId xmlns:a16="http://schemas.microsoft.com/office/drawing/2014/main" id="{F4911551-649A-4FDD-A6BC-EB56D3AB6AE7}"/>
                  </a:ext>
                </a:extLst>
              </p:cNvPr>
              <p:cNvSpPr/>
              <p:nvPr/>
            </p:nvSpPr>
            <p:spPr>
              <a:xfrm>
                <a:off x="4414539" y="4136938"/>
                <a:ext cx="30436" cy="30436"/>
              </a:xfrm>
              <a:custGeom>
                <a:avLst/>
                <a:gdLst/>
                <a:ahLst/>
                <a:cxnLst>
                  <a:cxn ang="0">
                    <a:pos x="wd2" y="hd2"/>
                  </a:cxn>
                  <a:cxn ang="5400000">
                    <a:pos x="wd2" y="hd2"/>
                  </a:cxn>
                  <a:cxn ang="10800000">
                    <a:pos x="wd2" y="hd2"/>
                  </a:cxn>
                  <a:cxn ang="16200000">
                    <a:pos x="wd2" y="hd2"/>
                  </a:cxn>
                </a:cxnLst>
                <a:rect l="0" t="0" r="r" b="b"/>
                <a:pathLst>
                  <a:path w="21600" h="21600" extrusionOk="0">
                    <a:moveTo>
                      <a:pt x="12399" y="0"/>
                    </a:moveTo>
                    <a:lnTo>
                      <a:pt x="0" y="5671"/>
                    </a:lnTo>
                    <a:lnTo>
                      <a:pt x="2675" y="21600"/>
                    </a:lnTo>
                    <a:lnTo>
                      <a:pt x="21600" y="16063"/>
                    </a:lnTo>
                    <a:lnTo>
                      <a:pt x="12399"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02" name="Shape 266">
                <a:extLst>
                  <a:ext uri="{FF2B5EF4-FFF2-40B4-BE49-F238E27FC236}">
                    <a16:creationId xmlns:a16="http://schemas.microsoft.com/office/drawing/2014/main" id="{E80EAE32-BC2E-4B1F-929E-6A00611FAD88}"/>
                  </a:ext>
                </a:extLst>
              </p:cNvPr>
              <p:cNvSpPr/>
              <p:nvPr/>
            </p:nvSpPr>
            <p:spPr>
              <a:xfrm>
                <a:off x="4470893" y="4140212"/>
                <a:ext cx="38747" cy="62552"/>
              </a:xfrm>
              <a:custGeom>
                <a:avLst/>
                <a:gdLst/>
                <a:ahLst/>
                <a:cxnLst>
                  <a:cxn ang="0">
                    <a:pos x="wd2" y="hd2"/>
                  </a:cxn>
                  <a:cxn ang="5400000">
                    <a:pos x="wd2" y="hd2"/>
                  </a:cxn>
                  <a:cxn ang="10800000">
                    <a:pos x="wd2" y="hd2"/>
                  </a:cxn>
                  <a:cxn ang="16200000">
                    <a:pos x="wd2" y="hd2"/>
                  </a:cxn>
                </a:cxnLst>
                <a:rect l="0" t="0" r="r" b="b"/>
                <a:pathLst>
                  <a:path w="21600" h="21600" extrusionOk="0">
                    <a:moveTo>
                      <a:pt x="5991" y="1945"/>
                    </a:moveTo>
                    <a:lnTo>
                      <a:pt x="1244" y="7766"/>
                    </a:lnTo>
                    <a:lnTo>
                      <a:pt x="0" y="16103"/>
                    </a:lnTo>
                    <a:lnTo>
                      <a:pt x="7919" y="21600"/>
                    </a:lnTo>
                    <a:lnTo>
                      <a:pt x="15566" y="13365"/>
                    </a:lnTo>
                    <a:lnTo>
                      <a:pt x="21600" y="6755"/>
                    </a:lnTo>
                    <a:lnTo>
                      <a:pt x="18962" y="0"/>
                    </a:lnTo>
                    <a:lnTo>
                      <a:pt x="5991" y="1945"/>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03" name="Shape 267">
                <a:extLst>
                  <a:ext uri="{FF2B5EF4-FFF2-40B4-BE49-F238E27FC236}">
                    <a16:creationId xmlns:a16="http://schemas.microsoft.com/office/drawing/2014/main" id="{0B01748E-460F-4BAA-87D9-4AE426292EA5}"/>
                  </a:ext>
                </a:extLst>
              </p:cNvPr>
              <p:cNvSpPr/>
              <p:nvPr/>
            </p:nvSpPr>
            <p:spPr>
              <a:xfrm>
                <a:off x="4492519" y="4213014"/>
                <a:ext cx="34522" cy="32497"/>
              </a:xfrm>
              <a:custGeom>
                <a:avLst/>
                <a:gdLst/>
                <a:ahLst/>
                <a:cxnLst>
                  <a:cxn ang="0">
                    <a:pos x="wd2" y="hd2"/>
                  </a:cxn>
                  <a:cxn ang="5400000">
                    <a:pos x="wd2" y="hd2"/>
                  </a:cxn>
                  <a:cxn ang="10800000">
                    <a:pos x="wd2" y="hd2"/>
                  </a:cxn>
                  <a:cxn ang="16200000">
                    <a:pos x="wd2" y="hd2"/>
                  </a:cxn>
                </a:cxnLst>
                <a:rect l="0" t="0" r="r" b="b"/>
                <a:pathLst>
                  <a:path w="21600" h="21600" extrusionOk="0">
                    <a:moveTo>
                      <a:pt x="14469" y="0"/>
                    </a:moveTo>
                    <a:lnTo>
                      <a:pt x="4293" y="1913"/>
                    </a:lnTo>
                    <a:lnTo>
                      <a:pt x="0" y="13206"/>
                    </a:lnTo>
                    <a:lnTo>
                      <a:pt x="8574" y="21600"/>
                    </a:lnTo>
                    <a:lnTo>
                      <a:pt x="21600" y="15041"/>
                    </a:lnTo>
                    <a:lnTo>
                      <a:pt x="14469"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04" name="Shape 268">
                <a:extLst>
                  <a:ext uri="{FF2B5EF4-FFF2-40B4-BE49-F238E27FC236}">
                    <a16:creationId xmlns:a16="http://schemas.microsoft.com/office/drawing/2014/main" id="{0386B386-DB83-43B4-B30F-C245807F5D68}"/>
                  </a:ext>
                </a:extLst>
              </p:cNvPr>
              <p:cNvSpPr/>
              <p:nvPr/>
            </p:nvSpPr>
            <p:spPr>
              <a:xfrm>
                <a:off x="3962815" y="4397938"/>
                <a:ext cx="46179" cy="63834"/>
              </a:xfrm>
              <a:custGeom>
                <a:avLst/>
                <a:gdLst/>
                <a:ahLst/>
                <a:cxnLst>
                  <a:cxn ang="0">
                    <a:pos x="wd2" y="hd2"/>
                  </a:cxn>
                  <a:cxn ang="5400000">
                    <a:pos x="wd2" y="hd2"/>
                  </a:cxn>
                  <a:cxn ang="10800000">
                    <a:pos x="wd2" y="hd2"/>
                  </a:cxn>
                  <a:cxn ang="16200000">
                    <a:pos x="wd2" y="hd2"/>
                  </a:cxn>
                </a:cxnLst>
                <a:rect l="0" t="0" r="r" b="b"/>
                <a:pathLst>
                  <a:path w="21600" h="21600" extrusionOk="0">
                    <a:moveTo>
                      <a:pt x="5948" y="0"/>
                    </a:moveTo>
                    <a:lnTo>
                      <a:pt x="0" y="7133"/>
                    </a:lnTo>
                    <a:lnTo>
                      <a:pt x="2568" y="12598"/>
                    </a:lnTo>
                    <a:lnTo>
                      <a:pt x="10534" y="21600"/>
                    </a:lnTo>
                    <a:lnTo>
                      <a:pt x="21600" y="16991"/>
                    </a:lnTo>
                    <a:lnTo>
                      <a:pt x="13411" y="4789"/>
                    </a:lnTo>
                    <a:lnTo>
                      <a:pt x="5948"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05" name="Shape 269">
                <a:extLst>
                  <a:ext uri="{FF2B5EF4-FFF2-40B4-BE49-F238E27FC236}">
                    <a16:creationId xmlns:a16="http://schemas.microsoft.com/office/drawing/2014/main" id="{9EE0F081-A494-4271-9EDC-80EA0707F525}"/>
                  </a:ext>
                </a:extLst>
              </p:cNvPr>
              <p:cNvSpPr/>
              <p:nvPr/>
            </p:nvSpPr>
            <p:spPr>
              <a:xfrm>
                <a:off x="3892155" y="4394242"/>
                <a:ext cx="32651" cy="54917"/>
              </a:xfrm>
              <a:custGeom>
                <a:avLst/>
                <a:gdLst/>
                <a:ahLst/>
                <a:cxnLst>
                  <a:cxn ang="0">
                    <a:pos x="wd2" y="hd2"/>
                  </a:cxn>
                  <a:cxn ang="5400000">
                    <a:pos x="wd2" y="hd2"/>
                  </a:cxn>
                  <a:cxn ang="10800000">
                    <a:pos x="wd2" y="hd2"/>
                  </a:cxn>
                  <a:cxn ang="16200000">
                    <a:pos x="wd2" y="hd2"/>
                  </a:cxn>
                </a:cxnLst>
                <a:rect l="0" t="0" r="r" b="b"/>
                <a:pathLst>
                  <a:path w="21600" h="21600" extrusionOk="0">
                    <a:moveTo>
                      <a:pt x="2385" y="0"/>
                    </a:moveTo>
                    <a:lnTo>
                      <a:pt x="0" y="5129"/>
                    </a:lnTo>
                    <a:lnTo>
                      <a:pt x="434" y="19428"/>
                    </a:lnTo>
                    <a:lnTo>
                      <a:pt x="19135" y="21600"/>
                    </a:lnTo>
                    <a:lnTo>
                      <a:pt x="21600" y="14762"/>
                    </a:lnTo>
                    <a:lnTo>
                      <a:pt x="16043" y="5916"/>
                    </a:lnTo>
                    <a:lnTo>
                      <a:pt x="2385"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06" name="Shape 270">
                <a:extLst>
                  <a:ext uri="{FF2B5EF4-FFF2-40B4-BE49-F238E27FC236}">
                    <a16:creationId xmlns:a16="http://schemas.microsoft.com/office/drawing/2014/main" id="{B701162F-0D55-4982-8883-BECEBF379ACF}"/>
                  </a:ext>
                </a:extLst>
              </p:cNvPr>
              <p:cNvSpPr/>
              <p:nvPr/>
            </p:nvSpPr>
            <p:spPr>
              <a:xfrm>
                <a:off x="4516351" y="4271753"/>
                <a:ext cx="37322" cy="34757"/>
              </a:xfrm>
              <a:custGeom>
                <a:avLst/>
                <a:gdLst/>
                <a:ahLst/>
                <a:cxnLst>
                  <a:cxn ang="0">
                    <a:pos x="wd2" y="hd2"/>
                  </a:cxn>
                  <a:cxn ang="5400000">
                    <a:pos x="wd2" y="hd2"/>
                  </a:cxn>
                  <a:cxn ang="10800000">
                    <a:pos x="wd2" y="hd2"/>
                  </a:cxn>
                  <a:cxn ang="16200000">
                    <a:pos x="wd2" y="hd2"/>
                  </a:cxn>
                </a:cxnLst>
                <a:rect l="0" t="0" r="r" b="b"/>
                <a:pathLst>
                  <a:path w="21600" h="21600" extrusionOk="0">
                    <a:moveTo>
                      <a:pt x="8114" y="0"/>
                    </a:moveTo>
                    <a:lnTo>
                      <a:pt x="0" y="7264"/>
                    </a:lnTo>
                    <a:lnTo>
                      <a:pt x="3469" y="21600"/>
                    </a:lnTo>
                    <a:lnTo>
                      <a:pt x="16705" y="21600"/>
                    </a:lnTo>
                    <a:lnTo>
                      <a:pt x="21600" y="6746"/>
                    </a:lnTo>
                    <a:lnTo>
                      <a:pt x="8114"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07" name="Shape 271">
                <a:extLst>
                  <a:ext uri="{FF2B5EF4-FFF2-40B4-BE49-F238E27FC236}">
                    <a16:creationId xmlns:a16="http://schemas.microsoft.com/office/drawing/2014/main" id="{461F46F1-DBD8-4A40-A782-06097A004159}"/>
                  </a:ext>
                </a:extLst>
              </p:cNvPr>
              <p:cNvSpPr/>
              <p:nvPr/>
            </p:nvSpPr>
            <p:spPr>
              <a:xfrm>
                <a:off x="4475272" y="4327480"/>
                <a:ext cx="30436" cy="44044"/>
              </a:xfrm>
              <a:custGeom>
                <a:avLst/>
                <a:gdLst/>
                <a:ahLst/>
                <a:cxnLst>
                  <a:cxn ang="0">
                    <a:pos x="wd2" y="hd2"/>
                  </a:cxn>
                  <a:cxn ang="5400000">
                    <a:pos x="wd2" y="hd2"/>
                  </a:cxn>
                  <a:cxn ang="10800000">
                    <a:pos x="wd2" y="hd2"/>
                  </a:cxn>
                  <a:cxn ang="16200000">
                    <a:pos x="wd2" y="hd2"/>
                  </a:cxn>
                </a:cxnLst>
                <a:rect l="0" t="0" r="r" b="b"/>
                <a:pathLst>
                  <a:path w="21600" h="21600" extrusionOk="0">
                    <a:moveTo>
                      <a:pt x="7562" y="0"/>
                    </a:moveTo>
                    <a:lnTo>
                      <a:pt x="0" y="10629"/>
                    </a:lnTo>
                    <a:lnTo>
                      <a:pt x="15829" y="21600"/>
                    </a:lnTo>
                    <a:lnTo>
                      <a:pt x="21600" y="10397"/>
                    </a:lnTo>
                    <a:lnTo>
                      <a:pt x="7562"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08" name="Shape 272">
                <a:extLst>
                  <a:ext uri="{FF2B5EF4-FFF2-40B4-BE49-F238E27FC236}">
                    <a16:creationId xmlns:a16="http://schemas.microsoft.com/office/drawing/2014/main" id="{A50475D1-CB07-4F43-99F8-94E51AB00530}"/>
                  </a:ext>
                </a:extLst>
              </p:cNvPr>
              <p:cNvSpPr/>
              <p:nvPr/>
            </p:nvSpPr>
            <p:spPr>
              <a:xfrm>
                <a:off x="4449294" y="4383805"/>
                <a:ext cx="30436" cy="34182"/>
              </a:xfrm>
              <a:custGeom>
                <a:avLst/>
                <a:gdLst/>
                <a:ahLst/>
                <a:cxnLst>
                  <a:cxn ang="0">
                    <a:pos x="wd2" y="hd2"/>
                  </a:cxn>
                  <a:cxn ang="5400000">
                    <a:pos x="wd2" y="hd2"/>
                  </a:cxn>
                  <a:cxn ang="10800000">
                    <a:pos x="wd2" y="hd2"/>
                  </a:cxn>
                  <a:cxn ang="16200000">
                    <a:pos x="wd2" y="hd2"/>
                  </a:cxn>
                </a:cxnLst>
                <a:rect l="0" t="0" r="r" b="b"/>
                <a:pathLst>
                  <a:path w="21600" h="21600" extrusionOk="0">
                    <a:moveTo>
                      <a:pt x="5327" y="736"/>
                    </a:moveTo>
                    <a:lnTo>
                      <a:pt x="0" y="9568"/>
                    </a:lnTo>
                    <a:lnTo>
                      <a:pt x="5961" y="21600"/>
                    </a:lnTo>
                    <a:lnTo>
                      <a:pt x="20526" y="21266"/>
                    </a:lnTo>
                    <a:lnTo>
                      <a:pt x="21600" y="0"/>
                    </a:lnTo>
                    <a:lnTo>
                      <a:pt x="5327" y="736"/>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09" name="Shape 273">
                <a:extLst>
                  <a:ext uri="{FF2B5EF4-FFF2-40B4-BE49-F238E27FC236}">
                    <a16:creationId xmlns:a16="http://schemas.microsoft.com/office/drawing/2014/main" id="{716710EE-7203-445B-81E9-B00522975226}"/>
                  </a:ext>
                </a:extLst>
              </p:cNvPr>
              <p:cNvSpPr/>
              <p:nvPr/>
            </p:nvSpPr>
            <p:spPr>
              <a:xfrm>
                <a:off x="4411823" y="4449157"/>
                <a:ext cx="30436" cy="41001"/>
              </a:xfrm>
              <a:custGeom>
                <a:avLst/>
                <a:gdLst/>
                <a:ahLst/>
                <a:cxnLst>
                  <a:cxn ang="0">
                    <a:pos x="wd2" y="hd2"/>
                  </a:cxn>
                  <a:cxn ang="5400000">
                    <a:pos x="wd2" y="hd2"/>
                  </a:cxn>
                  <a:cxn ang="10800000">
                    <a:pos x="wd2" y="hd2"/>
                  </a:cxn>
                  <a:cxn ang="16200000">
                    <a:pos x="wd2" y="hd2"/>
                  </a:cxn>
                </a:cxnLst>
                <a:rect l="0" t="0" r="r" b="b"/>
                <a:pathLst>
                  <a:path w="21600" h="21600" extrusionOk="0">
                    <a:moveTo>
                      <a:pt x="11127" y="0"/>
                    </a:moveTo>
                    <a:lnTo>
                      <a:pt x="0" y="9654"/>
                    </a:lnTo>
                    <a:lnTo>
                      <a:pt x="3308" y="20145"/>
                    </a:lnTo>
                    <a:lnTo>
                      <a:pt x="16235" y="21600"/>
                    </a:lnTo>
                    <a:lnTo>
                      <a:pt x="21600" y="6811"/>
                    </a:lnTo>
                    <a:lnTo>
                      <a:pt x="11127"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10" name="Shape 274">
                <a:extLst>
                  <a:ext uri="{FF2B5EF4-FFF2-40B4-BE49-F238E27FC236}">
                    <a16:creationId xmlns:a16="http://schemas.microsoft.com/office/drawing/2014/main" id="{F04FA3D9-BF16-4680-AD42-388A1CCE6713}"/>
                  </a:ext>
                </a:extLst>
              </p:cNvPr>
              <p:cNvSpPr/>
              <p:nvPr/>
            </p:nvSpPr>
            <p:spPr>
              <a:xfrm>
                <a:off x="4386844" y="4543345"/>
                <a:ext cx="72864" cy="71678"/>
              </a:xfrm>
              <a:custGeom>
                <a:avLst/>
                <a:gdLst/>
                <a:ahLst/>
                <a:cxnLst>
                  <a:cxn ang="0">
                    <a:pos x="wd2" y="hd2"/>
                  </a:cxn>
                  <a:cxn ang="5400000">
                    <a:pos x="wd2" y="hd2"/>
                  </a:cxn>
                  <a:cxn ang="10800000">
                    <a:pos x="wd2" y="hd2"/>
                  </a:cxn>
                  <a:cxn ang="16200000">
                    <a:pos x="wd2" y="hd2"/>
                  </a:cxn>
                </a:cxnLst>
                <a:rect l="0" t="0" r="r" b="b"/>
                <a:pathLst>
                  <a:path w="21600" h="21600" extrusionOk="0">
                    <a:moveTo>
                      <a:pt x="14904" y="867"/>
                    </a:moveTo>
                    <a:lnTo>
                      <a:pt x="8331" y="0"/>
                    </a:lnTo>
                    <a:lnTo>
                      <a:pt x="2816" y="2733"/>
                    </a:lnTo>
                    <a:lnTo>
                      <a:pt x="6666" y="6397"/>
                    </a:lnTo>
                    <a:lnTo>
                      <a:pt x="2928" y="11440"/>
                    </a:lnTo>
                    <a:lnTo>
                      <a:pt x="0" y="16520"/>
                    </a:lnTo>
                    <a:lnTo>
                      <a:pt x="4665" y="21600"/>
                    </a:lnTo>
                    <a:lnTo>
                      <a:pt x="15744" y="21600"/>
                    </a:lnTo>
                    <a:lnTo>
                      <a:pt x="16989" y="14679"/>
                    </a:lnTo>
                    <a:lnTo>
                      <a:pt x="17830" y="9194"/>
                    </a:lnTo>
                    <a:lnTo>
                      <a:pt x="21600" y="3831"/>
                    </a:lnTo>
                    <a:lnTo>
                      <a:pt x="19513" y="592"/>
                    </a:lnTo>
                    <a:lnTo>
                      <a:pt x="14904" y="867"/>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11" name="Shape 275">
                <a:extLst>
                  <a:ext uri="{FF2B5EF4-FFF2-40B4-BE49-F238E27FC236}">
                    <a16:creationId xmlns:a16="http://schemas.microsoft.com/office/drawing/2014/main" id="{5A242CCB-5EF8-4F63-9F7D-331E0FC00674}"/>
                  </a:ext>
                </a:extLst>
              </p:cNvPr>
              <p:cNvSpPr/>
              <p:nvPr/>
            </p:nvSpPr>
            <p:spPr>
              <a:xfrm>
                <a:off x="4595267" y="4361664"/>
                <a:ext cx="47833" cy="40772"/>
              </a:xfrm>
              <a:custGeom>
                <a:avLst/>
                <a:gdLst/>
                <a:ahLst/>
                <a:cxnLst>
                  <a:cxn ang="0">
                    <a:pos x="wd2" y="hd2"/>
                  </a:cxn>
                  <a:cxn ang="5400000">
                    <a:pos x="wd2" y="hd2"/>
                  </a:cxn>
                  <a:cxn ang="10800000">
                    <a:pos x="wd2" y="hd2"/>
                  </a:cxn>
                  <a:cxn ang="16200000">
                    <a:pos x="wd2" y="hd2"/>
                  </a:cxn>
                </a:cxnLst>
                <a:rect l="0" t="0" r="r" b="b"/>
                <a:pathLst>
                  <a:path w="21600" h="21600" extrusionOk="0">
                    <a:moveTo>
                      <a:pt x="6204" y="0"/>
                    </a:moveTo>
                    <a:lnTo>
                      <a:pt x="385" y="10265"/>
                    </a:lnTo>
                    <a:lnTo>
                      <a:pt x="0" y="20853"/>
                    </a:lnTo>
                    <a:lnTo>
                      <a:pt x="13483" y="21600"/>
                    </a:lnTo>
                    <a:lnTo>
                      <a:pt x="21600" y="18646"/>
                    </a:lnTo>
                    <a:lnTo>
                      <a:pt x="9663" y="9934"/>
                    </a:lnTo>
                    <a:lnTo>
                      <a:pt x="6204"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12" name="Shape 276">
                <a:extLst>
                  <a:ext uri="{FF2B5EF4-FFF2-40B4-BE49-F238E27FC236}">
                    <a16:creationId xmlns:a16="http://schemas.microsoft.com/office/drawing/2014/main" id="{3E1DEFFA-7F99-48C0-A671-87B08335ACCD}"/>
                  </a:ext>
                </a:extLst>
              </p:cNvPr>
              <p:cNvSpPr/>
              <p:nvPr/>
            </p:nvSpPr>
            <p:spPr>
              <a:xfrm>
                <a:off x="4462989" y="4494287"/>
                <a:ext cx="39953" cy="30437"/>
              </a:xfrm>
              <a:custGeom>
                <a:avLst/>
                <a:gdLst/>
                <a:ahLst/>
                <a:cxnLst>
                  <a:cxn ang="0">
                    <a:pos x="wd2" y="hd2"/>
                  </a:cxn>
                  <a:cxn ang="5400000">
                    <a:pos x="wd2" y="hd2"/>
                  </a:cxn>
                  <a:cxn ang="10800000">
                    <a:pos x="wd2" y="hd2"/>
                  </a:cxn>
                  <a:cxn ang="16200000">
                    <a:pos x="wd2" y="hd2"/>
                  </a:cxn>
                </a:cxnLst>
                <a:rect l="0" t="0" r="r" b="b"/>
                <a:pathLst>
                  <a:path w="21600" h="21600" extrusionOk="0">
                    <a:moveTo>
                      <a:pt x="17020" y="3205"/>
                    </a:moveTo>
                    <a:lnTo>
                      <a:pt x="7333" y="0"/>
                    </a:lnTo>
                    <a:lnTo>
                      <a:pt x="0" y="8914"/>
                    </a:lnTo>
                    <a:lnTo>
                      <a:pt x="4730" y="21600"/>
                    </a:lnTo>
                    <a:lnTo>
                      <a:pt x="21600" y="21600"/>
                    </a:lnTo>
                    <a:lnTo>
                      <a:pt x="17020" y="3205"/>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13" name="Shape 277">
                <a:extLst>
                  <a:ext uri="{FF2B5EF4-FFF2-40B4-BE49-F238E27FC236}">
                    <a16:creationId xmlns:a16="http://schemas.microsoft.com/office/drawing/2014/main" id="{019D2D72-2FEA-43C2-8DF4-F300A4BC0E1D}"/>
                  </a:ext>
                </a:extLst>
              </p:cNvPr>
              <p:cNvSpPr/>
              <p:nvPr/>
            </p:nvSpPr>
            <p:spPr>
              <a:xfrm>
                <a:off x="1403174" y="1855027"/>
                <a:ext cx="154797" cy="138182"/>
              </a:xfrm>
              <a:custGeom>
                <a:avLst/>
                <a:gdLst/>
                <a:ahLst/>
                <a:cxnLst>
                  <a:cxn ang="0">
                    <a:pos x="wd2" y="hd2"/>
                  </a:cxn>
                  <a:cxn ang="5400000">
                    <a:pos x="wd2" y="hd2"/>
                  </a:cxn>
                  <a:cxn ang="10800000">
                    <a:pos x="wd2" y="hd2"/>
                  </a:cxn>
                  <a:cxn ang="16200000">
                    <a:pos x="wd2" y="hd2"/>
                  </a:cxn>
                </a:cxnLst>
                <a:rect l="0" t="0" r="r" b="b"/>
                <a:pathLst>
                  <a:path w="21600" h="21600" extrusionOk="0">
                    <a:moveTo>
                      <a:pt x="6117" y="146"/>
                    </a:moveTo>
                    <a:lnTo>
                      <a:pt x="3502" y="1771"/>
                    </a:lnTo>
                    <a:lnTo>
                      <a:pt x="0" y="2955"/>
                    </a:lnTo>
                    <a:lnTo>
                      <a:pt x="708" y="6398"/>
                    </a:lnTo>
                    <a:lnTo>
                      <a:pt x="4312" y="9886"/>
                    </a:lnTo>
                    <a:lnTo>
                      <a:pt x="5691" y="13614"/>
                    </a:lnTo>
                    <a:lnTo>
                      <a:pt x="8851" y="16257"/>
                    </a:lnTo>
                    <a:lnTo>
                      <a:pt x="10889" y="16698"/>
                    </a:lnTo>
                    <a:lnTo>
                      <a:pt x="13588" y="19994"/>
                    </a:lnTo>
                    <a:lnTo>
                      <a:pt x="16096" y="21600"/>
                    </a:lnTo>
                    <a:lnTo>
                      <a:pt x="19232" y="21600"/>
                    </a:lnTo>
                    <a:lnTo>
                      <a:pt x="21394" y="20279"/>
                    </a:lnTo>
                    <a:lnTo>
                      <a:pt x="21600" y="17056"/>
                    </a:lnTo>
                    <a:lnTo>
                      <a:pt x="19554" y="13017"/>
                    </a:lnTo>
                    <a:lnTo>
                      <a:pt x="19158" y="10006"/>
                    </a:lnTo>
                    <a:lnTo>
                      <a:pt x="17375" y="5389"/>
                    </a:lnTo>
                    <a:lnTo>
                      <a:pt x="14075" y="5389"/>
                    </a:lnTo>
                    <a:lnTo>
                      <a:pt x="11979" y="3782"/>
                    </a:lnTo>
                    <a:lnTo>
                      <a:pt x="10857" y="1891"/>
                    </a:lnTo>
                    <a:lnTo>
                      <a:pt x="8909" y="0"/>
                    </a:lnTo>
                    <a:lnTo>
                      <a:pt x="6117" y="146"/>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14" name="Shape 278">
                <a:extLst>
                  <a:ext uri="{FF2B5EF4-FFF2-40B4-BE49-F238E27FC236}">
                    <a16:creationId xmlns:a16="http://schemas.microsoft.com/office/drawing/2014/main" id="{A534148E-FCB0-427B-AD47-3D4CBB8A675D}"/>
                  </a:ext>
                </a:extLst>
              </p:cNvPr>
              <p:cNvSpPr/>
              <p:nvPr/>
            </p:nvSpPr>
            <p:spPr>
              <a:xfrm>
                <a:off x="1398331" y="1506001"/>
                <a:ext cx="82284" cy="90795"/>
              </a:xfrm>
              <a:custGeom>
                <a:avLst/>
                <a:gdLst/>
                <a:ahLst/>
                <a:cxnLst>
                  <a:cxn ang="0">
                    <a:pos x="wd2" y="hd2"/>
                  </a:cxn>
                  <a:cxn ang="5400000">
                    <a:pos x="wd2" y="hd2"/>
                  </a:cxn>
                  <a:cxn ang="10800000">
                    <a:pos x="wd2" y="hd2"/>
                  </a:cxn>
                  <a:cxn ang="16200000">
                    <a:pos x="wd2" y="hd2"/>
                  </a:cxn>
                </a:cxnLst>
                <a:rect l="0" t="0" r="r" b="b"/>
                <a:pathLst>
                  <a:path w="21600" h="21600" extrusionOk="0">
                    <a:moveTo>
                      <a:pt x="16460" y="0"/>
                    </a:moveTo>
                    <a:lnTo>
                      <a:pt x="9924" y="1900"/>
                    </a:lnTo>
                    <a:lnTo>
                      <a:pt x="4018" y="6719"/>
                    </a:lnTo>
                    <a:lnTo>
                      <a:pt x="0" y="11386"/>
                    </a:lnTo>
                    <a:lnTo>
                      <a:pt x="7069" y="14725"/>
                    </a:lnTo>
                    <a:lnTo>
                      <a:pt x="9537" y="18288"/>
                    </a:lnTo>
                    <a:lnTo>
                      <a:pt x="13341" y="21600"/>
                    </a:lnTo>
                    <a:lnTo>
                      <a:pt x="16742" y="19182"/>
                    </a:lnTo>
                    <a:lnTo>
                      <a:pt x="14522" y="13942"/>
                    </a:lnTo>
                    <a:lnTo>
                      <a:pt x="18621" y="10604"/>
                    </a:lnTo>
                    <a:lnTo>
                      <a:pt x="21600" y="4903"/>
                    </a:lnTo>
                    <a:lnTo>
                      <a:pt x="16460"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15" name="Shape 279">
                <a:extLst>
                  <a:ext uri="{FF2B5EF4-FFF2-40B4-BE49-F238E27FC236}">
                    <a16:creationId xmlns:a16="http://schemas.microsoft.com/office/drawing/2014/main" id="{CDB98187-6CD6-4923-885D-D1F0ABA32820}"/>
                  </a:ext>
                </a:extLst>
              </p:cNvPr>
              <p:cNvSpPr/>
              <p:nvPr/>
            </p:nvSpPr>
            <p:spPr>
              <a:xfrm>
                <a:off x="1390740" y="1402059"/>
                <a:ext cx="52207" cy="78745"/>
              </a:xfrm>
              <a:custGeom>
                <a:avLst/>
                <a:gdLst/>
                <a:ahLst/>
                <a:cxnLst>
                  <a:cxn ang="0">
                    <a:pos x="wd2" y="hd2"/>
                  </a:cxn>
                  <a:cxn ang="5400000">
                    <a:pos x="wd2" y="hd2"/>
                  </a:cxn>
                  <a:cxn ang="10800000">
                    <a:pos x="wd2" y="hd2"/>
                  </a:cxn>
                  <a:cxn ang="16200000">
                    <a:pos x="wd2" y="hd2"/>
                  </a:cxn>
                </a:cxnLst>
                <a:rect l="0" t="0" r="r" b="b"/>
                <a:pathLst>
                  <a:path w="21600" h="21600" extrusionOk="0">
                    <a:moveTo>
                      <a:pt x="15900" y="0"/>
                    </a:moveTo>
                    <a:lnTo>
                      <a:pt x="5701" y="4155"/>
                    </a:lnTo>
                    <a:lnTo>
                      <a:pt x="0" y="9292"/>
                    </a:lnTo>
                    <a:lnTo>
                      <a:pt x="3627" y="15800"/>
                    </a:lnTo>
                    <a:lnTo>
                      <a:pt x="11688" y="21600"/>
                    </a:lnTo>
                    <a:lnTo>
                      <a:pt x="13818" y="14011"/>
                    </a:lnTo>
                    <a:lnTo>
                      <a:pt x="14405" y="8116"/>
                    </a:lnTo>
                    <a:lnTo>
                      <a:pt x="21600" y="3749"/>
                    </a:lnTo>
                    <a:lnTo>
                      <a:pt x="15900"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16" name="Shape 280">
                <a:extLst>
                  <a:ext uri="{FF2B5EF4-FFF2-40B4-BE49-F238E27FC236}">
                    <a16:creationId xmlns:a16="http://schemas.microsoft.com/office/drawing/2014/main" id="{DB14F286-9134-4AEC-83EE-39E861510333}"/>
                  </a:ext>
                </a:extLst>
              </p:cNvPr>
              <p:cNvSpPr/>
              <p:nvPr/>
            </p:nvSpPr>
            <p:spPr>
              <a:xfrm>
                <a:off x="1459448" y="1439178"/>
                <a:ext cx="30436" cy="34546"/>
              </a:xfrm>
              <a:custGeom>
                <a:avLst/>
                <a:gdLst/>
                <a:ahLst/>
                <a:cxnLst>
                  <a:cxn ang="0">
                    <a:pos x="wd2" y="hd2"/>
                  </a:cxn>
                  <a:cxn ang="5400000">
                    <a:pos x="wd2" y="hd2"/>
                  </a:cxn>
                  <a:cxn ang="10800000">
                    <a:pos x="wd2" y="hd2"/>
                  </a:cxn>
                  <a:cxn ang="16200000">
                    <a:pos x="wd2" y="hd2"/>
                  </a:cxn>
                </a:cxnLst>
                <a:rect l="0" t="0" r="r" b="b"/>
                <a:pathLst>
                  <a:path w="21600" h="21600" extrusionOk="0">
                    <a:moveTo>
                      <a:pt x="6929" y="0"/>
                    </a:moveTo>
                    <a:lnTo>
                      <a:pt x="0" y="10904"/>
                    </a:lnTo>
                    <a:lnTo>
                      <a:pt x="10299" y="21600"/>
                    </a:lnTo>
                    <a:lnTo>
                      <a:pt x="21600" y="13776"/>
                    </a:lnTo>
                    <a:lnTo>
                      <a:pt x="19395" y="5259"/>
                    </a:lnTo>
                    <a:lnTo>
                      <a:pt x="6929"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17" name="Shape 281">
                <a:extLst>
                  <a:ext uri="{FF2B5EF4-FFF2-40B4-BE49-F238E27FC236}">
                    <a16:creationId xmlns:a16="http://schemas.microsoft.com/office/drawing/2014/main" id="{D597D146-48CC-4483-AEC8-D5316DEEAD50}"/>
                  </a:ext>
                </a:extLst>
              </p:cNvPr>
              <p:cNvSpPr/>
              <p:nvPr/>
            </p:nvSpPr>
            <p:spPr>
              <a:xfrm>
                <a:off x="417469" y="1377732"/>
                <a:ext cx="169866" cy="79881"/>
              </a:xfrm>
              <a:custGeom>
                <a:avLst/>
                <a:gdLst/>
                <a:ahLst/>
                <a:cxnLst>
                  <a:cxn ang="0">
                    <a:pos x="wd2" y="hd2"/>
                  </a:cxn>
                  <a:cxn ang="5400000">
                    <a:pos x="wd2" y="hd2"/>
                  </a:cxn>
                  <a:cxn ang="10800000">
                    <a:pos x="wd2" y="hd2"/>
                  </a:cxn>
                  <a:cxn ang="16200000">
                    <a:pos x="wd2" y="hd2"/>
                  </a:cxn>
                </a:cxnLst>
                <a:rect l="0" t="0" r="r" b="b"/>
                <a:pathLst>
                  <a:path w="21600" h="21600" extrusionOk="0">
                    <a:moveTo>
                      <a:pt x="17537" y="2831"/>
                    </a:moveTo>
                    <a:lnTo>
                      <a:pt x="10161" y="8024"/>
                    </a:lnTo>
                    <a:lnTo>
                      <a:pt x="5271" y="9340"/>
                    </a:lnTo>
                    <a:lnTo>
                      <a:pt x="1171" y="14295"/>
                    </a:lnTo>
                    <a:lnTo>
                      <a:pt x="0" y="19330"/>
                    </a:lnTo>
                    <a:lnTo>
                      <a:pt x="3343" y="21600"/>
                    </a:lnTo>
                    <a:lnTo>
                      <a:pt x="5268" y="16011"/>
                    </a:lnTo>
                    <a:lnTo>
                      <a:pt x="8817" y="15249"/>
                    </a:lnTo>
                    <a:lnTo>
                      <a:pt x="11276" y="14486"/>
                    </a:lnTo>
                    <a:lnTo>
                      <a:pt x="14517" y="13724"/>
                    </a:lnTo>
                    <a:lnTo>
                      <a:pt x="18179" y="13089"/>
                    </a:lnTo>
                    <a:lnTo>
                      <a:pt x="21239" y="5467"/>
                    </a:lnTo>
                    <a:lnTo>
                      <a:pt x="21600" y="162"/>
                    </a:lnTo>
                    <a:lnTo>
                      <a:pt x="19638" y="0"/>
                    </a:lnTo>
                    <a:lnTo>
                      <a:pt x="17537" y="2831"/>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18" name="Shape 282">
                <a:extLst>
                  <a:ext uri="{FF2B5EF4-FFF2-40B4-BE49-F238E27FC236}">
                    <a16:creationId xmlns:a16="http://schemas.microsoft.com/office/drawing/2014/main" id="{409C5171-26EE-4DE1-83FC-914464E8D01B}"/>
                  </a:ext>
                </a:extLst>
              </p:cNvPr>
              <p:cNvSpPr/>
              <p:nvPr/>
            </p:nvSpPr>
            <p:spPr>
              <a:xfrm>
                <a:off x="3173671" y="4441108"/>
                <a:ext cx="2931709" cy="4402843"/>
              </a:xfrm>
              <a:custGeom>
                <a:avLst/>
                <a:gdLst/>
                <a:ahLst/>
                <a:cxnLst>
                  <a:cxn ang="0">
                    <a:pos x="wd2" y="hd2"/>
                  </a:cxn>
                  <a:cxn ang="5400000">
                    <a:pos x="wd2" y="hd2"/>
                  </a:cxn>
                  <a:cxn ang="10800000">
                    <a:pos x="wd2" y="hd2"/>
                  </a:cxn>
                  <a:cxn ang="16200000">
                    <a:pos x="wd2" y="hd2"/>
                  </a:cxn>
                </a:cxnLst>
                <a:rect l="0" t="0" r="r" b="b"/>
                <a:pathLst>
                  <a:path w="21600" h="21600" extrusionOk="0">
                    <a:moveTo>
                      <a:pt x="869" y="1016"/>
                    </a:moveTo>
                    <a:lnTo>
                      <a:pt x="1153" y="974"/>
                    </a:lnTo>
                    <a:lnTo>
                      <a:pt x="1415" y="1017"/>
                    </a:lnTo>
                    <a:lnTo>
                      <a:pt x="1706" y="1125"/>
                    </a:lnTo>
                    <a:lnTo>
                      <a:pt x="1964" y="1238"/>
                    </a:lnTo>
                    <a:lnTo>
                      <a:pt x="2173" y="1355"/>
                    </a:lnTo>
                    <a:lnTo>
                      <a:pt x="2350" y="1292"/>
                    </a:lnTo>
                    <a:lnTo>
                      <a:pt x="2416" y="1193"/>
                    </a:lnTo>
                    <a:lnTo>
                      <a:pt x="2643" y="1138"/>
                    </a:lnTo>
                    <a:lnTo>
                      <a:pt x="2768" y="931"/>
                    </a:lnTo>
                    <a:lnTo>
                      <a:pt x="2901" y="758"/>
                    </a:lnTo>
                    <a:lnTo>
                      <a:pt x="3075" y="584"/>
                    </a:lnTo>
                    <a:lnTo>
                      <a:pt x="3218" y="492"/>
                    </a:lnTo>
                    <a:lnTo>
                      <a:pt x="3455" y="405"/>
                    </a:lnTo>
                    <a:lnTo>
                      <a:pt x="3796" y="405"/>
                    </a:lnTo>
                    <a:lnTo>
                      <a:pt x="4006" y="344"/>
                    </a:lnTo>
                    <a:lnTo>
                      <a:pt x="4155" y="198"/>
                    </a:lnTo>
                    <a:lnTo>
                      <a:pt x="4308" y="101"/>
                    </a:lnTo>
                    <a:lnTo>
                      <a:pt x="4423" y="34"/>
                    </a:lnTo>
                    <a:lnTo>
                      <a:pt x="4684" y="0"/>
                    </a:lnTo>
                    <a:lnTo>
                      <a:pt x="4809" y="15"/>
                    </a:lnTo>
                    <a:lnTo>
                      <a:pt x="4798" y="104"/>
                    </a:lnTo>
                    <a:lnTo>
                      <a:pt x="4656" y="173"/>
                    </a:lnTo>
                    <a:lnTo>
                      <a:pt x="4518" y="268"/>
                    </a:lnTo>
                    <a:lnTo>
                      <a:pt x="4466" y="385"/>
                    </a:lnTo>
                    <a:lnTo>
                      <a:pt x="4483" y="636"/>
                    </a:lnTo>
                    <a:lnTo>
                      <a:pt x="4421" y="753"/>
                    </a:lnTo>
                    <a:lnTo>
                      <a:pt x="4365" y="838"/>
                    </a:lnTo>
                    <a:lnTo>
                      <a:pt x="4375" y="962"/>
                    </a:lnTo>
                    <a:lnTo>
                      <a:pt x="4434" y="1080"/>
                    </a:lnTo>
                    <a:lnTo>
                      <a:pt x="4626" y="1121"/>
                    </a:lnTo>
                    <a:lnTo>
                      <a:pt x="4821" y="1077"/>
                    </a:lnTo>
                    <a:lnTo>
                      <a:pt x="4911" y="964"/>
                    </a:lnTo>
                    <a:lnTo>
                      <a:pt x="5012" y="863"/>
                    </a:lnTo>
                    <a:lnTo>
                      <a:pt x="5002" y="773"/>
                    </a:lnTo>
                    <a:lnTo>
                      <a:pt x="4888" y="691"/>
                    </a:lnTo>
                    <a:lnTo>
                      <a:pt x="4815" y="594"/>
                    </a:lnTo>
                    <a:cubicBezTo>
                      <a:pt x="4810" y="569"/>
                      <a:pt x="4818" y="543"/>
                      <a:pt x="4835" y="521"/>
                    </a:cubicBezTo>
                    <a:cubicBezTo>
                      <a:pt x="4864" y="484"/>
                      <a:pt x="4917" y="459"/>
                      <a:pt x="4977" y="452"/>
                    </a:cubicBezTo>
                    <a:lnTo>
                      <a:pt x="5179" y="365"/>
                    </a:lnTo>
                    <a:lnTo>
                      <a:pt x="5325" y="234"/>
                    </a:lnTo>
                    <a:lnTo>
                      <a:pt x="5398" y="181"/>
                    </a:lnTo>
                    <a:lnTo>
                      <a:pt x="5513" y="174"/>
                    </a:lnTo>
                    <a:lnTo>
                      <a:pt x="5658" y="180"/>
                    </a:lnTo>
                    <a:lnTo>
                      <a:pt x="5845" y="279"/>
                    </a:lnTo>
                    <a:lnTo>
                      <a:pt x="6023" y="369"/>
                    </a:lnTo>
                    <a:lnTo>
                      <a:pt x="6158" y="486"/>
                    </a:lnTo>
                    <a:lnTo>
                      <a:pt x="6252" y="563"/>
                    </a:lnTo>
                    <a:lnTo>
                      <a:pt x="6423" y="602"/>
                    </a:lnTo>
                    <a:lnTo>
                      <a:pt x="6760" y="602"/>
                    </a:lnTo>
                    <a:lnTo>
                      <a:pt x="6916" y="629"/>
                    </a:lnTo>
                    <a:lnTo>
                      <a:pt x="7159" y="658"/>
                    </a:lnTo>
                    <a:lnTo>
                      <a:pt x="7344" y="698"/>
                    </a:lnTo>
                    <a:lnTo>
                      <a:pt x="7500" y="785"/>
                    </a:lnTo>
                    <a:lnTo>
                      <a:pt x="7792" y="799"/>
                    </a:lnTo>
                    <a:lnTo>
                      <a:pt x="7945" y="725"/>
                    </a:lnTo>
                    <a:lnTo>
                      <a:pt x="8130" y="720"/>
                    </a:lnTo>
                    <a:lnTo>
                      <a:pt x="8343" y="741"/>
                    </a:lnTo>
                    <a:lnTo>
                      <a:pt x="8508" y="799"/>
                    </a:lnTo>
                    <a:lnTo>
                      <a:pt x="8764" y="882"/>
                    </a:lnTo>
                    <a:lnTo>
                      <a:pt x="9015" y="958"/>
                    </a:lnTo>
                    <a:lnTo>
                      <a:pt x="9502" y="1062"/>
                    </a:lnTo>
                    <a:lnTo>
                      <a:pt x="9816" y="1193"/>
                    </a:lnTo>
                    <a:lnTo>
                      <a:pt x="9920" y="1317"/>
                    </a:lnTo>
                    <a:lnTo>
                      <a:pt x="10065" y="1399"/>
                    </a:lnTo>
                    <a:lnTo>
                      <a:pt x="10187" y="1473"/>
                    </a:lnTo>
                    <a:lnTo>
                      <a:pt x="10298" y="1576"/>
                    </a:lnTo>
                    <a:lnTo>
                      <a:pt x="10339" y="1679"/>
                    </a:lnTo>
                    <a:lnTo>
                      <a:pt x="10420" y="1769"/>
                    </a:lnTo>
                    <a:lnTo>
                      <a:pt x="10606" y="1887"/>
                    </a:lnTo>
                    <a:lnTo>
                      <a:pt x="10818" y="2000"/>
                    </a:lnTo>
                    <a:lnTo>
                      <a:pt x="11131" y="2123"/>
                    </a:lnTo>
                    <a:lnTo>
                      <a:pt x="11378" y="2178"/>
                    </a:lnTo>
                    <a:lnTo>
                      <a:pt x="11636" y="2243"/>
                    </a:lnTo>
                    <a:lnTo>
                      <a:pt x="11855" y="2243"/>
                    </a:lnTo>
                    <a:lnTo>
                      <a:pt x="11990" y="2181"/>
                    </a:lnTo>
                    <a:lnTo>
                      <a:pt x="12151" y="2160"/>
                    </a:lnTo>
                    <a:lnTo>
                      <a:pt x="12356" y="2167"/>
                    </a:lnTo>
                    <a:lnTo>
                      <a:pt x="12575" y="2208"/>
                    </a:lnTo>
                    <a:lnTo>
                      <a:pt x="12707" y="2236"/>
                    </a:lnTo>
                    <a:lnTo>
                      <a:pt x="12850" y="2254"/>
                    </a:lnTo>
                    <a:lnTo>
                      <a:pt x="12964" y="2298"/>
                    </a:lnTo>
                    <a:lnTo>
                      <a:pt x="13152" y="2421"/>
                    </a:lnTo>
                    <a:lnTo>
                      <a:pt x="13358" y="2525"/>
                    </a:lnTo>
                    <a:lnTo>
                      <a:pt x="13524" y="2594"/>
                    </a:lnTo>
                    <a:lnTo>
                      <a:pt x="13666" y="2651"/>
                    </a:lnTo>
                    <a:lnTo>
                      <a:pt x="13833" y="2742"/>
                    </a:lnTo>
                    <a:lnTo>
                      <a:pt x="13864" y="2891"/>
                    </a:lnTo>
                    <a:lnTo>
                      <a:pt x="13944" y="3025"/>
                    </a:lnTo>
                    <a:lnTo>
                      <a:pt x="14059" y="3126"/>
                    </a:lnTo>
                    <a:lnTo>
                      <a:pt x="14069" y="3246"/>
                    </a:lnTo>
                    <a:lnTo>
                      <a:pt x="14069" y="3383"/>
                    </a:lnTo>
                    <a:lnTo>
                      <a:pt x="14132" y="3485"/>
                    </a:lnTo>
                    <a:lnTo>
                      <a:pt x="14251" y="3544"/>
                    </a:lnTo>
                    <a:lnTo>
                      <a:pt x="14376" y="3565"/>
                    </a:lnTo>
                    <a:lnTo>
                      <a:pt x="14376" y="3654"/>
                    </a:lnTo>
                    <a:lnTo>
                      <a:pt x="14240" y="3723"/>
                    </a:lnTo>
                    <a:lnTo>
                      <a:pt x="14147" y="3806"/>
                    </a:lnTo>
                    <a:lnTo>
                      <a:pt x="14084" y="3898"/>
                    </a:lnTo>
                    <a:lnTo>
                      <a:pt x="14021" y="4015"/>
                    </a:lnTo>
                    <a:lnTo>
                      <a:pt x="13892" y="4050"/>
                    </a:lnTo>
                    <a:lnTo>
                      <a:pt x="13746" y="4071"/>
                    </a:lnTo>
                    <a:lnTo>
                      <a:pt x="13369" y="4317"/>
                    </a:lnTo>
                    <a:lnTo>
                      <a:pt x="13296" y="4414"/>
                    </a:lnTo>
                    <a:lnTo>
                      <a:pt x="13244" y="4544"/>
                    </a:lnTo>
                    <a:lnTo>
                      <a:pt x="13401" y="4640"/>
                    </a:lnTo>
                    <a:lnTo>
                      <a:pt x="13638" y="4623"/>
                    </a:lnTo>
                    <a:lnTo>
                      <a:pt x="13801" y="4475"/>
                    </a:lnTo>
                    <a:lnTo>
                      <a:pt x="14058" y="4319"/>
                    </a:lnTo>
                    <a:lnTo>
                      <a:pt x="14233" y="4211"/>
                    </a:lnTo>
                    <a:lnTo>
                      <a:pt x="14406" y="4124"/>
                    </a:lnTo>
                    <a:lnTo>
                      <a:pt x="14601" y="4061"/>
                    </a:lnTo>
                    <a:lnTo>
                      <a:pt x="14824" y="4068"/>
                    </a:lnTo>
                    <a:lnTo>
                      <a:pt x="14950" y="4135"/>
                    </a:lnTo>
                    <a:lnTo>
                      <a:pt x="15054" y="4245"/>
                    </a:lnTo>
                    <a:lnTo>
                      <a:pt x="15054" y="4370"/>
                    </a:lnTo>
                    <a:lnTo>
                      <a:pt x="14772" y="4500"/>
                    </a:lnTo>
                    <a:lnTo>
                      <a:pt x="14706" y="4615"/>
                    </a:lnTo>
                    <a:lnTo>
                      <a:pt x="14561" y="4643"/>
                    </a:lnTo>
                    <a:lnTo>
                      <a:pt x="14369" y="4636"/>
                    </a:lnTo>
                    <a:lnTo>
                      <a:pt x="14297" y="4713"/>
                    </a:lnTo>
                    <a:lnTo>
                      <a:pt x="14537" y="4754"/>
                    </a:lnTo>
                    <a:lnTo>
                      <a:pt x="14713" y="4770"/>
                    </a:lnTo>
                    <a:lnTo>
                      <a:pt x="14862" y="4841"/>
                    </a:lnTo>
                    <a:lnTo>
                      <a:pt x="15018" y="4770"/>
                    </a:lnTo>
                    <a:lnTo>
                      <a:pt x="15209" y="4692"/>
                    </a:lnTo>
                    <a:lnTo>
                      <a:pt x="15341" y="4566"/>
                    </a:lnTo>
                    <a:lnTo>
                      <a:pt x="15491" y="4466"/>
                    </a:lnTo>
                    <a:lnTo>
                      <a:pt x="15585" y="4369"/>
                    </a:lnTo>
                    <a:lnTo>
                      <a:pt x="15846" y="4342"/>
                    </a:lnTo>
                    <a:lnTo>
                      <a:pt x="16125" y="4370"/>
                    </a:lnTo>
                    <a:lnTo>
                      <a:pt x="16397" y="4508"/>
                    </a:lnTo>
                    <a:lnTo>
                      <a:pt x="16564" y="4666"/>
                    </a:lnTo>
                    <a:lnTo>
                      <a:pt x="16723" y="4714"/>
                    </a:lnTo>
                    <a:lnTo>
                      <a:pt x="16844" y="4787"/>
                    </a:lnTo>
                    <a:lnTo>
                      <a:pt x="16817" y="4904"/>
                    </a:lnTo>
                    <a:lnTo>
                      <a:pt x="16751" y="4982"/>
                    </a:lnTo>
                    <a:lnTo>
                      <a:pt x="16751" y="5058"/>
                    </a:lnTo>
                    <a:lnTo>
                      <a:pt x="16949" y="5154"/>
                    </a:lnTo>
                    <a:lnTo>
                      <a:pt x="17116" y="5085"/>
                    </a:lnTo>
                    <a:lnTo>
                      <a:pt x="17332" y="5023"/>
                    </a:lnTo>
                    <a:lnTo>
                      <a:pt x="17569" y="4982"/>
                    </a:lnTo>
                    <a:lnTo>
                      <a:pt x="17746" y="4988"/>
                    </a:lnTo>
                    <a:lnTo>
                      <a:pt x="18122" y="5071"/>
                    </a:lnTo>
                    <a:lnTo>
                      <a:pt x="18476" y="5071"/>
                    </a:lnTo>
                    <a:lnTo>
                      <a:pt x="18914" y="5085"/>
                    </a:lnTo>
                    <a:lnTo>
                      <a:pt x="19226" y="5085"/>
                    </a:lnTo>
                    <a:lnTo>
                      <a:pt x="19337" y="5145"/>
                    </a:lnTo>
                    <a:lnTo>
                      <a:pt x="19417" y="5245"/>
                    </a:lnTo>
                    <a:lnTo>
                      <a:pt x="19501" y="5384"/>
                    </a:lnTo>
                    <a:lnTo>
                      <a:pt x="19761" y="5515"/>
                    </a:lnTo>
                    <a:lnTo>
                      <a:pt x="20054" y="5632"/>
                    </a:lnTo>
                    <a:lnTo>
                      <a:pt x="20337" y="5763"/>
                    </a:lnTo>
                    <a:lnTo>
                      <a:pt x="20783" y="5818"/>
                    </a:lnTo>
                    <a:lnTo>
                      <a:pt x="21128" y="5832"/>
                    </a:lnTo>
                    <a:lnTo>
                      <a:pt x="21292" y="5922"/>
                    </a:lnTo>
                    <a:lnTo>
                      <a:pt x="21413" y="6000"/>
                    </a:lnTo>
                    <a:lnTo>
                      <a:pt x="21423" y="6110"/>
                    </a:lnTo>
                    <a:lnTo>
                      <a:pt x="21496" y="6233"/>
                    </a:lnTo>
                    <a:lnTo>
                      <a:pt x="21548" y="6335"/>
                    </a:lnTo>
                    <a:lnTo>
                      <a:pt x="21600" y="6459"/>
                    </a:lnTo>
                    <a:lnTo>
                      <a:pt x="21558" y="6567"/>
                    </a:lnTo>
                    <a:lnTo>
                      <a:pt x="21548" y="6744"/>
                    </a:lnTo>
                    <a:lnTo>
                      <a:pt x="21416" y="6872"/>
                    </a:lnTo>
                    <a:lnTo>
                      <a:pt x="21374" y="6999"/>
                    </a:lnTo>
                    <a:lnTo>
                      <a:pt x="21263" y="7141"/>
                    </a:lnTo>
                    <a:lnTo>
                      <a:pt x="20928" y="7257"/>
                    </a:lnTo>
                    <a:lnTo>
                      <a:pt x="20782" y="7498"/>
                    </a:lnTo>
                    <a:lnTo>
                      <a:pt x="20646" y="7643"/>
                    </a:lnTo>
                    <a:lnTo>
                      <a:pt x="20531" y="7747"/>
                    </a:lnTo>
                    <a:lnTo>
                      <a:pt x="20344" y="7910"/>
                    </a:lnTo>
                    <a:lnTo>
                      <a:pt x="20222" y="8109"/>
                    </a:lnTo>
                    <a:lnTo>
                      <a:pt x="19916" y="8196"/>
                    </a:lnTo>
                    <a:lnTo>
                      <a:pt x="19700" y="8360"/>
                    </a:lnTo>
                    <a:lnTo>
                      <a:pt x="19631" y="8498"/>
                    </a:lnTo>
                    <a:lnTo>
                      <a:pt x="19615" y="8867"/>
                    </a:lnTo>
                    <a:lnTo>
                      <a:pt x="19688" y="9089"/>
                    </a:lnTo>
                    <a:lnTo>
                      <a:pt x="19688" y="9302"/>
                    </a:lnTo>
                    <a:lnTo>
                      <a:pt x="19705" y="9546"/>
                    </a:lnTo>
                    <a:lnTo>
                      <a:pt x="19653" y="9772"/>
                    </a:lnTo>
                    <a:lnTo>
                      <a:pt x="19612" y="9950"/>
                    </a:lnTo>
                    <a:lnTo>
                      <a:pt x="19580" y="10104"/>
                    </a:lnTo>
                    <a:lnTo>
                      <a:pt x="19559" y="10281"/>
                    </a:lnTo>
                    <a:lnTo>
                      <a:pt x="19465" y="10449"/>
                    </a:lnTo>
                    <a:lnTo>
                      <a:pt x="19444" y="10661"/>
                    </a:lnTo>
                    <a:lnTo>
                      <a:pt x="19392" y="10797"/>
                    </a:lnTo>
                    <a:lnTo>
                      <a:pt x="19322" y="10935"/>
                    </a:lnTo>
                    <a:lnTo>
                      <a:pt x="19169" y="11064"/>
                    </a:lnTo>
                    <a:lnTo>
                      <a:pt x="19033" y="11278"/>
                    </a:lnTo>
                    <a:lnTo>
                      <a:pt x="18939" y="11393"/>
                    </a:lnTo>
                    <a:lnTo>
                      <a:pt x="18834" y="11511"/>
                    </a:lnTo>
                    <a:lnTo>
                      <a:pt x="18562" y="11665"/>
                    </a:lnTo>
                    <a:lnTo>
                      <a:pt x="18374" y="11762"/>
                    </a:lnTo>
                    <a:lnTo>
                      <a:pt x="18204" y="11755"/>
                    </a:lnTo>
                    <a:lnTo>
                      <a:pt x="18048" y="11735"/>
                    </a:lnTo>
                    <a:lnTo>
                      <a:pt x="17899" y="11638"/>
                    </a:lnTo>
                    <a:lnTo>
                      <a:pt x="17642" y="11707"/>
                    </a:lnTo>
                    <a:lnTo>
                      <a:pt x="17486" y="11796"/>
                    </a:lnTo>
                    <a:lnTo>
                      <a:pt x="17287" y="11941"/>
                    </a:lnTo>
                    <a:lnTo>
                      <a:pt x="17134" y="11969"/>
                    </a:lnTo>
                    <a:lnTo>
                      <a:pt x="16834" y="12015"/>
                    </a:lnTo>
                    <a:lnTo>
                      <a:pt x="16534" y="12077"/>
                    </a:lnTo>
                    <a:lnTo>
                      <a:pt x="16336" y="12167"/>
                    </a:lnTo>
                    <a:lnTo>
                      <a:pt x="16253" y="12270"/>
                    </a:lnTo>
                    <a:lnTo>
                      <a:pt x="16183" y="12325"/>
                    </a:lnTo>
                    <a:lnTo>
                      <a:pt x="16027" y="12380"/>
                    </a:lnTo>
                    <a:lnTo>
                      <a:pt x="15916" y="12449"/>
                    </a:lnTo>
                    <a:lnTo>
                      <a:pt x="15804" y="12518"/>
                    </a:lnTo>
                    <a:lnTo>
                      <a:pt x="15752" y="12629"/>
                    </a:lnTo>
                    <a:lnTo>
                      <a:pt x="15825" y="12724"/>
                    </a:lnTo>
                    <a:lnTo>
                      <a:pt x="15951" y="12849"/>
                    </a:lnTo>
                    <a:lnTo>
                      <a:pt x="15961" y="13008"/>
                    </a:lnTo>
                    <a:lnTo>
                      <a:pt x="15909" y="13192"/>
                    </a:lnTo>
                    <a:cubicBezTo>
                      <a:pt x="15880" y="13228"/>
                      <a:pt x="15856" y="13266"/>
                      <a:pt x="15840" y="13305"/>
                    </a:cubicBezTo>
                    <a:cubicBezTo>
                      <a:pt x="15812" y="13369"/>
                      <a:pt x="15801" y="13436"/>
                      <a:pt x="15809" y="13503"/>
                    </a:cubicBezTo>
                    <a:lnTo>
                      <a:pt x="15600" y="13652"/>
                    </a:lnTo>
                    <a:lnTo>
                      <a:pt x="15506" y="13742"/>
                    </a:lnTo>
                    <a:lnTo>
                      <a:pt x="15464" y="13846"/>
                    </a:lnTo>
                    <a:cubicBezTo>
                      <a:pt x="15464" y="13877"/>
                      <a:pt x="15464" y="13909"/>
                      <a:pt x="15464" y="13940"/>
                    </a:cubicBezTo>
                    <a:cubicBezTo>
                      <a:pt x="15464" y="13981"/>
                      <a:pt x="15464" y="14022"/>
                      <a:pt x="15464" y="14062"/>
                    </a:cubicBezTo>
                    <a:lnTo>
                      <a:pt x="15412" y="14177"/>
                    </a:lnTo>
                    <a:lnTo>
                      <a:pt x="15183" y="14308"/>
                    </a:lnTo>
                    <a:lnTo>
                      <a:pt x="15048" y="14443"/>
                    </a:lnTo>
                    <a:lnTo>
                      <a:pt x="14923" y="14578"/>
                    </a:lnTo>
                    <a:lnTo>
                      <a:pt x="14840" y="14707"/>
                    </a:lnTo>
                    <a:lnTo>
                      <a:pt x="14760" y="14868"/>
                    </a:lnTo>
                    <a:cubicBezTo>
                      <a:pt x="14740" y="14913"/>
                      <a:pt x="14716" y="14957"/>
                      <a:pt x="14687" y="14999"/>
                    </a:cubicBezTo>
                    <a:cubicBezTo>
                      <a:pt x="14660" y="15040"/>
                      <a:pt x="14629" y="15079"/>
                      <a:pt x="14593" y="15116"/>
                    </a:cubicBezTo>
                    <a:cubicBezTo>
                      <a:pt x="14565" y="15141"/>
                      <a:pt x="14538" y="15167"/>
                      <a:pt x="14510" y="15192"/>
                    </a:cubicBezTo>
                    <a:cubicBezTo>
                      <a:pt x="14469" y="15230"/>
                      <a:pt x="14429" y="15268"/>
                      <a:pt x="14390" y="15307"/>
                    </a:cubicBezTo>
                    <a:lnTo>
                      <a:pt x="14233" y="15431"/>
                    </a:lnTo>
                    <a:lnTo>
                      <a:pt x="14123" y="15518"/>
                    </a:lnTo>
                    <a:lnTo>
                      <a:pt x="13872" y="15628"/>
                    </a:lnTo>
                    <a:lnTo>
                      <a:pt x="13685" y="15663"/>
                    </a:lnTo>
                    <a:lnTo>
                      <a:pt x="13323" y="15670"/>
                    </a:lnTo>
                    <a:cubicBezTo>
                      <a:pt x="13286" y="15642"/>
                      <a:pt x="13245" y="15616"/>
                      <a:pt x="13201" y="15594"/>
                    </a:cubicBezTo>
                    <a:cubicBezTo>
                      <a:pt x="13122" y="15553"/>
                      <a:pt x="13034" y="15521"/>
                      <a:pt x="12939" y="15499"/>
                    </a:cubicBezTo>
                    <a:cubicBezTo>
                      <a:pt x="12851" y="15484"/>
                      <a:pt x="12764" y="15467"/>
                      <a:pt x="12678" y="15446"/>
                    </a:cubicBezTo>
                    <a:cubicBezTo>
                      <a:pt x="12585" y="15424"/>
                      <a:pt x="12495" y="15399"/>
                      <a:pt x="12406" y="15370"/>
                    </a:cubicBezTo>
                    <a:lnTo>
                      <a:pt x="12194" y="15426"/>
                    </a:lnTo>
                    <a:lnTo>
                      <a:pt x="12131" y="15541"/>
                    </a:lnTo>
                    <a:lnTo>
                      <a:pt x="12255" y="15615"/>
                    </a:lnTo>
                    <a:lnTo>
                      <a:pt x="12467" y="15700"/>
                    </a:lnTo>
                    <a:lnTo>
                      <a:pt x="12582" y="15762"/>
                    </a:lnTo>
                    <a:lnTo>
                      <a:pt x="12768" y="15886"/>
                    </a:lnTo>
                    <a:lnTo>
                      <a:pt x="12977" y="16065"/>
                    </a:lnTo>
                    <a:lnTo>
                      <a:pt x="13103" y="16201"/>
                    </a:lnTo>
                    <a:lnTo>
                      <a:pt x="13155" y="16372"/>
                    </a:lnTo>
                    <a:lnTo>
                      <a:pt x="13166" y="16545"/>
                    </a:lnTo>
                    <a:lnTo>
                      <a:pt x="13065" y="16676"/>
                    </a:lnTo>
                    <a:lnTo>
                      <a:pt x="12951" y="16779"/>
                    </a:lnTo>
                    <a:lnTo>
                      <a:pt x="12787" y="16862"/>
                    </a:lnTo>
                    <a:lnTo>
                      <a:pt x="12505" y="16924"/>
                    </a:lnTo>
                    <a:lnTo>
                      <a:pt x="12122" y="16970"/>
                    </a:lnTo>
                    <a:lnTo>
                      <a:pt x="11913" y="16977"/>
                    </a:lnTo>
                    <a:lnTo>
                      <a:pt x="11733" y="16982"/>
                    </a:lnTo>
                    <a:lnTo>
                      <a:pt x="11430" y="16982"/>
                    </a:lnTo>
                    <a:lnTo>
                      <a:pt x="11263" y="17044"/>
                    </a:lnTo>
                    <a:lnTo>
                      <a:pt x="11232" y="17116"/>
                    </a:lnTo>
                    <a:lnTo>
                      <a:pt x="11252" y="17235"/>
                    </a:lnTo>
                    <a:lnTo>
                      <a:pt x="11325" y="17332"/>
                    </a:lnTo>
                    <a:lnTo>
                      <a:pt x="11412" y="17380"/>
                    </a:lnTo>
                    <a:lnTo>
                      <a:pt x="11444" y="17498"/>
                    </a:lnTo>
                    <a:lnTo>
                      <a:pt x="11382" y="17567"/>
                    </a:lnTo>
                    <a:cubicBezTo>
                      <a:pt x="11322" y="17599"/>
                      <a:pt x="11279" y="17642"/>
                      <a:pt x="11257" y="17691"/>
                    </a:cubicBezTo>
                    <a:cubicBezTo>
                      <a:pt x="11240" y="17729"/>
                      <a:pt x="11236" y="17769"/>
                      <a:pt x="11246" y="17808"/>
                    </a:cubicBezTo>
                    <a:lnTo>
                      <a:pt x="11037" y="17802"/>
                    </a:lnTo>
                    <a:lnTo>
                      <a:pt x="10881" y="17726"/>
                    </a:lnTo>
                    <a:lnTo>
                      <a:pt x="10631" y="17622"/>
                    </a:lnTo>
                    <a:lnTo>
                      <a:pt x="10349" y="17581"/>
                    </a:lnTo>
                    <a:lnTo>
                      <a:pt x="10141" y="17677"/>
                    </a:lnTo>
                    <a:lnTo>
                      <a:pt x="10273" y="17815"/>
                    </a:lnTo>
                    <a:cubicBezTo>
                      <a:pt x="10359" y="17814"/>
                      <a:pt x="10437" y="17847"/>
                      <a:pt x="10472" y="17898"/>
                    </a:cubicBezTo>
                    <a:cubicBezTo>
                      <a:pt x="10504" y="17944"/>
                      <a:pt x="10496" y="17997"/>
                      <a:pt x="10451" y="18038"/>
                    </a:cubicBezTo>
                    <a:lnTo>
                      <a:pt x="10493" y="18142"/>
                    </a:lnTo>
                    <a:cubicBezTo>
                      <a:pt x="10535" y="18167"/>
                      <a:pt x="10583" y="18187"/>
                      <a:pt x="10636" y="18201"/>
                    </a:cubicBezTo>
                    <a:cubicBezTo>
                      <a:pt x="10678" y="18213"/>
                      <a:pt x="10723" y="18220"/>
                      <a:pt x="10768" y="18222"/>
                    </a:cubicBezTo>
                    <a:cubicBezTo>
                      <a:pt x="10824" y="18185"/>
                      <a:pt x="10918" y="18194"/>
                      <a:pt x="10956" y="18240"/>
                    </a:cubicBezTo>
                    <a:cubicBezTo>
                      <a:pt x="10983" y="18272"/>
                      <a:pt x="10969" y="18313"/>
                      <a:pt x="10925" y="18335"/>
                    </a:cubicBezTo>
                    <a:lnTo>
                      <a:pt x="10783" y="18390"/>
                    </a:lnTo>
                    <a:lnTo>
                      <a:pt x="10605" y="18448"/>
                    </a:lnTo>
                    <a:lnTo>
                      <a:pt x="10615" y="18589"/>
                    </a:lnTo>
                    <a:lnTo>
                      <a:pt x="10663" y="18651"/>
                    </a:lnTo>
                    <a:lnTo>
                      <a:pt x="10698" y="18740"/>
                    </a:lnTo>
                    <a:lnTo>
                      <a:pt x="10479" y="18860"/>
                    </a:lnTo>
                    <a:lnTo>
                      <a:pt x="10374" y="19045"/>
                    </a:lnTo>
                    <a:lnTo>
                      <a:pt x="10259" y="19180"/>
                    </a:lnTo>
                    <a:lnTo>
                      <a:pt x="10218" y="19263"/>
                    </a:lnTo>
                    <a:lnTo>
                      <a:pt x="10283" y="19367"/>
                    </a:lnTo>
                    <a:lnTo>
                      <a:pt x="10350" y="19544"/>
                    </a:lnTo>
                    <a:lnTo>
                      <a:pt x="10506" y="19579"/>
                    </a:lnTo>
                    <a:lnTo>
                      <a:pt x="10637" y="19689"/>
                    </a:lnTo>
                    <a:lnTo>
                      <a:pt x="10913" y="19767"/>
                    </a:lnTo>
                    <a:lnTo>
                      <a:pt x="11066" y="19942"/>
                    </a:lnTo>
                    <a:lnTo>
                      <a:pt x="11076" y="20069"/>
                    </a:lnTo>
                    <a:lnTo>
                      <a:pt x="10982" y="20241"/>
                    </a:lnTo>
                    <a:lnTo>
                      <a:pt x="10888" y="20363"/>
                    </a:lnTo>
                    <a:lnTo>
                      <a:pt x="10794" y="20527"/>
                    </a:lnTo>
                    <a:cubicBezTo>
                      <a:pt x="10712" y="20573"/>
                      <a:pt x="10646" y="20631"/>
                      <a:pt x="10600" y="20695"/>
                    </a:cubicBezTo>
                    <a:cubicBezTo>
                      <a:pt x="10553" y="20760"/>
                      <a:pt x="10528" y="20830"/>
                      <a:pt x="10526" y="20902"/>
                    </a:cubicBezTo>
                    <a:lnTo>
                      <a:pt x="10613" y="21051"/>
                    </a:lnTo>
                    <a:lnTo>
                      <a:pt x="10773" y="21173"/>
                    </a:lnTo>
                    <a:lnTo>
                      <a:pt x="10846" y="21254"/>
                    </a:lnTo>
                    <a:lnTo>
                      <a:pt x="10766" y="21359"/>
                    </a:lnTo>
                    <a:lnTo>
                      <a:pt x="10536" y="21440"/>
                    </a:lnTo>
                    <a:lnTo>
                      <a:pt x="10441" y="21536"/>
                    </a:lnTo>
                    <a:lnTo>
                      <a:pt x="10363" y="21600"/>
                    </a:lnTo>
                    <a:lnTo>
                      <a:pt x="10225" y="21595"/>
                    </a:lnTo>
                    <a:lnTo>
                      <a:pt x="9866" y="21480"/>
                    </a:lnTo>
                    <a:lnTo>
                      <a:pt x="9668" y="21506"/>
                    </a:lnTo>
                    <a:lnTo>
                      <a:pt x="9418" y="21531"/>
                    </a:lnTo>
                    <a:cubicBezTo>
                      <a:pt x="9428" y="21473"/>
                      <a:pt x="9417" y="21413"/>
                      <a:pt x="9386" y="21358"/>
                    </a:cubicBezTo>
                    <a:cubicBezTo>
                      <a:pt x="9350" y="21293"/>
                      <a:pt x="9286" y="21235"/>
                      <a:pt x="9202" y="21193"/>
                    </a:cubicBezTo>
                    <a:lnTo>
                      <a:pt x="8951" y="21172"/>
                    </a:lnTo>
                    <a:lnTo>
                      <a:pt x="8767" y="21096"/>
                    </a:lnTo>
                    <a:lnTo>
                      <a:pt x="8767" y="20966"/>
                    </a:lnTo>
                    <a:lnTo>
                      <a:pt x="8683" y="20814"/>
                    </a:lnTo>
                    <a:cubicBezTo>
                      <a:pt x="8625" y="20767"/>
                      <a:pt x="8560" y="20724"/>
                      <a:pt x="8489" y="20687"/>
                    </a:cubicBezTo>
                    <a:cubicBezTo>
                      <a:pt x="8402" y="20641"/>
                      <a:pt x="8307" y="20603"/>
                      <a:pt x="8206" y="20574"/>
                    </a:cubicBezTo>
                    <a:lnTo>
                      <a:pt x="8185" y="20340"/>
                    </a:lnTo>
                    <a:lnTo>
                      <a:pt x="8175" y="20091"/>
                    </a:lnTo>
                    <a:cubicBezTo>
                      <a:pt x="8118" y="20014"/>
                      <a:pt x="8052" y="19940"/>
                      <a:pt x="7977" y="19870"/>
                    </a:cubicBezTo>
                    <a:cubicBezTo>
                      <a:pt x="7874" y="19775"/>
                      <a:pt x="7755" y="19687"/>
                      <a:pt x="7622" y="19610"/>
                    </a:cubicBezTo>
                    <a:lnTo>
                      <a:pt x="7320" y="19591"/>
                    </a:lnTo>
                    <a:lnTo>
                      <a:pt x="7269" y="19491"/>
                    </a:lnTo>
                    <a:lnTo>
                      <a:pt x="7463" y="19422"/>
                    </a:lnTo>
                    <a:lnTo>
                      <a:pt x="7664" y="19293"/>
                    </a:lnTo>
                    <a:lnTo>
                      <a:pt x="7747" y="19155"/>
                    </a:lnTo>
                    <a:lnTo>
                      <a:pt x="7862" y="18947"/>
                    </a:lnTo>
                    <a:cubicBezTo>
                      <a:pt x="7859" y="18904"/>
                      <a:pt x="7841" y="18862"/>
                      <a:pt x="7810" y="18823"/>
                    </a:cubicBezTo>
                    <a:cubicBezTo>
                      <a:pt x="7763" y="18763"/>
                      <a:pt x="7687" y="18715"/>
                      <a:pt x="7594" y="18687"/>
                    </a:cubicBezTo>
                    <a:lnTo>
                      <a:pt x="7373" y="18531"/>
                    </a:lnTo>
                    <a:lnTo>
                      <a:pt x="7344" y="18427"/>
                    </a:lnTo>
                    <a:lnTo>
                      <a:pt x="7439" y="18291"/>
                    </a:lnTo>
                    <a:lnTo>
                      <a:pt x="7386" y="18128"/>
                    </a:lnTo>
                    <a:lnTo>
                      <a:pt x="7191" y="18036"/>
                    </a:lnTo>
                    <a:lnTo>
                      <a:pt x="6944" y="17872"/>
                    </a:lnTo>
                    <a:lnTo>
                      <a:pt x="6714" y="17722"/>
                    </a:lnTo>
                    <a:lnTo>
                      <a:pt x="6595" y="17655"/>
                    </a:lnTo>
                    <a:lnTo>
                      <a:pt x="6560" y="17485"/>
                    </a:lnTo>
                    <a:lnTo>
                      <a:pt x="6414" y="17372"/>
                    </a:lnTo>
                    <a:lnTo>
                      <a:pt x="6518" y="17199"/>
                    </a:lnTo>
                    <a:cubicBezTo>
                      <a:pt x="6570" y="17154"/>
                      <a:pt x="6593" y="17097"/>
                      <a:pt x="6581" y="17041"/>
                    </a:cubicBezTo>
                    <a:cubicBezTo>
                      <a:pt x="6561" y="16948"/>
                      <a:pt x="6457" y="16874"/>
                      <a:pt x="6320" y="16854"/>
                    </a:cubicBezTo>
                    <a:cubicBezTo>
                      <a:pt x="6272" y="16815"/>
                      <a:pt x="6237" y="16771"/>
                      <a:pt x="6215" y="16723"/>
                    </a:cubicBezTo>
                    <a:cubicBezTo>
                      <a:pt x="6159" y="16596"/>
                      <a:pt x="6202" y="16460"/>
                      <a:pt x="6330" y="16359"/>
                    </a:cubicBezTo>
                    <a:lnTo>
                      <a:pt x="6341" y="16207"/>
                    </a:lnTo>
                    <a:lnTo>
                      <a:pt x="6351" y="16005"/>
                    </a:lnTo>
                    <a:lnTo>
                      <a:pt x="6382" y="15534"/>
                    </a:lnTo>
                    <a:lnTo>
                      <a:pt x="6330" y="14960"/>
                    </a:lnTo>
                    <a:lnTo>
                      <a:pt x="6125" y="14624"/>
                    </a:lnTo>
                    <a:lnTo>
                      <a:pt x="6027" y="14310"/>
                    </a:lnTo>
                    <a:lnTo>
                      <a:pt x="5975" y="14131"/>
                    </a:lnTo>
                    <a:lnTo>
                      <a:pt x="5925" y="13492"/>
                    </a:lnTo>
                    <a:lnTo>
                      <a:pt x="5925" y="13243"/>
                    </a:lnTo>
                    <a:lnTo>
                      <a:pt x="6020" y="13001"/>
                    </a:lnTo>
                    <a:lnTo>
                      <a:pt x="6020" y="12755"/>
                    </a:lnTo>
                    <a:lnTo>
                      <a:pt x="5988" y="12469"/>
                    </a:lnTo>
                    <a:lnTo>
                      <a:pt x="5842" y="12317"/>
                    </a:lnTo>
                    <a:lnTo>
                      <a:pt x="5852" y="12041"/>
                    </a:lnTo>
                    <a:lnTo>
                      <a:pt x="5936" y="11755"/>
                    </a:lnTo>
                    <a:cubicBezTo>
                      <a:pt x="5963" y="11665"/>
                      <a:pt x="5977" y="11573"/>
                      <a:pt x="5978" y="11481"/>
                    </a:cubicBezTo>
                    <a:cubicBezTo>
                      <a:pt x="5979" y="11396"/>
                      <a:pt x="5968" y="11310"/>
                      <a:pt x="5946" y="11226"/>
                    </a:cubicBezTo>
                    <a:cubicBezTo>
                      <a:pt x="5920" y="11122"/>
                      <a:pt x="5877" y="11021"/>
                      <a:pt x="5817" y="10924"/>
                    </a:cubicBezTo>
                    <a:lnTo>
                      <a:pt x="5790" y="10657"/>
                    </a:lnTo>
                    <a:lnTo>
                      <a:pt x="5779" y="10588"/>
                    </a:lnTo>
                    <a:lnTo>
                      <a:pt x="5509" y="10273"/>
                    </a:lnTo>
                    <a:lnTo>
                      <a:pt x="5325" y="10025"/>
                    </a:lnTo>
                    <a:lnTo>
                      <a:pt x="5081" y="9901"/>
                    </a:lnTo>
                    <a:lnTo>
                      <a:pt x="4781" y="9783"/>
                    </a:lnTo>
                    <a:lnTo>
                      <a:pt x="4531" y="9611"/>
                    </a:lnTo>
                    <a:lnTo>
                      <a:pt x="4066" y="9506"/>
                    </a:lnTo>
                    <a:lnTo>
                      <a:pt x="3850" y="9416"/>
                    </a:lnTo>
                    <a:lnTo>
                      <a:pt x="3285" y="9256"/>
                    </a:lnTo>
                    <a:lnTo>
                      <a:pt x="3020" y="9164"/>
                    </a:lnTo>
                    <a:lnTo>
                      <a:pt x="2895" y="8913"/>
                    </a:lnTo>
                    <a:lnTo>
                      <a:pt x="2752" y="8757"/>
                    </a:lnTo>
                    <a:lnTo>
                      <a:pt x="2626" y="8512"/>
                    </a:lnTo>
                    <a:lnTo>
                      <a:pt x="2494" y="8355"/>
                    </a:lnTo>
                    <a:lnTo>
                      <a:pt x="2330" y="8219"/>
                    </a:lnTo>
                    <a:lnTo>
                      <a:pt x="2088" y="8047"/>
                    </a:lnTo>
                    <a:lnTo>
                      <a:pt x="1976" y="7929"/>
                    </a:lnTo>
                    <a:lnTo>
                      <a:pt x="1868" y="7775"/>
                    </a:lnTo>
                    <a:lnTo>
                      <a:pt x="1712" y="7713"/>
                    </a:lnTo>
                    <a:lnTo>
                      <a:pt x="1653" y="7630"/>
                    </a:lnTo>
                    <a:lnTo>
                      <a:pt x="1559" y="7481"/>
                    </a:lnTo>
                    <a:lnTo>
                      <a:pt x="1499" y="7363"/>
                    </a:lnTo>
                    <a:lnTo>
                      <a:pt x="1332" y="7016"/>
                    </a:lnTo>
                    <a:lnTo>
                      <a:pt x="1207" y="6813"/>
                    </a:lnTo>
                    <a:lnTo>
                      <a:pt x="1072" y="6654"/>
                    </a:lnTo>
                    <a:lnTo>
                      <a:pt x="958" y="6495"/>
                    </a:lnTo>
                    <a:lnTo>
                      <a:pt x="875" y="6420"/>
                    </a:lnTo>
                    <a:lnTo>
                      <a:pt x="683" y="6358"/>
                    </a:lnTo>
                    <a:lnTo>
                      <a:pt x="577" y="6210"/>
                    </a:lnTo>
                    <a:lnTo>
                      <a:pt x="392" y="6183"/>
                    </a:lnTo>
                    <a:lnTo>
                      <a:pt x="270" y="6084"/>
                    </a:lnTo>
                    <a:lnTo>
                      <a:pt x="131" y="5971"/>
                    </a:lnTo>
                    <a:lnTo>
                      <a:pt x="79" y="5813"/>
                    </a:lnTo>
                    <a:lnTo>
                      <a:pt x="38" y="5703"/>
                    </a:lnTo>
                    <a:lnTo>
                      <a:pt x="0" y="5602"/>
                    </a:lnTo>
                    <a:lnTo>
                      <a:pt x="115" y="5491"/>
                    </a:lnTo>
                    <a:lnTo>
                      <a:pt x="268" y="5348"/>
                    </a:lnTo>
                    <a:lnTo>
                      <a:pt x="330" y="5224"/>
                    </a:lnTo>
                    <a:lnTo>
                      <a:pt x="413" y="5153"/>
                    </a:lnTo>
                    <a:lnTo>
                      <a:pt x="602" y="5033"/>
                    </a:lnTo>
                    <a:lnTo>
                      <a:pt x="653" y="4916"/>
                    </a:lnTo>
                    <a:lnTo>
                      <a:pt x="542" y="4875"/>
                    </a:lnTo>
                    <a:lnTo>
                      <a:pt x="350" y="4849"/>
                    </a:lnTo>
                    <a:lnTo>
                      <a:pt x="233" y="4810"/>
                    </a:lnTo>
                    <a:lnTo>
                      <a:pt x="173" y="4693"/>
                    </a:lnTo>
                    <a:lnTo>
                      <a:pt x="132" y="4589"/>
                    </a:lnTo>
                    <a:lnTo>
                      <a:pt x="236" y="4435"/>
                    </a:lnTo>
                    <a:lnTo>
                      <a:pt x="363" y="4279"/>
                    </a:lnTo>
                    <a:lnTo>
                      <a:pt x="464" y="4141"/>
                    </a:lnTo>
                    <a:lnTo>
                      <a:pt x="722" y="3881"/>
                    </a:lnTo>
                    <a:lnTo>
                      <a:pt x="837" y="3725"/>
                    </a:lnTo>
                    <a:lnTo>
                      <a:pt x="878" y="3658"/>
                    </a:lnTo>
                    <a:lnTo>
                      <a:pt x="1105" y="3567"/>
                    </a:lnTo>
                    <a:lnTo>
                      <a:pt x="1275" y="3479"/>
                    </a:lnTo>
                    <a:lnTo>
                      <a:pt x="1338" y="3385"/>
                    </a:lnTo>
                    <a:lnTo>
                      <a:pt x="1359" y="3295"/>
                    </a:lnTo>
                    <a:lnTo>
                      <a:pt x="1523" y="3201"/>
                    </a:lnTo>
                    <a:lnTo>
                      <a:pt x="1707" y="3072"/>
                    </a:lnTo>
                    <a:cubicBezTo>
                      <a:pt x="1704" y="3016"/>
                      <a:pt x="1711" y="2960"/>
                      <a:pt x="1728" y="2906"/>
                    </a:cubicBezTo>
                    <a:cubicBezTo>
                      <a:pt x="1757" y="2814"/>
                      <a:pt x="1814" y="2727"/>
                      <a:pt x="1896" y="2650"/>
                    </a:cubicBezTo>
                    <a:cubicBezTo>
                      <a:pt x="1934" y="2572"/>
                      <a:pt x="1938" y="2488"/>
                      <a:pt x="1906" y="2408"/>
                    </a:cubicBezTo>
                    <a:cubicBezTo>
                      <a:pt x="1883" y="2352"/>
                      <a:pt x="1843" y="2298"/>
                      <a:pt x="1815" y="2242"/>
                    </a:cubicBezTo>
                    <a:cubicBezTo>
                      <a:pt x="1790" y="2191"/>
                      <a:pt x="1776" y="2138"/>
                      <a:pt x="1774" y="2083"/>
                    </a:cubicBezTo>
                    <a:lnTo>
                      <a:pt x="1774" y="1918"/>
                    </a:lnTo>
                    <a:lnTo>
                      <a:pt x="1753" y="1808"/>
                    </a:lnTo>
                    <a:lnTo>
                      <a:pt x="1638" y="1656"/>
                    </a:lnTo>
                    <a:lnTo>
                      <a:pt x="1493" y="1546"/>
                    </a:lnTo>
                    <a:lnTo>
                      <a:pt x="1587" y="1443"/>
                    </a:lnTo>
                    <a:lnTo>
                      <a:pt x="1656" y="1310"/>
                    </a:lnTo>
                    <a:lnTo>
                      <a:pt x="1459" y="1199"/>
                    </a:lnTo>
                    <a:lnTo>
                      <a:pt x="1280" y="1115"/>
                    </a:lnTo>
                    <a:lnTo>
                      <a:pt x="1083" y="1076"/>
                    </a:lnTo>
                    <a:lnTo>
                      <a:pt x="968" y="1103"/>
                    </a:lnTo>
                    <a:lnTo>
                      <a:pt x="869" y="1016"/>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19" name="Shape 283">
                <a:extLst>
                  <a:ext uri="{FF2B5EF4-FFF2-40B4-BE49-F238E27FC236}">
                    <a16:creationId xmlns:a16="http://schemas.microsoft.com/office/drawing/2014/main" id="{E9D10FA9-ED7D-42AE-9571-72DA6E836EE2}"/>
                  </a:ext>
                </a:extLst>
              </p:cNvPr>
              <p:cNvSpPr/>
              <p:nvPr/>
            </p:nvSpPr>
            <p:spPr>
              <a:xfrm>
                <a:off x="4628258" y="8833094"/>
                <a:ext cx="328224" cy="167147"/>
              </a:xfrm>
              <a:custGeom>
                <a:avLst/>
                <a:gdLst/>
                <a:ahLst/>
                <a:cxnLst>
                  <a:cxn ang="0">
                    <a:pos x="wd2" y="hd2"/>
                  </a:cxn>
                  <a:cxn ang="5400000">
                    <a:pos x="wd2" y="hd2"/>
                  </a:cxn>
                  <a:cxn ang="10800000">
                    <a:pos x="wd2" y="hd2"/>
                  </a:cxn>
                  <a:cxn ang="16200000">
                    <a:pos x="wd2" y="hd2"/>
                  </a:cxn>
                </a:cxnLst>
                <a:rect l="0" t="0" r="r" b="b"/>
                <a:pathLst>
                  <a:path w="21600" h="21600" extrusionOk="0">
                    <a:moveTo>
                      <a:pt x="7225" y="3547"/>
                    </a:moveTo>
                    <a:lnTo>
                      <a:pt x="5676" y="1626"/>
                    </a:lnTo>
                    <a:lnTo>
                      <a:pt x="3209" y="0"/>
                    </a:lnTo>
                    <a:lnTo>
                      <a:pt x="1176" y="1709"/>
                    </a:lnTo>
                    <a:lnTo>
                      <a:pt x="993" y="6809"/>
                    </a:lnTo>
                    <a:lnTo>
                      <a:pt x="0" y="9230"/>
                    </a:lnTo>
                    <a:lnTo>
                      <a:pt x="146" y="11719"/>
                    </a:lnTo>
                    <a:lnTo>
                      <a:pt x="1232" y="14861"/>
                    </a:lnTo>
                    <a:lnTo>
                      <a:pt x="2757" y="16925"/>
                    </a:lnTo>
                    <a:lnTo>
                      <a:pt x="4617" y="16204"/>
                    </a:lnTo>
                    <a:lnTo>
                      <a:pt x="6205" y="18329"/>
                    </a:lnTo>
                    <a:lnTo>
                      <a:pt x="6765" y="21054"/>
                    </a:lnTo>
                    <a:lnTo>
                      <a:pt x="9338" y="21600"/>
                    </a:lnTo>
                    <a:lnTo>
                      <a:pt x="10638" y="20386"/>
                    </a:lnTo>
                    <a:lnTo>
                      <a:pt x="12868" y="19239"/>
                    </a:lnTo>
                    <a:cubicBezTo>
                      <a:pt x="13384" y="19258"/>
                      <a:pt x="13900" y="19258"/>
                      <a:pt x="14416" y="19239"/>
                    </a:cubicBezTo>
                    <a:cubicBezTo>
                      <a:pt x="15695" y="19193"/>
                      <a:pt x="16971" y="19031"/>
                      <a:pt x="18242" y="18754"/>
                    </a:cubicBezTo>
                    <a:lnTo>
                      <a:pt x="20946" y="19118"/>
                    </a:lnTo>
                    <a:lnTo>
                      <a:pt x="21600" y="16751"/>
                    </a:lnTo>
                    <a:lnTo>
                      <a:pt x="17600" y="16751"/>
                    </a:lnTo>
                    <a:lnTo>
                      <a:pt x="14802" y="15172"/>
                    </a:lnTo>
                    <a:lnTo>
                      <a:pt x="13214" y="10808"/>
                    </a:lnTo>
                    <a:lnTo>
                      <a:pt x="11408" y="9230"/>
                    </a:lnTo>
                    <a:lnTo>
                      <a:pt x="9731" y="7773"/>
                    </a:lnTo>
                    <a:lnTo>
                      <a:pt x="9139" y="5420"/>
                    </a:lnTo>
                    <a:lnTo>
                      <a:pt x="7225" y="3547"/>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20" name="Shape 284">
                <a:extLst>
                  <a:ext uri="{FF2B5EF4-FFF2-40B4-BE49-F238E27FC236}">
                    <a16:creationId xmlns:a16="http://schemas.microsoft.com/office/drawing/2014/main" id="{F813E38D-B0E4-465C-B087-0FEFD9D59DEE}"/>
                  </a:ext>
                </a:extLst>
              </p:cNvPr>
              <p:cNvSpPr/>
              <p:nvPr/>
            </p:nvSpPr>
            <p:spPr>
              <a:xfrm>
                <a:off x="5017506" y="8725389"/>
                <a:ext cx="204831" cy="86884"/>
              </a:xfrm>
              <a:custGeom>
                <a:avLst/>
                <a:gdLst/>
                <a:ahLst/>
                <a:cxnLst>
                  <a:cxn ang="0">
                    <a:pos x="wd2" y="hd2"/>
                  </a:cxn>
                  <a:cxn ang="5400000">
                    <a:pos x="wd2" y="hd2"/>
                  </a:cxn>
                  <a:cxn ang="10800000">
                    <a:pos x="wd2" y="hd2"/>
                  </a:cxn>
                  <a:cxn ang="16200000">
                    <a:pos x="wd2" y="hd2"/>
                  </a:cxn>
                </a:cxnLst>
                <a:rect l="0" t="0" r="r" b="b"/>
                <a:pathLst>
                  <a:path w="21600" h="21600" extrusionOk="0">
                    <a:moveTo>
                      <a:pt x="8319" y="0"/>
                    </a:moveTo>
                    <a:lnTo>
                      <a:pt x="5026" y="117"/>
                    </a:lnTo>
                    <a:cubicBezTo>
                      <a:pt x="4484" y="789"/>
                      <a:pt x="3941" y="1461"/>
                      <a:pt x="3399" y="2133"/>
                    </a:cubicBezTo>
                    <a:cubicBezTo>
                      <a:pt x="2857" y="2805"/>
                      <a:pt x="2314" y="3476"/>
                      <a:pt x="1772" y="4148"/>
                    </a:cubicBezTo>
                    <a:lnTo>
                      <a:pt x="4542" y="6577"/>
                    </a:lnTo>
                    <a:lnTo>
                      <a:pt x="3392" y="10753"/>
                    </a:lnTo>
                    <a:lnTo>
                      <a:pt x="0" y="11818"/>
                    </a:lnTo>
                    <a:lnTo>
                      <a:pt x="1581" y="16345"/>
                    </a:lnTo>
                    <a:lnTo>
                      <a:pt x="4913" y="16345"/>
                    </a:lnTo>
                    <a:lnTo>
                      <a:pt x="7757" y="19148"/>
                    </a:lnTo>
                    <a:lnTo>
                      <a:pt x="10993" y="21600"/>
                    </a:lnTo>
                    <a:lnTo>
                      <a:pt x="14223" y="19761"/>
                    </a:lnTo>
                    <a:lnTo>
                      <a:pt x="14972" y="14169"/>
                    </a:lnTo>
                    <a:lnTo>
                      <a:pt x="18108" y="8928"/>
                    </a:lnTo>
                    <a:lnTo>
                      <a:pt x="21600" y="7876"/>
                    </a:lnTo>
                    <a:lnTo>
                      <a:pt x="21600" y="3101"/>
                    </a:lnTo>
                    <a:lnTo>
                      <a:pt x="19411" y="1378"/>
                    </a:lnTo>
                    <a:lnTo>
                      <a:pt x="17621" y="692"/>
                    </a:lnTo>
                    <a:lnTo>
                      <a:pt x="12533" y="2093"/>
                    </a:lnTo>
                    <a:lnTo>
                      <a:pt x="10949" y="1393"/>
                    </a:lnTo>
                    <a:lnTo>
                      <a:pt x="8319"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21" name="Shape 285">
                <a:extLst>
                  <a:ext uri="{FF2B5EF4-FFF2-40B4-BE49-F238E27FC236}">
                    <a16:creationId xmlns:a16="http://schemas.microsoft.com/office/drawing/2014/main" id="{C17C496F-7E38-4B8F-A716-747DB551CC9E}"/>
                  </a:ext>
                </a:extLst>
              </p:cNvPr>
              <p:cNvSpPr/>
              <p:nvPr/>
            </p:nvSpPr>
            <p:spPr>
              <a:xfrm>
                <a:off x="7218539" y="2756889"/>
                <a:ext cx="4239623" cy="4860940"/>
              </a:xfrm>
              <a:custGeom>
                <a:avLst/>
                <a:gdLst/>
                <a:ahLst/>
                <a:cxnLst>
                  <a:cxn ang="0">
                    <a:pos x="wd2" y="hd2"/>
                  </a:cxn>
                  <a:cxn ang="5400000">
                    <a:pos x="wd2" y="hd2"/>
                  </a:cxn>
                  <a:cxn ang="10800000">
                    <a:pos x="wd2" y="hd2"/>
                  </a:cxn>
                  <a:cxn ang="16200000">
                    <a:pos x="wd2" y="hd2"/>
                  </a:cxn>
                </a:cxnLst>
                <a:rect l="0" t="0" r="r" b="b"/>
                <a:pathLst>
                  <a:path w="21600" h="21600" extrusionOk="0">
                    <a:moveTo>
                      <a:pt x="11905" y="1298"/>
                    </a:moveTo>
                    <a:lnTo>
                      <a:pt x="11748" y="1386"/>
                    </a:lnTo>
                    <a:lnTo>
                      <a:pt x="11649" y="1501"/>
                    </a:lnTo>
                    <a:lnTo>
                      <a:pt x="11657" y="1629"/>
                    </a:lnTo>
                    <a:lnTo>
                      <a:pt x="11744" y="1704"/>
                    </a:lnTo>
                    <a:lnTo>
                      <a:pt x="11765" y="1791"/>
                    </a:lnTo>
                    <a:lnTo>
                      <a:pt x="11622" y="1915"/>
                    </a:lnTo>
                    <a:lnTo>
                      <a:pt x="11470" y="2059"/>
                    </a:lnTo>
                    <a:lnTo>
                      <a:pt x="11326" y="2096"/>
                    </a:lnTo>
                    <a:lnTo>
                      <a:pt x="11204" y="2078"/>
                    </a:lnTo>
                    <a:lnTo>
                      <a:pt x="10972" y="2003"/>
                    </a:lnTo>
                    <a:lnTo>
                      <a:pt x="10824" y="1959"/>
                    </a:lnTo>
                    <a:lnTo>
                      <a:pt x="10659" y="1903"/>
                    </a:lnTo>
                    <a:lnTo>
                      <a:pt x="10370" y="1872"/>
                    </a:lnTo>
                    <a:lnTo>
                      <a:pt x="10297" y="1768"/>
                    </a:lnTo>
                    <a:lnTo>
                      <a:pt x="10194" y="1639"/>
                    </a:lnTo>
                    <a:lnTo>
                      <a:pt x="10095" y="1497"/>
                    </a:lnTo>
                    <a:lnTo>
                      <a:pt x="9893" y="1403"/>
                    </a:lnTo>
                    <a:lnTo>
                      <a:pt x="9738" y="1384"/>
                    </a:lnTo>
                    <a:lnTo>
                      <a:pt x="9487" y="1311"/>
                    </a:lnTo>
                    <a:lnTo>
                      <a:pt x="9256" y="1311"/>
                    </a:lnTo>
                    <a:lnTo>
                      <a:pt x="9130" y="1305"/>
                    </a:lnTo>
                    <a:lnTo>
                      <a:pt x="9053" y="1242"/>
                    </a:lnTo>
                    <a:lnTo>
                      <a:pt x="8911" y="1116"/>
                    </a:lnTo>
                    <a:lnTo>
                      <a:pt x="8694" y="947"/>
                    </a:lnTo>
                    <a:lnTo>
                      <a:pt x="8636" y="849"/>
                    </a:lnTo>
                    <a:lnTo>
                      <a:pt x="8687" y="761"/>
                    </a:lnTo>
                    <a:lnTo>
                      <a:pt x="8783" y="636"/>
                    </a:lnTo>
                    <a:lnTo>
                      <a:pt x="8776" y="548"/>
                    </a:lnTo>
                    <a:lnTo>
                      <a:pt x="8704" y="440"/>
                    </a:lnTo>
                    <a:lnTo>
                      <a:pt x="8651" y="369"/>
                    </a:lnTo>
                    <a:lnTo>
                      <a:pt x="8694" y="263"/>
                    </a:lnTo>
                    <a:lnTo>
                      <a:pt x="8750" y="213"/>
                    </a:lnTo>
                    <a:lnTo>
                      <a:pt x="8706" y="120"/>
                    </a:lnTo>
                    <a:lnTo>
                      <a:pt x="8574" y="53"/>
                    </a:lnTo>
                    <a:lnTo>
                      <a:pt x="8473" y="0"/>
                    </a:lnTo>
                    <a:lnTo>
                      <a:pt x="8301" y="31"/>
                    </a:lnTo>
                    <a:lnTo>
                      <a:pt x="8038" y="123"/>
                    </a:lnTo>
                    <a:lnTo>
                      <a:pt x="7831" y="167"/>
                    </a:lnTo>
                    <a:lnTo>
                      <a:pt x="7542" y="204"/>
                    </a:lnTo>
                    <a:lnTo>
                      <a:pt x="7323" y="198"/>
                    </a:lnTo>
                    <a:lnTo>
                      <a:pt x="7098" y="173"/>
                    </a:lnTo>
                    <a:lnTo>
                      <a:pt x="6861" y="167"/>
                    </a:lnTo>
                    <a:lnTo>
                      <a:pt x="6735" y="117"/>
                    </a:lnTo>
                    <a:lnTo>
                      <a:pt x="6538" y="97"/>
                    </a:lnTo>
                    <a:lnTo>
                      <a:pt x="6405" y="145"/>
                    </a:lnTo>
                    <a:lnTo>
                      <a:pt x="6221" y="214"/>
                    </a:lnTo>
                    <a:lnTo>
                      <a:pt x="6040" y="224"/>
                    </a:lnTo>
                    <a:lnTo>
                      <a:pt x="5774" y="295"/>
                    </a:lnTo>
                    <a:lnTo>
                      <a:pt x="5503" y="389"/>
                    </a:lnTo>
                    <a:lnTo>
                      <a:pt x="5346" y="481"/>
                    </a:lnTo>
                    <a:lnTo>
                      <a:pt x="5159" y="600"/>
                    </a:lnTo>
                    <a:lnTo>
                      <a:pt x="4994" y="675"/>
                    </a:lnTo>
                    <a:cubicBezTo>
                      <a:pt x="4958" y="685"/>
                      <a:pt x="4920" y="693"/>
                      <a:pt x="4883" y="698"/>
                    </a:cubicBezTo>
                    <a:cubicBezTo>
                      <a:pt x="4849" y="702"/>
                      <a:pt x="4815" y="704"/>
                      <a:pt x="4781" y="704"/>
                    </a:cubicBezTo>
                    <a:lnTo>
                      <a:pt x="4638" y="679"/>
                    </a:lnTo>
                    <a:lnTo>
                      <a:pt x="4547" y="675"/>
                    </a:lnTo>
                    <a:lnTo>
                      <a:pt x="4417" y="656"/>
                    </a:lnTo>
                    <a:lnTo>
                      <a:pt x="4244" y="637"/>
                    </a:lnTo>
                    <a:lnTo>
                      <a:pt x="4107" y="562"/>
                    </a:lnTo>
                    <a:lnTo>
                      <a:pt x="3988" y="482"/>
                    </a:lnTo>
                    <a:lnTo>
                      <a:pt x="3873" y="464"/>
                    </a:lnTo>
                    <a:lnTo>
                      <a:pt x="3807" y="533"/>
                    </a:lnTo>
                    <a:lnTo>
                      <a:pt x="3751" y="608"/>
                    </a:lnTo>
                    <a:lnTo>
                      <a:pt x="3646" y="730"/>
                    </a:lnTo>
                    <a:lnTo>
                      <a:pt x="3580" y="822"/>
                    </a:lnTo>
                    <a:lnTo>
                      <a:pt x="3480" y="939"/>
                    </a:lnTo>
                    <a:lnTo>
                      <a:pt x="3212" y="1058"/>
                    </a:lnTo>
                    <a:lnTo>
                      <a:pt x="2961" y="1162"/>
                    </a:lnTo>
                    <a:lnTo>
                      <a:pt x="2882" y="1237"/>
                    </a:lnTo>
                    <a:lnTo>
                      <a:pt x="2746" y="1325"/>
                    </a:lnTo>
                    <a:lnTo>
                      <a:pt x="2704" y="1430"/>
                    </a:lnTo>
                    <a:lnTo>
                      <a:pt x="2576" y="1610"/>
                    </a:lnTo>
                    <a:lnTo>
                      <a:pt x="2532" y="1707"/>
                    </a:lnTo>
                    <a:lnTo>
                      <a:pt x="2566" y="1826"/>
                    </a:lnTo>
                    <a:lnTo>
                      <a:pt x="2573" y="1918"/>
                    </a:lnTo>
                    <a:lnTo>
                      <a:pt x="2559" y="2012"/>
                    </a:lnTo>
                    <a:lnTo>
                      <a:pt x="2544" y="2114"/>
                    </a:lnTo>
                    <a:lnTo>
                      <a:pt x="2436" y="2195"/>
                    </a:lnTo>
                    <a:lnTo>
                      <a:pt x="2269" y="2330"/>
                    </a:lnTo>
                    <a:lnTo>
                      <a:pt x="2091" y="2512"/>
                    </a:lnTo>
                    <a:lnTo>
                      <a:pt x="1925" y="2605"/>
                    </a:lnTo>
                    <a:lnTo>
                      <a:pt x="1797" y="2653"/>
                    </a:lnTo>
                    <a:lnTo>
                      <a:pt x="1647" y="2722"/>
                    </a:lnTo>
                    <a:lnTo>
                      <a:pt x="1528" y="2808"/>
                    </a:lnTo>
                    <a:lnTo>
                      <a:pt x="1447" y="2931"/>
                    </a:lnTo>
                    <a:lnTo>
                      <a:pt x="1332" y="3038"/>
                    </a:lnTo>
                    <a:lnTo>
                      <a:pt x="1173" y="3213"/>
                    </a:lnTo>
                    <a:lnTo>
                      <a:pt x="1030" y="3388"/>
                    </a:lnTo>
                    <a:lnTo>
                      <a:pt x="1001" y="3475"/>
                    </a:lnTo>
                    <a:lnTo>
                      <a:pt x="951" y="3585"/>
                    </a:lnTo>
                    <a:lnTo>
                      <a:pt x="845" y="3723"/>
                    </a:lnTo>
                    <a:lnTo>
                      <a:pt x="700" y="3911"/>
                    </a:lnTo>
                    <a:lnTo>
                      <a:pt x="650" y="4048"/>
                    </a:lnTo>
                    <a:lnTo>
                      <a:pt x="448" y="4221"/>
                    </a:lnTo>
                    <a:lnTo>
                      <a:pt x="410" y="4305"/>
                    </a:lnTo>
                    <a:lnTo>
                      <a:pt x="349" y="4386"/>
                    </a:lnTo>
                    <a:lnTo>
                      <a:pt x="269" y="4455"/>
                    </a:lnTo>
                    <a:lnTo>
                      <a:pt x="232" y="4555"/>
                    </a:lnTo>
                    <a:lnTo>
                      <a:pt x="226" y="4651"/>
                    </a:lnTo>
                    <a:lnTo>
                      <a:pt x="176" y="4751"/>
                    </a:lnTo>
                    <a:lnTo>
                      <a:pt x="156" y="4813"/>
                    </a:lnTo>
                    <a:lnTo>
                      <a:pt x="163" y="4888"/>
                    </a:lnTo>
                    <a:lnTo>
                      <a:pt x="220" y="5002"/>
                    </a:lnTo>
                    <a:lnTo>
                      <a:pt x="292" y="5121"/>
                    </a:lnTo>
                    <a:lnTo>
                      <a:pt x="355" y="5258"/>
                    </a:lnTo>
                    <a:lnTo>
                      <a:pt x="369" y="5453"/>
                    </a:lnTo>
                    <a:lnTo>
                      <a:pt x="413" y="5578"/>
                    </a:lnTo>
                    <a:lnTo>
                      <a:pt x="477" y="5695"/>
                    </a:lnTo>
                    <a:lnTo>
                      <a:pt x="477" y="5825"/>
                    </a:lnTo>
                    <a:lnTo>
                      <a:pt x="441" y="5944"/>
                    </a:lnTo>
                    <a:lnTo>
                      <a:pt x="405" y="6019"/>
                    </a:lnTo>
                    <a:lnTo>
                      <a:pt x="391" y="6138"/>
                    </a:lnTo>
                    <a:lnTo>
                      <a:pt x="355" y="6250"/>
                    </a:lnTo>
                    <a:lnTo>
                      <a:pt x="307" y="6323"/>
                    </a:lnTo>
                    <a:lnTo>
                      <a:pt x="280" y="6392"/>
                    </a:lnTo>
                    <a:lnTo>
                      <a:pt x="215" y="6459"/>
                    </a:lnTo>
                    <a:lnTo>
                      <a:pt x="80" y="6545"/>
                    </a:lnTo>
                    <a:lnTo>
                      <a:pt x="0" y="6592"/>
                    </a:lnTo>
                    <a:lnTo>
                      <a:pt x="0" y="6680"/>
                    </a:lnTo>
                    <a:lnTo>
                      <a:pt x="74" y="6761"/>
                    </a:lnTo>
                    <a:lnTo>
                      <a:pt x="110" y="6891"/>
                    </a:lnTo>
                    <a:lnTo>
                      <a:pt x="117" y="7009"/>
                    </a:lnTo>
                    <a:lnTo>
                      <a:pt x="117" y="7138"/>
                    </a:lnTo>
                    <a:lnTo>
                      <a:pt x="61" y="7213"/>
                    </a:lnTo>
                    <a:lnTo>
                      <a:pt x="54" y="7299"/>
                    </a:lnTo>
                    <a:lnTo>
                      <a:pt x="185" y="7447"/>
                    </a:lnTo>
                    <a:lnTo>
                      <a:pt x="278" y="7578"/>
                    </a:lnTo>
                    <a:lnTo>
                      <a:pt x="459" y="7641"/>
                    </a:lnTo>
                    <a:lnTo>
                      <a:pt x="564" y="7676"/>
                    </a:lnTo>
                    <a:lnTo>
                      <a:pt x="670" y="7805"/>
                    </a:lnTo>
                    <a:lnTo>
                      <a:pt x="779" y="7951"/>
                    </a:lnTo>
                    <a:lnTo>
                      <a:pt x="880" y="8070"/>
                    </a:lnTo>
                    <a:lnTo>
                      <a:pt x="1010" y="8216"/>
                    </a:lnTo>
                    <a:lnTo>
                      <a:pt x="1152" y="8321"/>
                    </a:lnTo>
                    <a:lnTo>
                      <a:pt x="1238" y="8546"/>
                    </a:lnTo>
                    <a:lnTo>
                      <a:pt x="1195" y="8652"/>
                    </a:lnTo>
                    <a:lnTo>
                      <a:pt x="1275" y="8822"/>
                    </a:lnTo>
                    <a:lnTo>
                      <a:pt x="1378" y="8876"/>
                    </a:lnTo>
                    <a:lnTo>
                      <a:pt x="1513" y="8970"/>
                    </a:lnTo>
                    <a:lnTo>
                      <a:pt x="1679" y="9195"/>
                    </a:lnTo>
                    <a:lnTo>
                      <a:pt x="1843" y="9284"/>
                    </a:lnTo>
                    <a:lnTo>
                      <a:pt x="1963" y="9393"/>
                    </a:lnTo>
                    <a:lnTo>
                      <a:pt x="2026" y="9468"/>
                    </a:lnTo>
                    <a:lnTo>
                      <a:pt x="2137" y="9480"/>
                    </a:lnTo>
                    <a:lnTo>
                      <a:pt x="2185" y="9549"/>
                    </a:lnTo>
                    <a:lnTo>
                      <a:pt x="2387" y="9655"/>
                    </a:lnTo>
                    <a:lnTo>
                      <a:pt x="2546" y="9722"/>
                    </a:lnTo>
                    <a:lnTo>
                      <a:pt x="2676" y="9747"/>
                    </a:lnTo>
                    <a:lnTo>
                      <a:pt x="2864" y="9801"/>
                    </a:lnTo>
                    <a:lnTo>
                      <a:pt x="3059" y="9868"/>
                    </a:lnTo>
                    <a:lnTo>
                      <a:pt x="3321" y="9803"/>
                    </a:lnTo>
                    <a:lnTo>
                      <a:pt x="3355" y="9741"/>
                    </a:lnTo>
                    <a:lnTo>
                      <a:pt x="3514" y="9656"/>
                    </a:lnTo>
                    <a:lnTo>
                      <a:pt x="3671" y="9656"/>
                    </a:lnTo>
                    <a:lnTo>
                      <a:pt x="3834" y="9668"/>
                    </a:lnTo>
                    <a:lnTo>
                      <a:pt x="3928" y="9618"/>
                    </a:lnTo>
                    <a:lnTo>
                      <a:pt x="4065" y="9568"/>
                    </a:lnTo>
                    <a:lnTo>
                      <a:pt x="4183" y="9562"/>
                    </a:lnTo>
                    <a:lnTo>
                      <a:pt x="4264" y="9614"/>
                    </a:lnTo>
                    <a:lnTo>
                      <a:pt x="4399" y="9656"/>
                    </a:lnTo>
                    <a:lnTo>
                      <a:pt x="4491" y="9685"/>
                    </a:lnTo>
                    <a:lnTo>
                      <a:pt x="4570" y="9697"/>
                    </a:lnTo>
                    <a:lnTo>
                      <a:pt x="4741" y="9672"/>
                    </a:lnTo>
                    <a:lnTo>
                      <a:pt x="4835" y="9629"/>
                    </a:lnTo>
                    <a:lnTo>
                      <a:pt x="5049" y="9541"/>
                    </a:lnTo>
                    <a:lnTo>
                      <a:pt x="5236" y="9504"/>
                    </a:lnTo>
                    <a:lnTo>
                      <a:pt x="5409" y="9560"/>
                    </a:lnTo>
                    <a:lnTo>
                      <a:pt x="5568" y="9456"/>
                    </a:lnTo>
                    <a:lnTo>
                      <a:pt x="5900" y="9362"/>
                    </a:lnTo>
                    <a:lnTo>
                      <a:pt x="6211" y="9231"/>
                    </a:lnTo>
                    <a:lnTo>
                      <a:pt x="6387" y="9206"/>
                    </a:lnTo>
                    <a:lnTo>
                      <a:pt x="6552" y="9212"/>
                    </a:lnTo>
                    <a:lnTo>
                      <a:pt x="6746" y="9256"/>
                    </a:lnTo>
                    <a:lnTo>
                      <a:pt x="6865" y="9309"/>
                    </a:lnTo>
                    <a:lnTo>
                      <a:pt x="6951" y="9353"/>
                    </a:lnTo>
                    <a:lnTo>
                      <a:pt x="7023" y="9409"/>
                    </a:lnTo>
                    <a:lnTo>
                      <a:pt x="7103" y="9497"/>
                    </a:lnTo>
                    <a:lnTo>
                      <a:pt x="7134" y="9626"/>
                    </a:lnTo>
                    <a:lnTo>
                      <a:pt x="7148" y="9713"/>
                    </a:lnTo>
                    <a:lnTo>
                      <a:pt x="7170" y="9786"/>
                    </a:lnTo>
                    <a:lnTo>
                      <a:pt x="7298" y="9829"/>
                    </a:lnTo>
                    <a:lnTo>
                      <a:pt x="7435" y="9842"/>
                    </a:lnTo>
                    <a:lnTo>
                      <a:pt x="7584" y="9786"/>
                    </a:lnTo>
                    <a:lnTo>
                      <a:pt x="7980" y="9786"/>
                    </a:lnTo>
                    <a:lnTo>
                      <a:pt x="8202" y="9831"/>
                    </a:lnTo>
                    <a:lnTo>
                      <a:pt x="8289" y="9968"/>
                    </a:lnTo>
                    <a:lnTo>
                      <a:pt x="8455" y="10087"/>
                    </a:lnTo>
                    <a:lnTo>
                      <a:pt x="8491" y="10175"/>
                    </a:lnTo>
                    <a:lnTo>
                      <a:pt x="8498" y="10323"/>
                    </a:lnTo>
                    <a:lnTo>
                      <a:pt x="8534" y="10455"/>
                    </a:lnTo>
                    <a:lnTo>
                      <a:pt x="8534" y="10567"/>
                    </a:lnTo>
                    <a:lnTo>
                      <a:pt x="8486" y="10709"/>
                    </a:lnTo>
                    <a:lnTo>
                      <a:pt x="8438" y="10877"/>
                    </a:lnTo>
                    <a:lnTo>
                      <a:pt x="8421" y="11008"/>
                    </a:lnTo>
                    <a:lnTo>
                      <a:pt x="8356" y="11171"/>
                    </a:lnTo>
                    <a:lnTo>
                      <a:pt x="8236" y="11348"/>
                    </a:lnTo>
                    <a:lnTo>
                      <a:pt x="8272" y="11458"/>
                    </a:lnTo>
                    <a:lnTo>
                      <a:pt x="8279" y="11545"/>
                    </a:lnTo>
                    <a:lnTo>
                      <a:pt x="8322" y="11649"/>
                    </a:lnTo>
                    <a:lnTo>
                      <a:pt x="8387" y="11749"/>
                    </a:lnTo>
                    <a:lnTo>
                      <a:pt x="8437" y="11849"/>
                    </a:lnTo>
                    <a:lnTo>
                      <a:pt x="8567" y="11936"/>
                    </a:lnTo>
                    <a:lnTo>
                      <a:pt x="8726" y="12086"/>
                    </a:lnTo>
                    <a:lnTo>
                      <a:pt x="8935" y="12257"/>
                    </a:lnTo>
                    <a:lnTo>
                      <a:pt x="9193" y="12538"/>
                    </a:lnTo>
                    <a:lnTo>
                      <a:pt x="9222" y="12667"/>
                    </a:lnTo>
                    <a:lnTo>
                      <a:pt x="9215" y="12761"/>
                    </a:lnTo>
                    <a:lnTo>
                      <a:pt x="9229" y="12888"/>
                    </a:lnTo>
                    <a:lnTo>
                      <a:pt x="9266" y="13018"/>
                    </a:lnTo>
                    <a:lnTo>
                      <a:pt x="9302" y="13097"/>
                    </a:lnTo>
                    <a:lnTo>
                      <a:pt x="9403" y="13235"/>
                    </a:lnTo>
                    <a:lnTo>
                      <a:pt x="9453" y="13316"/>
                    </a:lnTo>
                    <a:lnTo>
                      <a:pt x="9566" y="13451"/>
                    </a:lnTo>
                    <a:lnTo>
                      <a:pt x="9766" y="13633"/>
                    </a:lnTo>
                    <a:lnTo>
                      <a:pt x="9692" y="13770"/>
                    </a:lnTo>
                    <a:lnTo>
                      <a:pt x="9591" y="13864"/>
                    </a:lnTo>
                    <a:lnTo>
                      <a:pt x="9591" y="13962"/>
                    </a:lnTo>
                    <a:lnTo>
                      <a:pt x="9620" y="14068"/>
                    </a:lnTo>
                    <a:lnTo>
                      <a:pt x="9710" y="14197"/>
                    </a:lnTo>
                    <a:lnTo>
                      <a:pt x="9780" y="14370"/>
                    </a:lnTo>
                    <a:lnTo>
                      <a:pt x="9795" y="14482"/>
                    </a:lnTo>
                    <a:lnTo>
                      <a:pt x="9802" y="14588"/>
                    </a:lnTo>
                    <a:lnTo>
                      <a:pt x="9775" y="14690"/>
                    </a:lnTo>
                    <a:lnTo>
                      <a:pt x="9739" y="14790"/>
                    </a:lnTo>
                    <a:lnTo>
                      <a:pt x="9667" y="14915"/>
                    </a:lnTo>
                    <a:lnTo>
                      <a:pt x="9609" y="15021"/>
                    </a:lnTo>
                    <a:lnTo>
                      <a:pt x="9530" y="15132"/>
                    </a:lnTo>
                    <a:lnTo>
                      <a:pt x="9479" y="15276"/>
                    </a:lnTo>
                    <a:lnTo>
                      <a:pt x="9395" y="15443"/>
                    </a:lnTo>
                    <a:lnTo>
                      <a:pt x="9345" y="15586"/>
                    </a:lnTo>
                    <a:lnTo>
                      <a:pt x="9275" y="15726"/>
                    </a:lnTo>
                    <a:lnTo>
                      <a:pt x="9162" y="15929"/>
                    </a:lnTo>
                    <a:lnTo>
                      <a:pt x="9125" y="16060"/>
                    </a:lnTo>
                    <a:lnTo>
                      <a:pt x="9118" y="16204"/>
                    </a:lnTo>
                    <a:lnTo>
                      <a:pt x="9133" y="16366"/>
                    </a:lnTo>
                    <a:lnTo>
                      <a:pt x="9145" y="16558"/>
                    </a:lnTo>
                    <a:lnTo>
                      <a:pt x="9224" y="16671"/>
                    </a:lnTo>
                    <a:lnTo>
                      <a:pt x="9275" y="16808"/>
                    </a:lnTo>
                    <a:lnTo>
                      <a:pt x="9364" y="16942"/>
                    </a:lnTo>
                    <a:lnTo>
                      <a:pt x="9448" y="17105"/>
                    </a:lnTo>
                    <a:lnTo>
                      <a:pt x="9540" y="17211"/>
                    </a:lnTo>
                    <a:lnTo>
                      <a:pt x="9663" y="17399"/>
                    </a:lnTo>
                    <a:lnTo>
                      <a:pt x="9739" y="17522"/>
                    </a:lnTo>
                    <a:lnTo>
                      <a:pt x="9826" y="17703"/>
                    </a:lnTo>
                    <a:lnTo>
                      <a:pt x="9978" y="17846"/>
                    </a:lnTo>
                    <a:lnTo>
                      <a:pt x="9978" y="17984"/>
                    </a:lnTo>
                    <a:lnTo>
                      <a:pt x="10014" y="18084"/>
                    </a:lnTo>
                    <a:lnTo>
                      <a:pt x="10050" y="18240"/>
                    </a:lnTo>
                    <a:lnTo>
                      <a:pt x="10081" y="18371"/>
                    </a:lnTo>
                    <a:lnTo>
                      <a:pt x="10146" y="18518"/>
                    </a:lnTo>
                    <a:lnTo>
                      <a:pt x="10197" y="18674"/>
                    </a:lnTo>
                    <a:lnTo>
                      <a:pt x="10223" y="18828"/>
                    </a:lnTo>
                    <a:lnTo>
                      <a:pt x="10173" y="18905"/>
                    </a:lnTo>
                    <a:cubicBezTo>
                      <a:pt x="10161" y="18932"/>
                      <a:pt x="10154" y="18960"/>
                      <a:pt x="10154" y="18989"/>
                    </a:cubicBezTo>
                    <a:cubicBezTo>
                      <a:pt x="10153" y="19050"/>
                      <a:pt x="10179" y="19109"/>
                      <a:pt x="10226" y="19154"/>
                    </a:cubicBezTo>
                    <a:lnTo>
                      <a:pt x="10226" y="19319"/>
                    </a:lnTo>
                    <a:lnTo>
                      <a:pt x="10198" y="19438"/>
                    </a:lnTo>
                    <a:lnTo>
                      <a:pt x="10205" y="19569"/>
                    </a:lnTo>
                    <a:lnTo>
                      <a:pt x="10335" y="19657"/>
                    </a:lnTo>
                    <a:cubicBezTo>
                      <a:pt x="10390" y="19680"/>
                      <a:pt x="10437" y="19714"/>
                      <a:pt x="10472" y="19757"/>
                    </a:cubicBezTo>
                    <a:cubicBezTo>
                      <a:pt x="10520" y="19816"/>
                      <a:pt x="10543" y="19887"/>
                      <a:pt x="10537" y="19959"/>
                    </a:cubicBezTo>
                    <a:cubicBezTo>
                      <a:pt x="10582" y="19972"/>
                      <a:pt x="10624" y="19991"/>
                      <a:pt x="10662" y="20015"/>
                    </a:cubicBezTo>
                    <a:cubicBezTo>
                      <a:pt x="10709" y="20045"/>
                      <a:pt x="10748" y="20083"/>
                      <a:pt x="10778" y="20126"/>
                    </a:cubicBezTo>
                    <a:lnTo>
                      <a:pt x="10833" y="20258"/>
                    </a:lnTo>
                    <a:lnTo>
                      <a:pt x="10886" y="20443"/>
                    </a:lnTo>
                    <a:lnTo>
                      <a:pt x="10987" y="20518"/>
                    </a:lnTo>
                    <a:lnTo>
                      <a:pt x="11146" y="20643"/>
                    </a:lnTo>
                    <a:lnTo>
                      <a:pt x="11228" y="20767"/>
                    </a:lnTo>
                    <a:lnTo>
                      <a:pt x="11192" y="20929"/>
                    </a:lnTo>
                    <a:lnTo>
                      <a:pt x="11116" y="20979"/>
                    </a:lnTo>
                    <a:lnTo>
                      <a:pt x="11094" y="21129"/>
                    </a:lnTo>
                    <a:lnTo>
                      <a:pt x="11138" y="21216"/>
                    </a:lnTo>
                    <a:lnTo>
                      <a:pt x="11232" y="21323"/>
                    </a:lnTo>
                    <a:lnTo>
                      <a:pt x="11296" y="21404"/>
                    </a:lnTo>
                    <a:lnTo>
                      <a:pt x="11398" y="21485"/>
                    </a:lnTo>
                    <a:lnTo>
                      <a:pt x="11510" y="21554"/>
                    </a:lnTo>
                    <a:lnTo>
                      <a:pt x="11611" y="21600"/>
                    </a:lnTo>
                    <a:lnTo>
                      <a:pt x="11710" y="21587"/>
                    </a:lnTo>
                    <a:lnTo>
                      <a:pt x="11885" y="21519"/>
                    </a:lnTo>
                    <a:lnTo>
                      <a:pt x="12056" y="21494"/>
                    </a:lnTo>
                    <a:lnTo>
                      <a:pt x="12201" y="21481"/>
                    </a:lnTo>
                    <a:lnTo>
                      <a:pt x="12338" y="21418"/>
                    </a:lnTo>
                    <a:lnTo>
                      <a:pt x="12439" y="21389"/>
                    </a:lnTo>
                    <a:lnTo>
                      <a:pt x="12576" y="21408"/>
                    </a:lnTo>
                    <a:lnTo>
                      <a:pt x="12739" y="21426"/>
                    </a:lnTo>
                    <a:lnTo>
                      <a:pt x="12983" y="21499"/>
                    </a:lnTo>
                    <a:lnTo>
                      <a:pt x="13082" y="21535"/>
                    </a:lnTo>
                    <a:lnTo>
                      <a:pt x="13262" y="21478"/>
                    </a:lnTo>
                    <a:lnTo>
                      <a:pt x="13457" y="21372"/>
                    </a:lnTo>
                    <a:lnTo>
                      <a:pt x="13645" y="21293"/>
                    </a:lnTo>
                    <a:lnTo>
                      <a:pt x="13855" y="21184"/>
                    </a:lnTo>
                    <a:lnTo>
                      <a:pt x="13917" y="21124"/>
                    </a:lnTo>
                    <a:lnTo>
                      <a:pt x="14020" y="21112"/>
                    </a:lnTo>
                    <a:lnTo>
                      <a:pt x="14140" y="20918"/>
                    </a:lnTo>
                    <a:lnTo>
                      <a:pt x="14308" y="20841"/>
                    </a:lnTo>
                    <a:lnTo>
                      <a:pt x="14496" y="20735"/>
                    </a:lnTo>
                    <a:lnTo>
                      <a:pt x="14532" y="20631"/>
                    </a:lnTo>
                    <a:cubicBezTo>
                      <a:pt x="14523" y="20597"/>
                      <a:pt x="14526" y="20563"/>
                      <a:pt x="14539" y="20531"/>
                    </a:cubicBezTo>
                    <a:cubicBezTo>
                      <a:pt x="14575" y="20440"/>
                      <a:pt x="14682" y="20384"/>
                      <a:pt x="14791" y="20399"/>
                    </a:cubicBezTo>
                    <a:lnTo>
                      <a:pt x="14996" y="20260"/>
                    </a:lnTo>
                    <a:lnTo>
                      <a:pt x="15107" y="20110"/>
                    </a:lnTo>
                    <a:lnTo>
                      <a:pt x="15150" y="19997"/>
                    </a:lnTo>
                    <a:lnTo>
                      <a:pt x="15186" y="19891"/>
                    </a:lnTo>
                    <a:lnTo>
                      <a:pt x="15369" y="19792"/>
                    </a:lnTo>
                    <a:lnTo>
                      <a:pt x="15454" y="19676"/>
                    </a:lnTo>
                    <a:lnTo>
                      <a:pt x="15576" y="19632"/>
                    </a:lnTo>
                    <a:lnTo>
                      <a:pt x="15638" y="19549"/>
                    </a:lnTo>
                    <a:lnTo>
                      <a:pt x="15609" y="19482"/>
                    </a:lnTo>
                    <a:lnTo>
                      <a:pt x="15554" y="19391"/>
                    </a:lnTo>
                    <a:lnTo>
                      <a:pt x="15540" y="19247"/>
                    </a:lnTo>
                    <a:lnTo>
                      <a:pt x="15594" y="18994"/>
                    </a:lnTo>
                    <a:lnTo>
                      <a:pt x="15680" y="18888"/>
                    </a:lnTo>
                    <a:lnTo>
                      <a:pt x="15783" y="18803"/>
                    </a:lnTo>
                    <a:lnTo>
                      <a:pt x="16108" y="18703"/>
                    </a:lnTo>
                    <a:lnTo>
                      <a:pt x="16294" y="18563"/>
                    </a:lnTo>
                    <a:lnTo>
                      <a:pt x="16356" y="18482"/>
                    </a:lnTo>
                    <a:lnTo>
                      <a:pt x="16450" y="18419"/>
                    </a:lnTo>
                    <a:lnTo>
                      <a:pt x="16505" y="18325"/>
                    </a:lnTo>
                    <a:lnTo>
                      <a:pt x="16541" y="18156"/>
                    </a:lnTo>
                    <a:lnTo>
                      <a:pt x="16548" y="18043"/>
                    </a:lnTo>
                    <a:lnTo>
                      <a:pt x="16548" y="17943"/>
                    </a:lnTo>
                    <a:lnTo>
                      <a:pt x="16457" y="17826"/>
                    </a:lnTo>
                    <a:lnTo>
                      <a:pt x="16334" y="17670"/>
                    </a:lnTo>
                    <a:lnTo>
                      <a:pt x="16240" y="17538"/>
                    </a:lnTo>
                    <a:lnTo>
                      <a:pt x="16254" y="17449"/>
                    </a:lnTo>
                    <a:lnTo>
                      <a:pt x="16304" y="17342"/>
                    </a:lnTo>
                    <a:lnTo>
                      <a:pt x="16369" y="17186"/>
                    </a:lnTo>
                    <a:lnTo>
                      <a:pt x="16451" y="17084"/>
                    </a:lnTo>
                    <a:lnTo>
                      <a:pt x="16585" y="16986"/>
                    </a:lnTo>
                    <a:lnTo>
                      <a:pt x="16672" y="16904"/>
                    </a:lnTo>
                    <a:lnTo>
                      <a:pt x="16819" y="16806"/>
                    </a:lnTo>
                    <a:lnTo>
                      <a:pt x="16908" y="16667"/>
                    </a:lnTo>
                    <a:lnTo>
                      <a:pt x="17014" y="16561"/>
                    </a:lnTo>
                    <a:lnTo>
                      <a:pt x="17093" y="16492"/>
                    </a:lnTo>
                    <a:lnTo>
                      <a:pt x="17208" y="16417"/>
                    </a:lnTo>
                    <a:lnTo>
                      <a:pt x="17512" y="16298"/>
                    </a:lnTo>
                    <a:lnTo>
                      <a:pt x="17764" y="16173"/>
                    </a:lnTo>
                    <a:lnTo>
                      <a:pt x="17834" y="16130"/>
                    </a:lnTo>
                    <a:lnTo>
                      <a:pt x="18026" y="15990"/>
                    </a:lnTo>
                    <a:cubicBezTo>
                      <a:pt x="18082" y="15956"/>
                      <a:pt x="18127" y="15911"/>
                      <a:pt x="18157" y="15859"/>
                    </a:cubicBezTo>
                    <a:cubicBezTo>
                      <a:pt x="18188" y="15803"/>
                      <a:pt x="18203" y="15741"/>
                      <a:pt x="18198" y="15679"/>
                    </a:cubicBezTo>
                    <a:lnTo>
                      <a:pt x="18246" y="15583"/>
                    </a:lnTo>
                    <a:lnTo>
                      <a:pt x="18366" y="15487"/>
                    </a:lnTo>
                    <a:lnTo>
                      <a:pt x="18345" y="15404"/>
                    </a:lnTo>
                    <a:lnTo>
                      <a:pt x="18243" y="15335"/>
                    </a:lnTo>
                    <a:lnTo>
                      <a:pt x="18279" y="15179"/>
                    </a:lnTo>
                    <a:lnTo>
                      <a:pt x="18265" y="15022"/>
                    </a:lnTo>
                    <a:lnTo>
                      <a:pt x="18188" y="14962"/>
                    </a:lnTo>
                    <a:cubicBezTo>
                      <a:pt x="18199" y="14916"/>
                      <a:pt x="18210" y="14869"/>
                      <a:pt x="18222" y="14823"/>
                    </a:cubicBezTo>
                    <a:cubicBezTo>
                      <a:pt x="18246" y="14730"/>
                      <a:pt x="18271" y="14638"/>
                      <a:pt x="18299" y="14547"/>
                    </a:cubicBezTo>
                    <a:lnTo>
                      <a:pt x="18285" y="14483"/>
                    </a:lnTo>
                    <a:lnTo>
                      <a:pt x="18215" y="14353"/>
                    </a:lnTo>
                    <a:lnTo>
                      <a:pt x="18136" y="14247"/>
                    </a:lnTo>
                    <a:lnTo>
                      <a:pt x="18078" y="14173"/>
                    </a:lnTo>
                    <a:lnTo>
                      <a:pt x="18002" y="14079"/>
                    </a:lnTo>
                    <a:lnTo>
                      <a:pt x="17843" y="13717"/>
                    </a:lnTo>
                    <a:lnTo>
                      <a:pt x="17758" y="13550"/>
                    </a:lnTo>
                    <a:lnTo>
                      <a:pt x="17758" y="13409"/>
                    </a:lnTo>
                    <a:lnTo>
                      <a:pt x="17751" y="13334"/>
                    </a:lnTo>
                    <a:lnTo>
                      <a:pt x="17751" y="13215"/>
                    </a:lnTo>
                    <a:lnTo>
                      <a:pt x="17758" y="13096"/>
                    </a:lnTo>
                    <a:lnTo>
                      <a:pt x="17763" y="12990"/>
                    </a:lnTo>
                    <a:lnTo>
                      <a:pt x="17785" y="12871"/>
                    </a:lnTo>
                    <a:lnTo>
                      <a:pt x="17806" y="12777"/>
                    </a:lnTo>
                    <a:lnTo>
                      <a:pt x="17847" y="12656"/>
                    </a:lnTo>
                    <a:lnTo>
                      <a:pt x="17869" y="12508"/>
                    </a:lnTo>
                    <a:lnTo>
                      <a:pt x="17948" y="12397"/>
                    </a:lnTo>
                    <a:lnTo>
                      <a:pt x="17975" y="12341"/>
                    </a:lnTo>
                    <a:lnTo>
                      <a:pt x="18025" y="12266"/>
                    </a:lnTo>
                    <a:lnTo>
                      <a:pt x="18119" y="12160"/>
                    </a:lnTo>
                    <a:lnTo>
                      <a:pt x="18213" y="12103"/>
                    </a:lnTo>
                    <a:lnTo>
                      <a:pt x="18266" y="11989"/>
                    </a:lnTo>
                    <a:lnTo>
                      <a:pt x="18374" y="11916"/>
                    </a:lnTo>
                    <a:lnTo>
                      <a:pt x="18483" y="11840"/>
                    </a:lnTo>
                    <a:lnTo>
                      <a:pt x="18706" y="11666"/>
                    </a:lnTo>
                    <a:lnTo>
                      <a:pt x="18844" y="11494"/>
                    </a:lnTo>
                    <a:lnTo>
                      <a:pt x="18938" y="11331"/>
                    </a:lnTo>
                    <a:lnTo>
                      <a:pt x="19010" y="11281"/>
                    </a:lnTo>
                    <a:lnTo>
                      <a:pt x="19096" y="11194"/>
                    </a:lnTo>
                    <a:lnTo>
                      <a:pt x="19175" y="11131"/>
                    </a:lnTo>
                    <a:lnTo>
                      <a:pt x="19282" y="10996"/>
                    </a:lnTo>
                    <a:lnTo>
                      <a:pt x="19324" y="10940"/>
                    </a:lnTo>
                    <a:lnTo>
                      <a:pt x="19389" y="10872"/>
                    </a:lnTo>
                    <a:lnTo>
                      <a:pt x="19524" y="10799"/>
                    </a:lnTo>
                    <a:cubicBezTo>
                      <a:pt x="19560" y="10778"/>
                      <a:pt x="19596" y="10758"/>
                      <a:pt x="19632" y="10738"/>
                    </a:cubicBezTo>
                    <a:cubicBezTo>
                      <a:pt x="19704" y="10698"/>
                      <a:pt x="19777" y="10660"/>
                      <a:pt x="19849" y="10621"/>
                    </a:cubicBezTo>
                    <a:lnTo>
                      <a:pt x="20001" y="10465"/>
                    </a:lnTo>
                    <a:lnTo>
                      <a:pt x="20044" y="10396"/>
                    </a:lnTo>
                    <a:lnTo>
                      <a:pt x="20145" y="10315"/>
                    </a:lnTo>
                    <a:lnTo>
                      <a:pt x="20246" y="10299"/>
                    </a:lnTo>
                    <a:lnTo>
                      <a:pt x="20366" y="10226"/>
                    </a:lnTo>
                    <a:cubicBezTo>
                      <a:pt x="20392" y="10200"/>
                      <a:pt x="20416" y="10173"/>
                      <a:pt x="20438" y="10144"/>
                    </a:cubicBezTo>
                    <a:cubicBezTo>
                      <a:pt x="20479" y="10093"/>
                      <a:pt x="20513" y="10038"/>
                      <a:pt x="20540" y="9980"/>
                    </a:cubicBezTo>
                    <a:lnTo>
                      <a:pt x="20669" y="9713"/>
                    </a:lnTo>
                    <a:lnTo>
                      <a:pt x="20763" y="9627"/>
                    </a:lnTo>
                    <a:lnTo>
                      <a:pt x="20850" y="9427"/>
                    </a:lnTo>
                    <a:lnTo>
                      <a:pt x="21053" y="9218"/>
                    </a:lnTo>
                    <a:lnTo>
                      <a:pt x="21106" y="9101"/>
                    </a:lnTo>
                    <a:lnTo>
                      <a:pt x="21207" y="8920"/>
                    </a:lnTo>
                    <a:lnTo>
                      <a:pt x="21270" y="8773"/>
                    </a:lnTo>
                    <a:lnTo>
                      <a:pt x="21345" y="8665"/>
                    </a:lnTo>
                    <a:lnTo>
                      <a:pt x="21410" y="8525"/>
                    </a:lnTo>
                    <a:lnTo>
                      <a:pt x="21516" y="8371"/>
                    </a:lnTo>
                    <a:lnTo>
                      <a:pt x="21542" y="8283"/>
                    </a:lnTo>
                    <a:lnTo>
                      <a:pt x="21600" y="8133"/>
                    </a:lnTo>
                    <a:lnTo>
                      <a:pt x="21600" y="8003"/>
                    </a:lnTo>
                    <a:lnTo>
                      <a:pt x="21549" y="7866"/>
                    </a:lnTo>
                    <a:lnTo>
                      <a:pt x="21537" y="7747"/>
                    </a:lnTo>
                    <a:lnTo>
                      <a:pt x="21528" y="7674"/>
                    </a:lnTo>
                    <a:lnTo>
                      <a:pt x="21417" y="7699"/>
                    </a:lnTo>
                    <a:lnTo>
                      <a:pt x="21251" y="7784"/>
                    </a:lnTo>
                    <a:lnTo>
                      <a:pt x="20953" y="7845"/>
                    </a:lnTo>
                    <a:lnTo>
                      <a:pt x="20707" y="7931"/>
                    </a:lnTo>
                    <a:lnTo>
                      <a:pt x="20477" y="7987"/>
                    </a:lnTo>
                    <a:lnTo>
                      <a:pt x="20226" y="8018"/>
                    </a:lnTo>
                    <a:lnTo>
                      <a:pt x="19987" y="8056"/>
                    </a:lnTo>
                    <a:lnTo>
                      <a:pt x="19901" y="8080"/>
                    </a:lnTo>
                    <a:lnTo>
                      <a:pt x="19803" y="8110"/>
                    </a:lnTo>
                    <a:lnTo>
                      <a:pt x="19721" y="8116"/>
                    </a:lnTo>
                    <a:lnTo>
                      <a:pt x="19490" y="8053"/>
                    </a:lnTo>
                    <a:cubicBezTo>
                      <a:pt x="19444" y="8038"/>
                      <a:pt x="19398" y="8022"/>
                      <a:pt x="19353" y="8003"/>
                    </a:cubicBezTo>
                    <a:cubicBezTo>
                      <a:pt x="19301" y="7982"/>
                      <a:pt x="19251" y="7959"/>
                      <a:pt x="19202" y="7934"/>
                    </a:cubicBezTo>
                    <a:lnTo>
                      <a:pt x="19144" y="7826"/>
                    </a:lnTo>
                    <a:lnTo>
                      <a:pt x="19151" y="7733"/>
                    </a:lnTo>
                    <a:lnTo>
                      <a:pt x="19091" y="7614"/>
                    </a:lnTo>
                    <a:lnTo>
                      <a:pt x="19062" y="7518"/>
                    </a:lnTo>
                    <a:lnTo>
                      <a:pt x="19033" y="7385"/>
                    </a:lnTo>
                    <a:lnTo>
                      <a:pt x="18862" y="7343"/>
                    </a:lnTo>
                    <a:lnTo>
                      <a:pt x="18805" y="7243"/>
                    </a:lnTo>
                    <a:lnTo>
                      <a:pt x="18783" y="7166"/>
                    </a:lnTo>
                    <a:lnTo>
                      <a:pt x="18632" y="7073"/>
                    </a:lnTo>
                    <a:lnTo>
                      <a:pt x="18605" y="6906"/>
                    </a:lnTo>
                    <a:lnTo>
                      <a:pt x="18519" y="6897"/>
                    </a:lnTo>
                    <a:cubicBezTo>
                      <a:pt x="18492" y="6901"/>
                      <a:pt x="18465" y="6899"/>
                      <a:pt x="18439" y="6891"/>
                    </a:cubicBezTo>
                    <a:cubicBezTo>
                      <a:pt x="18366" y="6870"/>
                      <a:pt x="18317" y="6810"/>
                      <a:pt x="18316" y="6743"/>
                    </a:cubicBezTo>
                    <a:cubicBezTo>
                      <a:pt x="18302" y="6716"/>
                      <a:pt x="18283" y="6691"/>
                      <a:pt x="18261" y="6668"/>
                    </a:cubicBezTo>
                    <a:cubicBezTo>
                      <a:pt x="18230" y="6636"/>
                      <a:pt x="18191" y="6609"/>
                      <a:pt x="18148" y="6589"/>
                    </a:cubicBezTo>
                    <a:lnTo>
                      <a:pt x="18030" y="6579"/>
                    </a:lnTo>
                    <a:lnTo>
                      <a:pt x="17871" y="6463"/>
                    </a:lnTo>
                    <a:lnTo>
                      <a:pt x="17771" y="6355"/>
                    </a:lnTo>
                    <a:lnTo>
                      <a:pt x="17792" y="6247"/>
                    </a:lnTo>
                    <a:lnTo>
                      <a:pt x="17721" y="6185"/>
                    </a:lnTo>
                    <a:lnTo>
                      <a:pt x="17713" y="6087"/>
                    </a:lnTo>
                    <a:lnTo>
                      <a:pt x="17711" y="6006"/>
                    </a:lnTo>
                    <a:lnTo>
                      <a:pt x="17530" y="5908"/>
                    </a:lnTo>
                    <a:lnTo>
                      <a:pt x="17460" y="5774"/>
                    </a:lnTo>
                    <a:lnTo>
                      <a:pt x="17402" y="5680"/>
                    </a:lnTo>
                    <a:lnTo>
                      <a:pt x="17258" y="5530"/>
                    </a:lnTo>
                    <a:lnTo>
                      <a:pt x="17183" y="5451"/>
                    </a:lnTo>
                    <a:lnTo>
                      <a:pt x="17082" y="5351"/>
                    </a:lnTo>
                    <a:lnTo>
                      <a:pt x="17048" y="5222"/>
                    </a:lnTo>
                    <a:lnTo>
                      <a:pt x="17048" y="5089"/>
                    </a:lnTo>
                    <a:cubicBezTo>
                      <a:pt x="17065" y="5018"/>
                      <a:pt x="17060" y="4945"/>
                      <a:pt x="17034" y="4876"/>
                    </a:cubicBezTo>
                    <a:cubicBezTo>
                      <a:pt x="17013" y="4820"/>
                      <a:pt x="16978" y="4769"/>
                      <a:pt x="16933" y="4726"/>
                    </a:cubicBezTo>
                    <a:lnTo>
                      <a:pt x="16889" y="4630"/>
                    </a:lnTo>
                    <a:lnTo>
                      <a:pt x="16775" y="4458"/>
                    </a:lnTo>
                    <a:lnTo>
                      <a:pt x="16501" y="4341"/>
                    </a:lnTo>
                    <a:lnTo>
                      <a:pt x="16472" y="4199"/>
                    </a:lnTo>
                    <a:cubicBezTo>
                      <a:pt x="16470" y="4140"/>
                      <a:pt x="16461" y="4082"/>
                      <a:pt x="16443" y="4024"/>
                    </a:cubicBezTo>
                    <a:cubicBezTo>
                      <a:pt x="16425" y="3965"/>
                      <a:pt x="16398" y="3909"/>
                      <a:pt x="16363" y="3855"/>
                    </a:cubicBezTo>
                    <a:lnTo>
                      <a:pt x="16291" y="3674"/>
                    </a:lnTo>
                    <a:cubicBezTo>
                      <a:pt x="16289" y="3647"/>
                      <a:pt x="16285" y="3621"/>
                      <a:pt x="16277" y="3595"/>
                    </a:cubicBezTo>
                    <a:cubicBezTo>
                      <a:pt x="16256" y="3522"/>
                      <a:pt x="16213" y="3455"/>
                      <a:pt x="16154" y="3401"/>
                    </a:cubicBezTo>
                    <a:lnTo>
                      <a:pt x="16039" y="3250"/>
                    </a:lnTo>
                    <a:lnTo>
                      <a:pt x="15769" y="2894"/>
                    </a:lnTo>
                    <a:lnTo>
                      <a:pt x="15611" y="2670"/>
                    </a:lnTo>
                    <a:lnTo>
                      <a:pt x="15517" y="2564"/>
                    </a:lnTo>
                    <a:lnTo>
                      <a:pt x="15445" y="2442"/>
                    </a:lnTo>
                    <a:lnTo>
                      <a:pt x="15435" y="2351"/>
                    </a:lnTo>
                    <a:lnTo>
                      <a:pt x="15507" y="2268"/>
                    </a:lnTo>
                    <a:lnTo>
                      <a:pt x="15557" y="2174"/>
                    </a:lnTo>
                    <a:lnTo>
                      <a:pt x="15579" y="2095"/>
                    </a:lnTo>
                    <a:lnTo>
                      <a:pt x="15476" y="1983"/>
                    </a:lnTo>
                    <a:lnTo>
                      <a:pt x="15276" y="1854"/>
                    </a:lnTo>
                    <a:lnTo>
                      <a:pt x="15163" y="1798"/>
                    </a:lnTo>
                    <a:lnTo>
                      <a:pt x="15004" y="1798"/>
                    </a:lnTo>
                    <a:lnTo>
                      <a:pt x="14882" y="1810"/>
                    </a:lnTo>
                    <a:lnTo>
                      <a:pt x="14680" y="1867"/>
                    </a:lnTo>
                    <a:lnTo>
                      <a:pt x="14502" y="1898"/>
                    </a:lnTo>
                    <a:lnTo>
                      <a:pt x="14335" y="1902"/>
                    </a:lnTo>
                    <a:lnTo>
                      <a:pt x="14156" y="1858"/>
                    </a:lnTo>
                    <a:lnTo>
                      <a:pt x="13954" y="1827"/>
                    </a:lnTo>
                    <a:lnTo>
                      <a:pt x="13826" y="1795"/>
                    </a:lnTo>
                    <a:lnTo>
                      <a:pt x="13650" y="1741"/>
                    </a:lnTo>
                    <a:lnTo>
                      <a:pt x="13521" y="1716"/>
                    </a:lnTo>
                    <a:lnTo>
                      <a:pt x="13389" y="1716"/>
                    </a:lnTo>
                    <a:lnTo>
                      <a:pt x="13240" y="1681"/>
                    </a:lnTo>
                    <a:lnTo>
                      <a:pt x="13103" y="1668"/>
                    </a:lnTo>
                    <a:lnTo>
                      <a:pt x="12934" y="1606"/>
                    </a:lnTo>
                    <a:lnTo>
                      <a:pt x="12749" y="1481"/>
                    </a:lnTo>
                    <a:lnTo>
                      <a:pt x="12590" y="1418"/>
                    </a:lnTo>
                    <a:lnTo>
                      <a:pt x="12457" y="1374"/>
                    </a:lnTo>
                    <a:lnTo>
                      <a:pt x="12308" y="1331"/>
                    </a:lnTo>
                    <a:lnTo>
                      <a:pt x="12072" y="1318"/>
                    </a:lnTo>
                    <a:lnTo>
                      <a:pt x="11905" y="1298"/>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22" name="Shape 286">
                <a:extLst>
                  <a:ext uri="{FF2B5EF4-FFF2-40B4-BE49-F238E27FC236}">
                    <a16:creationId xmlns:a16="http://schemas.microsoft.com/office/drawing/2014/main" id="{046755F5-BAAB-4D85-93A9-3C7158644240}"/>
                  </a:ext>
                </a:extLst>
              </p:cNvPr>
              <p:cNvSpPr/>
              <p:nvPr/>
            </p:nvSpPr>
            <p:spPr>
              <a:xfrm>
                <a:off x="11760382" y="5611439"/>
                <a:ext cx="41808" cy="50831"/>
              </a:xfrm>
              <a:custGeom>
                <a:avLst/>
                <a:gdLst/>
                <a:ahLst/>
                <a:cxnLst>
                  <a:cxn ang="0">
                    <a:pos x="wd2" y="hd2"/>
                  </a:cxn>
                  <a:cxn ang="5400000">
                    <a:pos x="wd2" y="hd2"/>
                  </a:cxn>
                  <a:cxn ang="10800000">
                    <a:pos x="wd2" y="hd2"/>
                  </a:cxn>
                  <a:cxn ang="16200000">
                    <a:pos x="wd2" y="hd2"/>
                  </a:cxn>
                </a:cxnLst>
                <a:rect l="0" t="0" r="r" b="b"/>
                <a:pathLst>
                  <a:path w="21600" h="21600" extrusionOk="0">
                    <a:moveTo>
                      <a:pt x="6326" y="0"/>
                    </a:moveTo>
                    <a:lnTo>
                      <a:pt x="0" y="9333"/>
                    </a:lnTo>
                    <a:lnTo>
                      <a:pt x="1832" y="16236"/>
                    </a:lnTo>
                    <a:lnTo>
                      <a:pt x="15030" y="21600"/>
                    </a:lnTo>
                    <a:lnTo>
                      <a:pt x="21600" y="15013"/>
                    </a:lnTo>
                    <a:lnTo>
                      <a:pt x="21600" y="3233"/>
                    </a:lnTo>
                    <a:lnTo>
                      <a:pt x="6326"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23" name="Shape 287">
                <a:extLst>
                  <a:ext uri="{FF2B5EF4-FFF2-40B4-BE49-F238E27FC236}">
                    <a16:creationId xmlns:a16="http://schemas.microsoft.com/office/drawing/2014/main" id="{D9363495-F72D-4D33-9C6C-9DAB89541D30}"/>
                  </a:ext>
                </a:extLst>
              </p:cNvPr>
              <p:cNvSpPr/>
              <p:nvPr/>
            </p:nvSpPr>
            <p:spPr>
              <a:xfrm>
                <a:off x="10937580" y="6123082"/>
                <a:ext cx="462260" cy="885095"/>
              </a:xfrm>
              <a:custGeom>
                <a:avLst/>
                <a:gdLst/>
                <a:ahLst/>
                <a:cxnLst>
                  <a:cxn ang="0">
                    <a:pos x="wd2" y="hd2"/>
                  </a:cxn>
                  <a:cxn ang="5400000">
                    <a:pos x="wd2" y="hd2"/>
                  </a:cxn>
                  <a:cxn ang="10800000">
                    <a:pos x="wd2" y="hd2"/>
                  </a:cxn>
                  <a:cxn ang="16200000">
                    <a:pos x="wd2" y="hd2"/>
                  </a:cxn>
                </a:cxnLst>
                <a:rect l="0" t="0" r="r" b="b"/>
                <a:pathLst>
                  <a:path w="21600" h="21600" extrusionOk="0">
                    <a:moveTo>
                      <a:pt x="18696" y="0"/>
                    </a:moveTo>
                    <a:lnTo>
                      <a:pt x="19918" y="733"/>
                    </a:lnTo>
                    <a:lnTo>
                      <a:pt x="20738" y="1839"/>
                    </a:lnTo>
                    <a:lnTo>
                      <a:pt x="21268" y="2687"/>
                    </a:lnTo>
                    <a:lnTo>
                      <a:pt x="21600" y="3981"/>
                    </a:lnTo>
                    <a:lnTo>
                      <a:pt x="20826" y="5023"/>
                    </a:lnTo>
                    <a:cubicBezTo>
                      <a:pt x="20609" y="5376"/>
                      <a:pt x="20366" y="5724"/>
                      <a:pt x="20097" y="6066"/>
                    </a:cubicBezTo>
                    <a:cubicBezTo>
                      <a:pt x="19662" y="6621"/>
                      <a:pt x="19160" y="7160"/>
                      <a:pt x="18594" y="7681"/>
                    </a:cubicBezTo>
                    <a:lnTo>
                      <a:pt x="17802" y="9136"/>
                    </a:lnTo>
                    <a:lnTo>
                      <a:pt x="17031" y="10592"/>
                    </a:lnTo>
                    <a:cubicBezTo>
                      <a:pt x="16764" y="10920"/>
                      <a:pt x="16499" y="11249"/>
                      <a:pt x="16235" y="11578"/>
                    </a:cubicBezTo>
                    <a:cubicBezTo>
                      <a:pt x="15888" y="12012"/>
                      <a:pt x="15544" y="12446"/>
                      <a:pt x="15203" y="12881"/>
                    </a:cubicBezTo>
                    <a:lnTo>
                      <a:pt x="14606" y="13728"/>
                    </a:lnTo>
                    <a:lnTo>
                      <a:pt x="14010" y="14760"/>
                    </a:lnTo>
                    <a:lnTo>
                      <a:pt x="13215" y="16308"/>
                    </a:lnTo>
                    <a:lnTo>
                      <a:pt x="12950" y="17339"/>
                    </a:lnTo>
                    <a:lnTo>
                      <a:pt x="12553" y="18473"/>
                    </a:lnTo>
                    <a:lnTo>
                      <a:pt x="11359" y="19536"/>
                    </a:lnTo>
                    <a:lnTo>
                      <a:pt x="10161" y="20327"/>
                    </a:lnTo>
                    <a:lnTo>
                      <a:pt x="8567" y="20671"/>
                    </a:lnTo>
                    <a:lnTo>
                      <a:pt x="6435" y="21394"/>
                    </a:lnTo>
                    <a:lnTo>
                      <a:pt x="5446" y="21600"/>
                    </a:lnTo>
                    <a:cubicBezTo>
                      <a:pt x="4959" y="21573"/>
                      <a:pt x="4489" y="21491"/>
                      <a:pt x="4070" y="21359"/>
                    </a:cubicBezTo>
                    <a:cubicBezTo>
                      <a:pt x="3557" y="21198"/>
                      <a:pt x="3137" y="20969"/>
                      <a:pt x="2852" y="20696"/>
                    </a:cubicBezTo>
                    <a:cubicBezTo>
                      <a:pt x="2444" y="20653"/>
                      <a:pt x="2063" y="20558"/>
                      <a:pt x="1743" y="20420"/>
                    </a:cubicBezTo>
                    <a:cubicBezTo>
                      <a:pt x="1252" y="20209"/>
                      <a:pt x="932" y="19911"/>
                      <a:pt x="844" y="19584"/>
                    </a:cubicBezTo>
                    <a:cubicBezTo>
                      <a:pt x="905" y="19197"/>
                      <a:pt x="866" y="18807"/>
                      <a:pt x="730" y="18426"/>
                    </a:cubicBezTo>
                    <a:cubicBezTo>
                      <a:pt x="598" y="18058"/>
                      <a:pt x="376" y="17701"/>
                      <a:pt x="69" y="17362"/>
                    </a:cubicBezTo>
                    <a:lnTo>
                      <a:pt x="0" y="16892"/>
                    </a:lnTo>
                    <a:lnTo>
                      <a:pt x="534" y="16137"/>
                    </a:lnTo>
                    <a:lnTo>
                      <a:pt x="1656" y="15246"/>
                    </a:lnTo>
                    <a:lnTo>
                      <a:pt x="2695" y="14432"/>
                    </a:lnTo>
                    <a:lnTo>
                      <a:pt x="3422" y="13745"/>
                    </a:lnTo>
                    <a:lnTo>
                      <a:pt x="4350" y="12713"/>
                    </a:lnTo>
                    <a:cubicBezTo>
                      <a:pt x="4439" y="12532"/>
                      <a:pt x="4506" y="12348"/>
                      <a:pt x="4549" y="12163"/>
                    </a:cubicBezTo>
                    <a:cubicBezTo>
                      <a:pt x="4652" y="11728"/>
                      <a:pt x="4630" y="11288"/>
                      <a:pt x="4483" y="10857"/>
                    </a:cubicBezTo>
                    <a:lnTo>
                      <a:pt x="3687" y="9791"/>
                    </a:lnTo>
                    <a:cubicBezTo>
                      <a:pt x="3616" y="9483"/>
                      <a:pt x="3616" y="9171"/>
                      <a:pt x="3687" y="8862"/>
                    </a:cubicBezTo>
                    <a:cubicBezTo>
                      <a:pt x="3777" y="8475"/>
                      <a:pt x="3978" y="8097"/>
                      <a:pt x="4284" y="7740"/>
                    </a:cubicBezTo>
                    <a:lnTo>
                      <a:pt x="4594" y="6756"/>
                    </a:lnTo>
                    <a:lnTo>
                      <a:pt x="5588" y="5967"/>
                    </a:lnTo>
                    <a:cubicBezTo>
                      <a:pt x="5955" y="5974"/>
                      <a:pt x="6322" y="5974"/>
                      <a:pt x="6688" y="5967"/>
                    </a:cubicBezTo>
                    <a:cubicBezTo>
                      <a:pt x="7526" y="5953"/>
                      <a:pt x="8361" y="5907"/>
                      <a:pt x="9186" y="5830"/>
                    </a:cubicBezTo>
                    <a:lnTo>
                      <a:pt x="11131" y="5176"/>
                    </a:lnTo>
                    <a:lnTo>
                      <a:pt x="12454" y="4236"/>
                    </a:lnTo>
                    <a:cubicBezTo>
                      <a:pt x="12687" y="3853"/>
                      <a:pt x="13251" y="3548"/>
                      <a:pt x="13980" y="3411"/>
                    </a:cubicBezTo>
                    <a:cubicBezTo>
                      <a:pt x="14318" y="3347"/>
                      <a:pt x="14680" y="3324"/>
                      <a:pt x="15038" y="3342"/>
                    </a:cubicBezTo>
                    <a:cubicBezTo>
                      <a:pt x="15356" y="3221"/>
                      <a:pt x="15665" y="3095"/>
                      <a:pt x="15966" y="2964"/>
                    </a:cubicBezTo>
                    <a:cubicBezTo>
                      <a:pt x="16733" y="2629"/>
                      <a:pt x="17443" y="2261"/>
                      <a:pt x="18088" y="1863"/>
                    </a:cubicBezTo>
                    <a:lnTo>
                      <a:pt x="18685" y="866"/>
                    </a:lnTo>
                    <a:lnTo>
                      <a:pt x="18354" y="341"/>
                    </a:lnTo>
                    <a:lnTo>
                      <a:pt x="18696"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24" name="Shape 288">
                <a:extLst>
                  <a:ext uri="{FF2B5EF4-FFF2-40B4-BE49-F238E27FC236}">
                    <a16:creationId xmlns:a16="http://schemas.microsoft.com/office/drawing/2014/main" id="{FD3CC94E-6B07-4DAA-964E-2333954AE568}"/>
                  </a:ext>
                </a:extLst>
              </p:cNvPr>
              <p:cNvSpPr/>
              <p:nvPr/>
            </p:nvSpPr>
            <p:spPr>
              <a:xfrm>
                <a:off x="11058832" y="6204208"/>
                <a:ext cx="30437" cy="47751"/>
              </a:xfrm>
              <a:custGeom>
                <a:avLst/>
                <a:gdLst/>
                <a:ahLst/>
                <a:cxnLst>
                  <a:cxn ang="0">
                    <a:pos x="wd2" y="hd2"/>
                  </a:cxn>
                  <a:cxn ang="5400000">
                    <a:pos x="wd2" y="hd2"/>
                  </a:cxn>
                  <a:cxn ang="10800000">
                    <a:pos x="wd2" y="hd2"/>
                  </a:cxn>
                  <a:cxn ang="16200000">
                    <a:pos x="wd2" y="hd2"/>
                  </a:cxn>
                </a:cxnLst>
                <a:rect l="0" t="0" r="r" b="b"/>
                <a:pathLst>
                  <a:path w="21600" h="21600" extrusionOk="0">
                    <a:moveTo>
                      <a:pt x="18802" y="0"/>
                    </a:moveTo>
                    <a:lnTo>
                      <a:pt x="4813" y="1913"/>
                    </a:lnTo>
                    <a:lnTo>
                      <a:pt x="0" y="12064"/>
                    </a:lnTo>
                    <a:lnTo>
                      <a:pt x="5083" y="21600"/>
                    </a:lnTo>
                    <a:lnTo>
                      <a:pt x="21600" y="9513"/>
                    </a:lnTo>
                    <a:lnTo>
                      <a:pt x="18802"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25" name="Shape 289">
                <a:extLst>
                  <a:ext uri="{FF2B5EF4-FFF2-40B4-BE49-F238E27FC236}">
                    <a16:creationId xmlns:a16="http://schemas.microsoft.com/office/drawing/2014/main" id="{05C0479E-FEAB-4BB8-884D-749EDAA6C24F}"/>
                  </a:ext>
                </a:extLst>
              </p:cNvPr>
              <p:cNvSpPr/>
              <p:nvPr/>
            </p:nvSpPr>
            <p:spPr>
              <a:xfrm>
                <a:off x="11011027" y="6130653"/>
                <a:ext cx="39203" cy="38412"/>
              </a:xfrm>
              <a:custGeom>
                <a:avLst/>
                <a:gdLst/>
                <a:ahLst/>
                <a:cxnLst>
                  <a:cxn ang="0">
                    <a:pos x="wd2" y="hd2"/>
                  </a:cxn>
                  <a:cxn ang="5400000">
                    <a:pos x="wd2" y="hd2"/>
                  </a:cxn>
                  <a:cxn ang="10800000">
                    <a:pos x="wd2" y="hd2"/>
                  </a:cxn>
                  <a:cxn ang="16200000">
                    <a:pos x="wd2" y="hd2"/>
                  </a:cxn>
                </a:cxnLst>
                <a:rect l="0" t="0" r="r" b="b"/>
                <a:pathLst>
                  <a:path w="21600" h="21600" extrusionOk="0">
                    <a:moveTo>
                      <a:pt x="18128" y="8886"/>
                    </a:moveTo>
                    <a:lnTo>
                      <a:pt x="8318" y="0"/>
                    </a:lnTo>
                    <a:lnTo>
                      <a:pt x="0" y="6625"/>
                    </a:lnTo>
                    <a:lnTo>
                      <a:pt x="9071" y="16880"/>
                    </a:lnTo>
                    <a:lnTo>
                      <a:pt x="21600" y="21600"/>
                    </a:lnTo>
                    <a:lnTo>
                      <a:pt x="18128" y="8886"/>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26" name="Shape 290">
                <a:extLst>
                  <a:ext uri="{FF2B5EF4-FFF2-40B4-BE49-F238E27FC236}">
                    <a16:creationId xmlns:a16="http://schemas.microsoft.com/office/drawing/2014/main" id="{ACEC87FE-1187-47EE-AE46-E00031A7D8D9}"/>
                  </a:ext>
                </a:extLst>
              </p:cNvPr>
              <p:cNvSpPr/>
              <p:nvPr/>
            </p:nvSpPr>
            <p:spPr>
              <a:xfrm>
                <a:off x="10963448" y="6154857"/>
                <a:ext cx="37839" cy="30957"/>
              </a:xfrm>
              <a:custGeom>
                <a:avLst/>
                <a:gdLst/>
                <a:ahLst/>
                <a:cxnLst>
                  <a:cxn ang="0">
                    <a:pos x="wd2" y="hd2"/>
                  </a:cxn>
                  <a:cxn ang="5400000">
                    <a:pos x="wd2" y="hd2"/>
                  </a:cxn>
                  <a:cxn ang="10800000">
                    <a:pos x="wd2" y="hd2"/>
                  </a:cxn>
                  <a:cxn ang="16200000">
                    <a:pos x="wd2" y="hd2"/>
                  </a:cxn>
                </a:cxnLst>
                <a:rect l="0" t="0" r="r" b="b"/>
                <a:pathLst>
                  <a:path w="21600" h="21600" extrusionOk="0">
                    <a:moveTo>
                      <a:pt x="7800" y="0"/>
                    </a:moveTo>
                    <a:lnTo>
                      <a:pt x="0" y="2623"/>
                    </a:lnTo>
                    <a:lnTo>
                      <a:pt x="9524" y="21600"/>
                    </a:lnTo>
                    <a:lnTo>
                      <a:pt x="21600" y="20616"/>
                    </a:lnTo>
                    <a:lnTo>
                      <a:pt x="19979" y="3243"/>
                    </a:lnTo>
                    <a:lnTo>
                      <a:pt x="7800"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27" name="Shape 291">
                <a:extLst>
                  <a:ext uri="{FF2B5EF4-FFF2-40B4-BE49-F238E27FC236}">
                    <a16:creationId xmlns:a16="http://schemas.microsoft.com/office/drawing/2014/main" id="{B3AF31C9-F94E-4410-99F3-DC46F2A2AE7E}"/>
                  </a:ext>
                </a:extLst>
              </p:cNvPr>
              <p:cNvSpPr/>
              <p:nvPr/>
            </p:nvSpPr>
            <p:spPr>
              <a:xfrm>
                <a:off x="10929079" y="6079814"/>
                <a:ext cx="30436" cy="44724"/>
              </a:xfrm>
              <a:custGeom>
                <a:avLst/>
                <a:gdLst/>
                <a:ahLst/>
                <a:cxnLst>
                  <a:cxn ang="0">
                    <a:pos x="wd2" y="hd2"/>
                  </a:cxn>
                  <a:cxn ang="5400000">
                    <a:pos x="wd2" y="hd2"/>
                  </a:cxn>
                  <a:cxn ang="10800000">
                    <a:pos x="wd2" y="hd2"/>
                  </a:cxn>
                  <a:cxn ang="16200000">
                    <a:pos x="wd2" y="hd2"/>
                  </a:cxn>
                </a:cxnLst>
                <a:rect l="0" t="0" r="r" b="b"/>
                <a:pathLst>
                  <a:path w="21600" h="21600" extrusionOk="0">
                    <a:moveTo>
                      <a:pt x="13062" y="0"/>
                    </a:moveTo>
                    <a:lnTo>
                      <a:pt x="3048" y="6808"/>
                    </a:lnTo>
                    <a:lnTo>
                      <a:pt x="0" y="16890"/>
                    </a:lnTo>
                    <a:lnTo>
                      <a:pt x="17411" y="21600"/>
                    </a:lnTo>
                    <a:lnTo>
                      <a:pt x="21600" y="12326"/>
                    </a:lnTo>
                    <a:lnTo>
                      <a:pt x="13062"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28" name="Shape 292">
                <a:extLst>
                  <a:ext uri="{FF2B5EF4-FFF2-40B4-BE49-F238E27FC236}">
                    <a16:creationId xmlns:a16="http://schemas.microsoft.com/office/drawing/2014/main" id="{74525816-0E4C-471A-8BED-E2BDD42C8BAE}"/>
                  </a:ext>
                </a:extLst>
              </p:cNvPr>
              <p:cNvSpPr/>
              <p:nvPr/>
            </p:nvSpPr>
            <p:spPr>
              <a:xfrm>
                <a:off x="11691335" y="6667462"/>
                <a:ext cx="49786" cy="66587"/>
              </a:xfrm>
              <a:custGeom>
                <a:avLst/>
                <a:gdLst/>
                <a:ahLst/>
                <a:cxnLst>
                  <a:cxn ang="0">
                    <a:pos x="wd2" y="hd2"/>
                  </a:cxn>
                  <a:cxn ang="5400000">
                    <a:pos x="wd2" y="hd2"/>
                  </a:cxn>
                  <a:cxn ang="10800000">
                    <a:pos x="wd2" y="hd2"/>
                  </a:cxn>
                  <a:cxn ang="16200000">
                    <a:pos x="wd2" y="hd2"/>
                  </a:cxn>
                </a:cxnLst>
                <a:rect l="0" t="0" r="r" b="b"/>
                <a:pathLst>
                  <a:path w="21600" h="21600" extrusionOk="0">
                    <a:moveTo>
                      <a:pt x="9532" y="0"/>
                    </a:moveTo>
                    <a:lnTo>
                      <a:pt x="1397" y="5278"/>
                    </a:lnTo>
                    <a:lnTo>
                      <a:pt x="0" y="13559"/>
                    </a:lnTo>
                    <a:lnTo>
                      <a:pt x="6822" y="21600"/>
                    </a:lnTo>
                    <a:lnTo>
                      <a:pt x="21600" y="17485"/>
                    </a:lnTo>
                    <a:lnTo>
                      <a:pt x="21600" y="7445"/>
                    </a:lnTo>
                    <a:lnTo>
                      <a:pt x="9532"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29" name="Shape 293">
                <a:extLst>
                  <a:ext uri="{FF2B5EF4-FFF2-40B4-BE49-F238E27FC236}">
                    <a16:creationId xmlns:a16="http://schemas.microsoft.com/office/drawing/2014/main" id="{485F7C19-72EF-49C5-B802-25A3328D5F40}"/>
                  </a:ext>
                </a:extLst>
              </p:cNvPr>
              <p:cNvSpPr/>
              <p:nvPr/>
            </p:nvSpPr>
            <p:spPr>
              <a:xfrm>
                <a:off x="11808482" y="6616203"/>
                <a:ext cx="30436" cy="43734"/>
              </a:xfrm>
              <a:custGeom>
                <a:avLst/>
                <a:gdLst/>
                <a:ahLst/>
                <a:cxnLst>
                  <a:cxn ang="0">
                    <a:pos x="wd2" y="hd2"/>
                  </a:cxn>
                  <a:cxn ang="5400000">
                    <a:pos x="wd2" y="hd2"/>
                  </a:cxn>
                  <a:cxn ang="10800000">
                    <a:pos x="wd2" y="hd2"/>
                  </a:cxn>
                  <a:cxn ang="16200000">
                    <a:pos x="wd2" y="hd2"/>
                  </a:cxn>
                </a:cxnLst>
                <a:rect l="0" t="0" r="r" b="b"/>
                <a:pathLst>
                  <a:path w="21600" h="21600" extrusionOk="0">
                    <a:moveTo>
                      <a:pt x="17956" y="0"/>
                    </a:moveTo>
                    <a:lnTo>
                      <a:pt x="1750" y="4177"/>
                    </a:lnTo>
                    <a:lnTo>
                      <a:pt x="0" y="18148"/>
                    </a:lnTo>
                    <a:lnTo>
                      <a:pt x="21600" y="21600"/>
                    </a:lnTo>
                    <a:lnTo>
                      <a:pt x="21555" y="10257"/>
                    </a:lnTo>
                    <a:lnTo>
                      <a:pt x="17956"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30" name="Shape 294">
                <a:extLst>
                  <a:ext uri="{FF2B5EF4-FFF2-40B4-BE49-F238E27FC236}">
                    <a16:creationId xmlns:a16="http://schemas.microsoft.com/office/drawing/2014/main" id="{DA37DE25-E205-4592-9E82-F49FAFA2E7A8}"/>
                  </a:ext>
                </a:extLst>
              </p:cNvPr>
              <p:cNvSpPr/>
              <p:nvPr/>
            </p:nvSpPr>
            <p:spPr>
              <a:xfrm>
                <a:off x="7908883" y="6343224"/>
                <a:ext cx="59283" cy="56304"/>
              </a:xfrm>
              <a:custGeom>
                <a:avLst/>
                <a:gdLst/>
                <a:ahLst/>
                <a:cxnLst>
                  <a:cxn ang="0">
                    <a:pos x="wd2" y="hd2"/>
                  </a:cxn>
                  <a:cxn ang="5400000">
                    <a:pos x="wd2" y="hd2"/>
                  </a:cxn>
                  <a:cxn ang="10800000">
                    <a:pos x="wd2" y="hd2"/>
                  </a:cxn>
                  <a:cxn ang="16200000">
                    <a:pos x="wd2" y="hd2"/>
                  </a:cxn>
                </a:cxnLst>
                <a:rect l="0" t="0" r="r" b="b"/>
                <a:pathLst>
                  <a:path w="21600" h="21600" extrusionOk="0">
                    <a:moveTo>
                      <a:pt x="9397" y="0"/>
                    </a:moveTo>
                    <a:lnTo>
                      <a:pt x="0" y="19826"/>
                    </a:lnTo>
                    <a:lnTo>
                      <a:pt x="21600" y="21600"/>
                    </a:lnTo>
                    <a:lnTo>
                      <a:pt x="9397"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31" name="Shape 295">
                <a:extLst>
                  <a:ext uri="{FF2B5EF4-FFF2-40B4-BE49-F238E27FC236}">
                    <a16:creationId xmlns:a16="http://schemas.microsoft.com/office/drawing/2014/main" id="{6585D0F3-8454-40B3-B10C-72F0F7DE560B}"/>
                  </a:ext>
                </a:extLst>
              </p:cNvPr>
              <p:cNvSpPr/>
              <p:nvPr/>
            </p:nvSpPr>
            <p:spPr>
              <a:xfrm>
                <a:off x="8656583" y="5201212"/>
                <a:ext cx="43245" cy="3971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4824" y="4121"/>
                    </a:lnTo>
                    <a:lnTo>
                      <a:pt x="0" y="11667"/>
                    </a:lnTo>
                    <a:lnTo>
                      <a:pt x="9389" y="21600"/>
                    </a:lnTo>
                    <a:lnTo>
                      <a:pt x="20674" y="10869"/>
                    </a:lnTo>
                    <a:lnTo>
                      <a:pt x="21600"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32" name="Shape 296">
                <a:extLst>
                  <a:ext uri="{FF2B5EF4-FFF2-40B4-BE49-F238E27FC236}">
                    <a16:creationId xmlns:a16="http://schemas.microsoft.com/office/drawing/2014/main" id="{A109747F-3E6D-451B-8DDB-FD4D7E4A5123}"/>
                  </a:ext>
                </a:extLst>
              </p:cNvPr>
              <p:cNvSpPr/>
              <p:nvPr/>
            </p:nvSpPr>
            <p:spPr>
              <a:xfrm>
                <a:off x="8792753" y="5027261"/>
                <a:ext cx="38513" cy="30436"/>
              </a:xfrm>
              <a:custGeom>
                <a:avLst/>
                <a:gdLst/>
                <a:ahLst/>
                <a:cxnLst>
                  <a:cxn ang="0">
                    <a:pos x="wd2" y="hd2"/>
                  </a:cxn>
                  <a:cxn ang="5400000">
                    <a:pos x="wd2" y="hd2"/>
                  </a:cxn>
                  <a:cxn ang="10800000">
                    <a:pos x="wd2" y="hd2"/>
                  </a:cxn>
                  <a:cxn ang="16200000">
                    <a:pos x="wd2" y="hd2"/>
                  </a:cxn>
                </a:cxnLst>
                <a:rect l="0" t="0" r="r" b="b"/>
                <a:pathLst>
                  <a:path w="21600" h="21600" extrusionOk="0">
                    <a:moveTo>
                      <a:pt x="11047" y="0"/>
                    </a:moveTo>
                    <a:lnTo>
                      <a:pt x="0" y="5982"/>
                    </a:lnTo>
                    <a:lnTo>
                      <a:pt x="2019" y="20443"/>
                    </a:lnTo>
                    <a:lnTo>
                      <a:pt x="15499" y="21600"/>
                    </a:lnTo>
                    <a:lnTo>
                      <a:pt x="21600" y="4412"/>
                    </a:lnTo>
                    <a:lnTo>
                      <a:pt x="11047"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33" name="Shape 297">
                <a:extLst>
                  <a:ext uri="{FF2B5EF4-FFF2-40B4-BE49-F238E27FC236}">
                    <a16:creationId xmlns:a16="http://schemas.microsoft.com/office/drawing/2014/main" id="{EBB74300-F3D4-4E5F-A009-366A0443984C}"/>
                  </a:ext>
                </a:extLst>
              </p:cNvPr>
              <p:cNvSpPr/>
              <p:nvPr/>
            </p:nvSpPr>
            <p:spPr>
              <a:xfrm>
                <a:off x="8742972" y="5134822"/>
                <a:ext cx="30436" cy="30436"/>
              </a:xfrm>
              <a:custGeom>
                <a:avLst/>
                <a:gdLst/>
                <a:ahLst/>
                <a:cxnLst>
                  <a:cxn ang="0">
                    <a:pos x="wd2" y="hd2"/>
                  </a:cxn>
                  <a:cxn ang="5400000">
                    <a:pos x="wd2" y="hd2"/>
                  </a:cxn>
                  <a:cxn ang="10800000">
                    <a:pos x="wd2" y="hd2"/>
                  </a:cxn>
                  <a:cxn ang="16200000">
                    <a:pos x="wd2" y="hd2"/>
                  </a:cxn>
                </a:cxnLst>
                <a:rect l="0" t="0" r="r" b="b"/>
                <a:pathLst>
                  <a:path w="21600" h="21600" extrusionOk="0">
                    <a:moveTo>
                      <a:pt x="7211" y="0"/>
                    </a:moveTo>
                    <a:lnTo>
                      <a:pt x="0" y="9014"/>
                    </a:lnTo>
                    <a:lnTo>
                      <a:pt x="7385" y="21600"/>
                    </a:lnTo>
                    <a:lnTo>
                      <a:pt x="21600" y="12069"/>
                    </a:lnTo>
                    <a:lnTo>
                      <a:pt x="17567" y="1769"/>
                    </a:lnTo>
                    <a:lnTo>
                      <a:pt x="7211"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34" name="Shape 298">
                <a:extLst>
                  <a:ext uri="{FF2B5EF4-FFF2-40B4-BE49-F238E27FC236}">
                    <a16:creationId xmlns:a16="http://schemas.microsoft.com/office/drawing/2014/main" id="{A9CEA563-7D89-4F90-9557-151F1C8236D7}"/>
                  </a:ext>
                </a:extLst>
              </p:cNvPr>
              <p:cNvSpPr/>
              <p:nvPr/>
            </p:nvSpPr>
            <p:spPr>
              <a:xfrm>
                <a:off x="6833599" y="4220209"/>
                <a:ext cx="43850" cy="38771"/>
              </a:xfrm>
              <a:custGeom>
                <a:avLst/>
                <a:gdLst/>
                <a:ahLst/>
                <a:cxnLst>
                  <a:cxn ang="0">
                    <a:pos x="wd2" y="hd2"/>
                  </a:cxn>
                  <a:cxn ang="5400000">
                    <a:pos x="wd2" y="hd2"/>
                  </a:cxn>
                  <a:cxn ang="10800000">
                    <a:pos x="wd2" y="hd2"/>
                  </a:cxn>
                  <a:cxn ang="16200000">
                    <a:pos x="wd2" y="hd2"/>
                  </a:cxn>
                </a:cxnLst>
                <a:rect l="0" t="0" r="r" b="b"/>
                <a:pathLst>
                  <a:path w="21600" h="21600" extrusionOk="0">
                    <a:moveTo>
                      <a:pt x="18240" y="3109"/>
                    </a:moveTo>
                    <a:lnTo>
                      <a:pt x="7082" y="0"/>
                    </a:lnTo>
                    <a:lnTo>
                      <a:pt x="0" y="4651"/>
                    </a:lnTo>
                    <a:lnTo>
                      <a:pt x="2157" y="15611"/>
                    </a:lnTo>
                    <a:lnTo>
                      <a:pt x="14637" y="21600"/>
                    </a:lnTo>
                    <a:lnTo>
                      <a:pt x="21600" y="17214"/>
                    </a:lnTo>
                    <a:lnTo>
                      <a:pt x="18240" y="3109"/>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35" name="Shape 299">
                <a:extLst>
                  <a:ext uri="{FF2B5EF4-FFF2-40B4-BE49-F238E27FC236}">
                    <a16:creationId xmlns:a16="http://schemas.microsoft.com/office/drawing/2014/main" id="{B930CE25-D10D-4FBB-935E-AC4E393A4D73}"/>
                  </a:ext>
                </a:extLst>
              </p:cNvPr>
              <p:cNvSpPr/>
              <p:nvPr/>
            </p:nvSpPr>
            <p:spPr>
              <a:xfrm>
                <a:off x="6784278" y="4227961"/>
                <a:ext cx="34270" cy="33356"/>
              </a:xfrm>
              <a:custGeom>
                <a:avLst/>
                <a:gdLst/>
                <a:ahLst/>
                <a:cxnLst>
                  <a:cxn ang="0">
                    <a:pos x="wd2" y="hd2"/>
                  </a:cxn>
                  <a:cxn ang="5400000">
                    <a:pos x="wd2" y="hd2"/>
                  </a:cxn>
                  <a:cxn ang="10800000">
                    <a:pos x="wd2" y="hd2"/>
                  </a:cxn>
                  <a:cxn ang="16200000">
                    <a:pos x="wd2" y="hd2"/>
                  </a:cxn>
                </a:cxnLst>
                <a:rect l="0" t="0" r="r" b="b"/>
                <a:pathLst>
                  <a:path w="21600" h="21600" extrusionOk="0">
                    <a:moveTo>
                      <a:pt x="10002" y="0"/>
                    </a:moveTo>
                    <a:lnTo>
                      <a:pt x="2249" y="4561"/>
                    </a:lnTo>
                    <a:lnTo>
                      <a:pt x="0" y="15210"/>
                    </a:lnTo>
                    <a:lnTo>
                      <a:pt x="16269" y="21600"/>
                    </a:lnTo>
                    <a:lnTo>
                      <a:pt x="21600" y="9771"/>
                    </a:lnTo>
                    <a:lnTo>
                      <a:pt x="10002"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36" name="Shape 300">
                <a:extLst>
                  <a:ext uri="{FF2B5EF4-FFF2-40B4-BE49-F238E27FC236}">
                    <a16:creationId xmlns:a16="http://schemas.microsoft.com/office/drawing/2014/main" id="{2601EE91-7ADC-4387-9EB8-E335CA1B910E}"/>
                  </a:ext>
                </a:extLst>
              </p:cNvPr>
              <p:cNvSpPr/>
              <p:nvPr/>
            </p:nvSpPr>
            <p:spPr>
              <a:xfrm>
                <a:off x="6771720" y="4151007"/>
                <a:ext cx="30437" cy="30436"/>
              </a:xfrm>
              <a:custGeom>
                <a:avLst/>
                <a:gdLst/>
                <a:ahLst/>
                <a:cxnLst>
                  <a:cxn ang="0">
                    <a:pos x="wd2" y="hd2"/>
                  </a:cxn>
                  <a:cxn ang="5400000">
                    <a:pos x="wd2" y="hd2"/>
                  </a:cxn>
                  <a:cxn ang="10800000">
                    <a:pos x="wd2" y="hd2"/>
                  </a:cxn>
                  <a:cxn ang="16200000">
                    <a:pos x="wd2" y="hd2"/>
                  </a:cxn>
                </a:cxnLst>
                <a:rect l="0" t="0" r="r" b="b"/>
                <a:pathLst>
                  <a:path w="21600" h="21600" extrusionOk="0">
                    <a:moveTo>
                      <a:pt x="15567" y="0"/>
                    </a:moveTo>
                    <a:lnTo>
                      <a:pt x="0" y="5790"/>
                    </a:lnTo>
                    <a:lnTo>
                      <a:pt x="269" y="21257"/>
                    </a:lnTo>
                    <a:lnTo>
                      <a:pt x="21600" y="21600"/>
                    </a:lnTo>
                    <a:lnTo>
                      <a:pt x="15567"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37" name="Shape 301">
                <a:extLst>
                  <a:ext uri="{FF2B5EF4-FFF2-40B4-BE49-F238E27FC236}">
                    <a16:creationId xmlns:a16="http://schemas.microsoft.com/office/drawing/2014/main" id="{C7B38C81-B288-4970-9694-8C42EFB4C69B}"/>
                  </a:ext>
                </a:extLst>
              </p:cNvPr>
              <p:cNvSpPr/>
              <p:nvPr/>
            </p:nvSpPr>
            <p:spPr>
              <a:xfrm>
                <a:off x="6849981" y="4154571"/>
                <a:ext cx="30437" cy="3043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788" y="13213"/>
                    </a:lnTo>
                    <a:lnTo>
                      <a:pt x="15312" y="21600"/>
                    </a:lnTo>
                    <a:lnTo>
                      <a:pt x="21600" y="1906"/>
                    </a:lnTo>
                    <a:lnTo>
                      <a:pt x="0"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38" name="Shape 302">
                <a:extLst>
                  <a:ext uri="{FF2B5EF4-FFF2-40B4-BE49-F238E27FC236}">
                    <a16:creationId xmlns:a16="http://schemas.microsoft.com/office/drawing/2014/main" id="{E5B6D410-5194-4BF8-B823-37C23F1CB3C2}"/>
                  </a:ext>
                </a:extLst>
              </p:cNvPr>
              <p:cNvSpPr/>
              <p:nvPr/>
            </p:nvSpPr>
            <p:spPr>
              <a:xfrm>
                <a:off x="6684429" y="4092411"/>
                <a:ext cx="30437" cy="41113"/>
              </a:xfrm>
              <a:custGeom>
                <a:avLst/>
                <a:gdLst/>
                <a:ahLst/>
                <a:cxnLst>
                  <a:cxn ang="0">
                    <a:pos x="wd2" y="hd2"/>
                  </a:cxn>
                  <a:cxn ang="5400000">
                    <a:pos x="wd2" y="hd2"/>
                  </a:cxn>
                  <a:cxn ang="10800000">
                    <a:pos x="wd2" y="hd2"/>
                  </a:cxn>
                  <a:cxn ang="16200000">
                    <a:pos x="wd2" y="hd2"/>
                  </a:cxn>
                </a:cxnLst>
                <a:rect l="0" t="0" r="r" b="b"/>
                <a:pathLst>
                  <a:path w="21600" h="21600" extrusionOk="0">
                    <a:moveTo>
                      <a:pt x="0" y="3742"/>
                    </a:moveTo>
                    <a:lnTo>
                      <a:pt x="4329" y="14327"/>
                    </a:lnTo>
                    <a:lnTo>
                      <a:pt x="16819" y="21600"/>
                    </a:lnTo>
                    <a:lnTo>
                      <a:pt x="21600" y="10493"/>
                    </a:lnTo>
                    <a:lnTo>
                      <a:pt x="13195" y="0"/>
                    </a:lnTo>
                    <a:lnTo>
                      <a:pt x="0" y="3742"/>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39" name="Shape 303">
                <a:extLst>
                  <a:ext uri="{FF2B5EF4-FFF2-40B4-BE49-F238E27FC236}">
                    <a16:creationId xmlns:a16="http://schemas.microsoft.com/office/drawing/2014/main" id="{68A12C5F-C698-4BA7-95C7-A28D1CC1FE74}"/>
                  </a:ext>
                </a:extLst>
              </p:cNvPr>
              <p:cNvSpPr/>
              <p:nvPr/>
            </p:nvSpPr>
            <p:spPr>
              <a:xfrm>
                <a:off x="9829331" y="257363"/>
                <a:ext cx="7544193" cy="4934404"/>
              </a:xfrm>
              <a:custGeom>
                <a:avLst/>
                <a:gdLst/>
                <a:ahLst/>
                <a:cxnLst>
                  <a:cxn ang="0">
                    <a:pos x="wd2" y="hd2"/>
                  </a:cxn>
                  <a:cxn ang="5400000">
                    <a:pos x="wd2" y="hd2"/>
                  </a:cxn>
                  <a:cxn ang="10800000">
                    <a:pos x="wd2" y="hd2"/>
                  </a:cxn>
                  <a:cxn ang="16200000">
                    <a:pos x="wd2" y="hd2"/>
                  </a:cxn>
                </a:cxnLst>
                <a:rect l="0" t="0" r="r" b="b"/>
                <a:pathLst>
                  <a:path w="21600" h="21600" extrusionOk="0">
                    <a:moveTo>
                      <a:pt x="3888" y="10223"/>
                    </a:moveTo>
                    <a:lnTo>
                      <a:pt x="3759" y="10132"/>
                    </a:lnTo>
                    <a:lnTo>
                      <a:pt x="3569" y="10003"/>
                    </a:lnTo>
                    <a:lnTo>
                      <a:pt x="3374" y="9884"/>
                    </a:lnTo>
                    <a:lnTo>
                      <a:pt x="3246" y="9786"/>
                    </a:lnTo>
                    <a:lnTo>
                      <a:pt x="3076" y="9629"/>
                    </a:lnTo>
                    <a:lnTo>
                      <a:pt x="2911" y="9493"/>
                    </a:lnTo>
                    <a:lnTo>
                      <a:pt x="2761" y="9429"/>
                    </a:lnTo>
                    <a:lnTo>
                      <a:pt x="2496" y="9413"/>
                    </a:lnTo>
                    <a:lnTo>
                      <a:pt x="2488" y="9536"/>
                    </a:lnTo>
                    <a:lnTo>
                      <a:pt x="2488" y="9685"/>
                    </a:lnTo>
                    <a:lnTo>
                      <a:pt x="2440" y="9710"/>
                    </a:lnTo>
                    <a:lnTo>
                      <a:pt x="2438" y="9806"/>
                    </a:lnTo>
                    <a:lnTo>
                      <a:pt x="2404" y="9868"/>
                    </a:lnTo>
                    <a:lnTo>
                      <a:pt x="2281" y="9898"/>
                    </a:lnTo>
                    <a:lnTo>
                      <a:pt x="2204" y="9935"/>
                    </a:lnTo>
                    <a:lnTo>
                      <a:pt x="2136" y="9972"/>
                    </a:lnTo>
                    <a:lnTo>
                      <a:pt x="2027" y="9972"/>
                    </a:lnTo>
                    <a:lnTo>
                      <a:pt x="2002" y="9923"/>
                    </a:lnTo>
                    <a:lnTo>
                      <a:pt x="1910" y="9911"/>
                    </a:lnTo>
                    <a:lnTo>
                      <a:pt x="1838" y="9882"/>
                    </a:lnTo>
                    <a:lnTo>
                      <a:pt x="1737" y="9753"/>
                    </a:lnTo>
                    <a:lnTo>
                      <a:pt x="1662" y="9674"/>
                    </a:lnTo>
                    <a:lnTo>
                      <a:pt x="1566" y="9632"/>
                    </a:lnTo>
                    <a:lnTo>
                      <a:pt x="1456" y="9632"/>
                    </a:lnTo>
                    <a:lnTo>
                      <a:pt x="1311" y="9556"/>
                    </a:lnTo>
                    <a:lnTo>
                      <a:pt x="1142" y="9550"/>
                    </a:lnTo>
                    <a:lnTo>
                      <a:pt x="1029" y="9601"/>
                    </a:lnTo>
                    <a:lnTo>
                      <a:pt x="892" y="9755"/>
                    </a:lnTo>
                    <a:lnTo>
                      <a:pt x="746" y="9853"/>
                    </a:lnTo>
                    <a:lnTo>
                      <a:pt x="686" y="9775"/>
                    </a:lnTo>
                    <a:lnTo>
                      <a:pt x="637" y="9781"/>
                    </a:lnTo>
                    <a:lnTo>
                      <a:pt x="517" y="9840"/>
                    </a:lnTo>
                    <a:lnTo>
                      <a:pt x="497" y="9942"/>
                    </a:lnTo>
                    <a:lnTo>
                      <a:pt x="434" y="10016"/>
                    </a:lnTo>
                    <a:lnTo>
                      <a:pt x="372" y="10094"/>
                    </a:lnTo>
                    <a:lnTo>
                      <a:pt x="333" y="10172"/>
                    </a:lnTo>
                    <a:lnTo>
                      <a:pt x="266" y="10168"/>
                    </a:lnTo>
                    <a:lnTo>
                      <a:pt x="217" y="10086"/>
                    </a:lnTo>
                    <a:lnTo>
                      <a:pt x="134" y="10086"/>
                    </a:lnTo>
                    <a:lnTo>
                      <a:pt x="77" y="10159"/>
                    </a:lnTo>
                    <a:lnTo>
                      <a:pt x="17" y="10178"/>
                    </a:lnTo>
                    <a:lnTo>
                      <a:pt x="0" y="10303"/>
                    </a:lnTo>
                    <a:lnTo>
                      <a:pt x="78" y="10326"/>
                    </a:lnTo>
                    <a:lnTo>
                      <a:pt x="133" y="10326"/>
                    </a:lnTo>
                    <a:lnTo>
                      <a:pt x="213" y="10443"/>
                    </a:lnTo>
                    <a:lnTo>
                      <a:pt x="190" y="10662"/>
                    </a:lnTo>
                    <a:lnTo>
                      <a:pt x="231" y="10788"/>
                    </a:lnTo>
                    <a:lnTo>
                      <a:pt x="262" y="10847"/>
                    </a:lnTo>
                    <a:lnTo>
                      <a:pt x="282" y="10968"/>
                    </a:lnTo>
                    <a:lnTo>
                      <a:pt x="337" y="11040"/>
                    </a:lnTo>
                    <a:lnTo>
                      <a:pt x="424" y="11071"/>
                    </a:lnTo>
                    <a:lnTo>
                      <a:pt x="465" y="11186"/>
                    </a:lnTo>
                    <a:lnTo>
                      <a:pt x="540" y="11180"/>
                    </a:lnTo>
                    <a:lnTo>
                      <a:pt x="596" y="11201"/>
                    </a:lnTo>
                    <a:lnTo>
                      <a:pt x="645" y="11223"/>
                    </a:lnTo>
                    <a:lnTo>
                      <a:pt x="735" y="11198"/>
                    </a:lnTo>
                    <a:lnTo>
                      <a:pt x="776" y="11089"/>
                    </a:lnTo>
                    <a:lnTo>
                      <a:pt x="857" y="11047"/>
                    </a:lnTo>
                    <a:lnTo>
                      <a:pt x="954" y="11071"/>
                    </a:lnTo>
                    <a:lnTo>
                      <a:pt x="993" y="11139"/>
                    </a:lnTo>
                    <a:lnTo>
                      <a:pt x="1119" y="11238"/>
                    </a:lnTo>
                    <a:lnTo>
                      <a:pt x="1269" y="11219"/>
                    </a:lnTo>
                    <a:lnTo>
                      <a:pt x="1313" y="11207"/>
                    </a:lnTo>
                    <a:lnTo>
                      <a:pt x="1390" y="11119"/>
                    </a:lnTo>
                    <a:lnTo>
                      <a:pt x="1486" y="11040"/>
                    </a:lnTo>
                    <a:lnTo>
                      <a:pt x="1581" y="11016"/>
                    </a:lnTo>
                    <a:lnTo>
                      <a:pt x="1654" y="11065"/>
                    </a:lnTo>
                    <a:lnTo>
                      <a:pt x="1739" y="11096"/>
                    </a:lnTo>
                    <a:lnTo>
                      <a:pt x="1739" y="11260"/>
                    </a:lnTo>
                    <a:lnTo>
                      <a:pt x="1702" y="11340"/>
                    </a:lnTo>
                    <a:lnTo>
                      <a:pt x="1719" y="11558"/>
                    </a:lnTo>
                    <a:lnTo>
                      <a:pt x="1711" y="11714"/>
                    </a:lnTo>
                    <a:lnTo>
                      <a:pt x="1701" y="11890"/>
                    </a:lnTo>
                    <a:lnTo>
                      <a:pt x="1645" y="12051"/>
                    </a:lnTo>
                    <a:lnTo>
                      <a:pt x="1657" y="12205"/>
                    </a:lnTo>
                    <a:cubicBezTo>
                      <a:pt x="1663" y="12254"/>
                      <a:pt x="1664" y="12305"/>
                      <a:pt x="1661" y="12355"/>
                    </a:cubicBezTo>
                    <a:cubicBezTo>
                      <a:pt x="1657" y="12420"/>
                      <a:pt x="1645" y="12483"/>
                      <a:pt x="1626" y="12542"/>
                    </a:cubicBezTo>
                    <a:lnTo>
                      <a:pt x="1585" y="12622"/>
                    </a:lnTo>
                    <a:lnTo>
                      <a:pt x="1546" y="12708"/>
                    </a:lnTo>
                    <a:lnTo>
                      <a:pt x="1479" y="12732"/>
                    </a:lnTo>
                    <a:lnTo>
                      <a:pt x="1386" y="12744"/>
                    </a:lnTo>
                    <a:lnTo>
                      <a:pt x="1285" y="12855"/>
                    </a:lnTo>
                    <a:lnTo>
                      <a:pt x="1201" y="12825"/>
                    </a:lnTo>
                    <a:lnTo>
                      <a:pt x="1164" y="12855"/>
                    </a:lnTo>
                    <a:lnTo>
                      <a:pt x="1228" y="12954"/>
                    </a:lnTo>
                    <a:lnTo>
                      <a:pt x="1263" y="13016"/>
                    </a:lnTo>
                    <a:lnTo>
                      <a:pt x="1239" y="13122"/>
                    </a:lnTo>
                    <a:lnTo>
                      <a:pt x="1307" y="13243"/>
                    </a:lnTo>
                    <a:lnTo>
                      <a:pt x="1359" y="13286"/>
                    </a:lnTo>
                    <a:lnTo>
                      <a:pt x="1408" y="13345"/>
                    </a:lnTo>
                    <a:lnTo>
                      <a:pt x="1404" y="13429"/>
                    </a:lnTo>
                    <a:lnTo>
                      <a:pt x="1404" y="13509"/>
                    </a:lnTo>
                    <a:lnTo>
                      <a:pt x="1481" y="13572"/>
                    </a:lnTo>
                    <a:lnTo>
                      <a:pt x="1558" y="13731"/>
                    </a:lnTo>
                    <a:lnTo>
                      <a:pt x="1602" y="13657"/>
                    </a:lnTo>
                    <a:lnTo>
                      <a:pt x="1602" y="13398"/>
                    </a:lnTo>
                    <a:lnTo>
                      <a:pt x="1659" y="13331"/>
                    </a:lnTo>
                    <a:lnTo>
                      <a:pt x="1705" y="13420"/>
                    </a:lnTo>
                    <a:lnTo>
                      <a:pt x="1741" y="13555"/>
                    </a:lnTo>
                    <a:lnTo>
                      <a:pt x="1778" y="13837"/>
                    </a:lnTo>
                    <a:lnTo>
                      <a:pt x="1857" y="13946"/>
                    </a:lnTo>
                    <a:lnTo>
                      <a:pt x="1897" y="14113"/>
                    </a:lnTo>
                    <a:lnTo>
                      <a:pt x="1945" y="14215"/>
                    </a:lnTo>
                    <a:lnTo>
                      <a:pt x="1995" y="14373"/>
                    </a:lnTo>
                    <a:lnTo>
                      <a:pt x="2107" y="14477"/>
                    </a:lnTo>
                    <a:lnTo>
                      <a:pt x="2161" y="14557"/>
                    </a:lnTo>
                    <a:lnTo>
                      <a:pt x="2205" y="14753"/>
                    </a:lnTo>
                    <a:lnTo>
                      <a:pt x="2226" y="14836"/>
                    </a:lnTo>
                    <a:lnTo>
                      <a:pt x="2263" y="14879"/>
                    </a:lnTo>
                    <a:lnTo>
                      <a:pt x="2376" y="14996"/>
                    </a:lnTo>
                    <a:cubicBezTo>
                      <a:pt x="2426" y="15014"/>
                      <a:pt x="2466" y="15070"/>
                      <a:pt x="2482" y="15144"/>
                    </a:cubicBezTo>
                    <a:cubicBezTo>
                      <a:pt x="2497" y="15214"/>
                      <a:pt x="2488" y="15290"/>
                      <a:pt x="2459" y="15348"/>
                    </a:cubicBezTo>
                    <a:lnTo>
                      <a:pt x="2471" y="15538"/>
                    </a:lnTo>
                    <a:lnTo>
                      <a:pt x="2507" y="15643"/>
                    </a:lnTo>
                    <a:lnTo>
                      <a:pt x="2572" y="15815"/>
                    </a:lnTo>
                    <a:lnTo>
                      <a:pt x="2569" y="15885"/>
                    </a:lnTo>
                    <a:lnTo>
                      <a:pt x="2642" y="16007"/>
                    </a:lnTo>
                    <a:lnTo>
                      <a:pt x="2642" y="16132"/>
                    </a:lnTo>
                    <a:lnTo>
                      <a:pt x="2752" y="16182"/>
                    </a:lnTo>
                    <a:lnTo>
                      <a:pt x="2832" y="16227"/>
                    </a:lnTo>
                    <a:lnTo>
                      <a:pt x="2913" y="16387"/>
                    </a:lnTo>
                    <a:lnTo>
                      <a:pt x="2927" y="16529"/>
                    </a:lnTo>
                    <a:lnTo>
                      <a:pt x="2966" y="16723"/>
                    </a:lnTo>
                    <a:lnTo>
                      <a:pt x="3043" y="16785"/>
                    </a:lnTo>
                    <a:lnTo>
                      <a:pt x="3087" y="16846"/>
                    </a:lnTo>
                    <a:lnTo>
                      <a:pt x="3139" y="16957"/>
                    </a:lnTo>
                    <a:lnTo>
                      <a:pt x="3191" y="17089"/>
                    </a:lnTo>
                    <a:lnTo>
                      <a:pt x="3118" y="17304"/>
                    </a:lnTo>
                    <a:lnTo>
                      <a:pt x="3139" y="17419"/>
                    </a:lnTo>
                    <a:lnTo>
                      <a:pt x="3194" y="17508"/>
                    </a:lnTo>
                    <a:lnTo>
                      <a:pt x="3227" y="17680"/>
                    </a:lnTo>
                    <a:lnTo>
                      <a:pt x="3227" y="17814"/>
                    </a:lnTo>
                    <a:lnTo>
                      <a:pt x="3293" y="17911"/>
                    </a:lnTo>
                    <a:lnTo>
                      <a:pt x="3336" y="18030"/>
                    </a:lnTo>
                    <a:lnTo>
                      <a:pt x="3409" y="18178"/>
                    </a:lnTo>
                    <a:lnTo>
                      <a:pt x="3565" y="18190"/>
                    </a:lnTo>
                    <a:lnTo>
                      <a:pt x="3748" y="18135"/>
                    </a:lnTo>
                    <a:lnTo>
                      <a:pt x="3935" y="18014"/>
                    </a:lnTo>
                    <a:lnTo>
                      <a:pt x="4073" y="17896"/>
                    </a:lnTo>
                    <a:lnTo>
                      <a:pt x="4184" y="17812"/>
                    </a:lnTo>
                    <a:cubicBezTo>
                      <a:pt x="4199" y="17796"/>
                      <a:pt x="4214" y="17780"/>
                      <a:pt x="4230" y="17765"/>
                    </a:cubicBezTo>
                    <a:cubicBezTo>
                      <a:pt x="4287" y="17711"/>
                      <a:pt x="4350" y="17669"/>
                      <a:pt x="4415" y="17640"/>
                    </a:cubicBezTo>
                    <a:lnTo>
                      <a:pt x="4544" y="17598"/>
                    </a:lnTo>
                    <a:lnTo>
                      <a:pt x="4658" y="17456"/>
                    </a:lnTo>
                    <a:lnTo>
                      <a:pt x="4758" y="17382"/>
                    </a:lnTo>
                    <a:lnTo>
                      <a:pt x="4839" y="17253"/>
                    </a:lnTo>
                    <a:lnTo>
                      <a:pt x="4875" y="17128"/>
                    </a:lnTo>
                    <a:lnTo>
                      <a:pt x="4961" y="17019"/>
                    </a:lnTo>
                    <a:cubicBezTo>
                      <a:pt x="4995" y="16986"/>
                      <a:pt x="5032" y="16960"/>
                      <a:pt x="5070" y="16941"/>
                    </a:cubicBezTo>
                    <a:cubicBezTo>
                      <a:pt x="5110" y="16921"/>
                      <a:pt x="5151" y="16908"/>
                      <a:pt x="5192" y="16903"/>
                    </a:cubicBezTo>
                    <a:cubicBezTo>
                      <a:pt x="5225" y="16899"/>
                      <a:pt x="5257" y="16887"/>
                      <a:pt x="5288" y="16869"/>
                    </a:cubicBezTo>
                    <a:cubicBezTo>
                      <a:pt x="5328" y="16844"/>
                      <a:pt x="5365" y="16809"/>
                      <a:pt x="5396" y="16764"/>
                    </a:cubicBezTo>
                    <a:lnTo>
                      <a:pt x="5451" y="16651"/>
                    </a:lnTo>
                    <a:lnTo>
                      <a:pt x="5538" y="16468"/>
                    </a:lnTo>
                    <a:lnTo>
                      <a:pt x="5657" y="16322"/>
                    </a:lnTo>
                    <a:cubicBezTo>
                      <a:pt x="5670" y="16286"/>
                      <a:pt x="5682" y="16249"/>
                      <a:pt x="5694" y="16212"/>
                    </a:cubicBezTo>
                    <a:cubicBezTo>
                      <a:pt x="5710" y="16157"/>
                      <a:pt x="5726" y="16102"/>
                      <a:pt x="5740" y="16045"/>
                    </a:cubicBezTo>
                    <a:lnTo>
                      <a:pt x="5776" y="15879"/>
                    </a:lnTo>
                    <a:cubicBezTo>
                      <a:pt x="5808" y="15838"/>
                      <a:pt x="5839" y="15797"/>
                      <a:pt x="5869" y="15756"/>
                    </a:cubicBezTo>
                    <a:cubicBezTo>
                      <a:pt x="5901" y="15713"/>
                      <a:pt x="5933" y="15670"/>
                      <a:pt x="5964" y="15626"/>
                    </a:cubicBezTo>
                    <a:lnTo>
                      <a:pt x="6029" y="15553"/>
                    </a:lnTo>
                    <a:lnTo>
                      <a:pt x="6063" y="15485"/>
                    </a:lnTo>
                    <a:lnTo>
                      <a:pt x="6063" y="15401"/>
                    </a:lnTo>
                    <a:lnTo>
                      <a:pt x="5965" y="15268"/>
                    </a:lnTo>
                    <a:lnTo>
                      <a:pt x="5871" y="15159"/>
                    </a:lnTo>
                    <a:lnTo>
                      <a:pt x="5830" y="15003"/>
                    </a:lnTo>
                    <a:lnTo>
                      <a:pt x="5748" y="14940"/>
                    </a:lnTo>
                    <a:lnTo>
                      <a:pt x="5631" y="14861"/>
                    </a:lnTo>
                    <a:lnTo>
                      <a:pt x="5505" y="14786"/>
                    </a:lnTo>
                    <a:lnTo>
                      <a:pt x="5437" y="14638"/>
                    </a:lnTo>
                    <a:lnTo>
                      <a:pt x="5414" y="14547"/>
                    </a:lnTo>
                    <a:lnTo>
                      <a:pt x="5434" y="14455"/>
                    </a:lnTo>
                    <a:lnTo>
                      <a:pt x="5487" y="14377"/>
                    </a:lnTo>
                    <a:lnTo>
                      <a:pt x="5436" y="14294"/>
                    </a:lnTo>
                    <a:lnTo>
                      <a:pt x="5436" y="14214"/>
                    </a:lnTo>
                    <a:lnTo>
                      <a:pt x="5394" y="14183"/>
                    </a:lnTo>
                    <a:lnTo>
                      <a:pt x="5375" y="14243"/>
                    </a:lnTo>
                    <a:lnTo>
                      <a:pt x="5340" y="14329"/>
                    </a:lnTo>
                    <a:lnTo>
                      <a:pt x="5256" y="14499"/>
                    </a:lnTo>
                    <a:lnTo>
                      <a:pt x="5091" y="14727"/>
                    </a:lnTo>
                    <a:lnTo>
                      <a:pt x="5056" y="14801"/>
                    </a:lnTo>
                    <a:lnTo>
                      <a:pt x="4994" y="14801"/>
                    </a:lnTo>
                    <a:lnTo>
                      <a:pt x="4947" y="14807"/>
                    </a:lnTo>
                    <a:lnTo>
                      <a:pt x="4906" y="14856"/>
                    </a:lnTo>
                    <a:lnTo>
                      <a:pt x="4740" y="14875"/>
                    </a:lnTo>
                    <a:lnTo>
                      <a:pt x="4692" y="14807"/>
                    </a:lnTo>
                    <a:lnTo>
                      <a:pt x="4634" y="14766"/>
                    </a:lnTo>
                    <a:lnTo>
                      <a:pt x="4581" y="14679"/>
                    </a:lnTo>
                    <a:lnTo>
                      <a:pt x="4674" y="14568"/>
                    </a:lnTo>
                    <a:lnTo>
                      <a:pt x="4648" y="14475"/>
                    </a:lnTo>
                    <a:lnTo>
                      <a:pt x="4550" y="14438"/>
                    </a:lnTo>
                    <a:lnTo>
                      <a:pt x="4562" y="14367"/>
                    </a:lnTo>
                    <a:lnTo>
                      <a:pt x="4522" y="14348"/>
                    </a:lnTo>
                    <a:lnTo>
                      <a:pt x="4490" y="14410"/>
                    </a:lnTo>
                    <a:lnTo>
                      <a:pt x="4462" y="14502"/>
                    </a:lnTo>
                    <a:lnTo>
                      <a:pt x="4337" y="14533"/>
                    </a:lnTo>
                    <a:cubicBezTo>
                      <a:pt x="4331" y="14498"/>
                      <a:pt x="4323" y="14463"/>
                      <a:pt x="4314" y="14428"/>
                    </a:cubicBezTo>
                    <a:cubicBezTo>
                      <a:pt x="4298" y="14362"/>
                      <a:pt x="4278" y="14299"/>
                      <a:pt x="4255" y="14237"/>
                    </a:cubicBezTo>
                    <a:lnTo>
                      <a:pt x="4234" y="14018"/>
                    </a:lnTo>
                    <a:lnTo>
                      <a:pt x="4191" y="13904"/>
                    </a:lnTo>
                    <a:lnTo>
                      <a:pt x="4136" y="13783"/>
                    </a:lnTo>
                    <a:lnTo>
                      <a:pt x="4036" y="13581"/>
                    </a:lnTo>
                    <a:lnTo>
                      <a:pt x="3967" y="13457"/>
                    </a:lnTo>
                    <a:lnTo>
                      <a:pt x="3917" y="13357"/>
                    </a:lnTo>
                    <a:lnTo>
                      <a:pt x="3910" y="13265"/>
                    </a:lnTo>
                    <a:lnTo>
                      <a:pt x="3970" y="13125"/>
                    </a:lnTo>
                    <a:lnTo>
                      <a:pt x="3985" y="13013"/>
                    </a:lnTo>
                    <a:lnTo>
                      <a:pt x="4029" y="12939"/>
                    </a:lnTo>
                    <a:lnTo>
                      <a:pt x="4100" y="12939"/>
                    </a:lnTo>
                    <a:lnTo>
                      <a:pt x="4187" y="12956"/>
                    </a:lnTo>
                    <a:lnTo>
                      <a:pt x="4248" y="13017"/>
                    </a:lnTo>
                    <a:lnTo>
                      <a:pt x="4344" y="13091"/>
                    </a:lnTo>
                    <a:lnTo>
                      <a:pt x="4365" y="13162"/>
                    </a:lnTo>
                    <a:lnTo>
                      <a:pt x="4421" y="13266"/>
                    </a:lnTo>
                    <a:cubicBezTo>
                      <a:pt x="4450" y="13317"/>
                      <a:pt x="4470" y="13379"/>
                      <a:pt x="4479" y="13445"/>
                    </a:cubicBezTo>
                    <a:cubicBezTo>
                      <a:pt x="4485" y="13493"/>
                      <a:pt x="4485" y="13543"/>
                      <a:pt x="4479" y="13591"/>
                    </a:cubicBezTo>
                    <a:lnTo>
                      <a:pt x="4511" y="13696"/>
                    </a:lnTo>
                    <a:lnTo>
                      <a:pt x="4660" y="13788"/>
                    </a:lnTo>
                    <a:lnTo>
                      <a:pt x="4794" y="13899"/>
                    </a:lnTo>
                    <a:lnTo>
                      <a:pt x="4994" y="14024"/>
                    </a:lnTo>
                    <a:lnTo>
                      <a:pt x="5100" y="14092"/>
                    </a:lnTo>
                    <a:lnTo>
                      <a:pt x="5224" y="14082"/>
                    </a:lnTo>
                    <a:lnTo>
                      <a:pt x="5261" y="14033"/>
                    </a:lnTo>
                    <a:lnTo>
                      <a:pt x="5374" y="13959"/>
                    </a:lnTo>
                    <a:lnTo>
                      <a:pt x="5431" y="13947"/>
                    </a:lnTo>
                    <a:lnTo>
                      <a:pt x="5522" y="14062"/>
                    </a:lnTo>
                    <a:cubicBezTo>
                      <a:pt x="5537" y="14073"/>
                      <a:pt x="5550" y="14086"/>
                      <a:pt x="5562" y="14103"/>
                    </a:cubicBezTo>
                    <a:cubicBezTo>
                      <a:pt x="5586" y="14136"/>
                      <a:pt x="5605" y="14180"/>
                      <a:pt x="5614" y="14228"/>
                    </a:cubicBezTo>
                    <a:lnTo>
                      <a:pt x="5643" y="14331"/>
                    </a:lnTo>
                    <a:lnTo>
                      <a:pt x="5698" y="14433"/>
                    </a:lnTo>
                    <a:lnTo>
                      <a:pt x="5848" y="14477"/>
                    </a:lnTo>
                    <a:lnTo>
                      <a:pt x="6003" y="14470"/>
                    </a:lnTo>
                    <a:cubicBezTo>
                      <a:pt x="6040" y="14472"/>
                      <a:pt x="6077" y="14481"/>
                      <a:pt x="6112" y="14497"/>
                    </a:cubicBezTo>
                    <a:cubicBezTo>
                      <a:pt x="6145" y="14512"/>
                      <a:pt x="6176" y="14533"/>
                      <a:pt x="6206" y="14559"/>
                    </a:cubicBezTo>
                    <a:lnTo>
                      <a:pt x="6303" y="14547"/>
                    </a:lnTo>
                    <a:lnTo>
                      <a:pt x="6419" y="14487"/>
                    </a:lnTo>
                    <a:lnTo>
                      <a:pt x="6603" y="14487"/>
                    </a:lnTo>
                    <a:lnTo>
                      <a:pt x="6724" y="14567"/>
                    </a:lnTo>
                    <a:lnTo>
                      <a:pt x="6879" y="14555"/>
                    </a:lnTo>
                    <a:lnTo>
                      <a:pt x="6977" y="14489"/>
                    </a:lnTo>
                    <a:lnTo>
                      <a:pt x="7070" y="14403"/>
                    </a:lnTo>
                    <a:lnTo>
                      <a:pt x="7147" y="14409"/>
                    </a:lnTo>
                    <a:lnTo>
                      <a:pt x="7209" y="14502"/>
                    </a:lnTo>
                    <a:lnTo>
                      <a:pt x="7315" y="14543"/>
                    </a:lnTo>
                    <a:lnTo>
                      <a:pt x="7340" y="14604"/>
                    </a:lnTo>
                    <a:lnTo>
                      <a:pt x="7368" y="14721"/>
                    </a:lnTo>
                    <a:lnTo>
                      <a:pt x="7407" y="14857"/>
                    </a:lnTo>
                    <a:lnTo>
                      <a:pt x="7550" y="14913"/>
                    </a:lnTo>
                    <a:lnTo>
                      <a:pt x="7601" y="14995"/>
                    </a:lnTo>
                    <a:lnTo>
                      <a:pt x="7666" y="15131"/>
                    </a:lnTo>
                    <a:lnTo>
                      <a:pt x="7730" y="15227"/>
                    </a:lnTo>
                    <a:lnTo>
                      <a:pt x="7824" y="15221"/>
                    </a:lnTo>
                    <a:lnTo>
                      <a:pt x="7928" y="15166"/>
                    </a:lnTo>
                    <a:lnTo>
                      <a:pt x="7948" y="15245"/>
                    </a:lnTo>
                    <a:lnTo>
                      <a:pt x="7920" y="15356"/>
                    </a:lnTo>
                    <a:lnTo>
                      <a:pt x="7861" y="15391"/>
                    </a:lnTo>
                    <a:lnTo>
                      <a:pt x="7781" y="15366"/>
                    </a:lnTo>
                    <a:lnTo>
                      <a:pt x="7730" y="15391"/>
                    </a:lnTo>
                    <a:lnTo>
                      <a:pt x="7758" y="15489"/>
                    </a:lnTo>
                    <a:lnTo>
                      <a:pt x="7847" y="15538"/>
                    </a:lnTo>
                    <a:lnTo>
                      <a:pt x="7873" y="15682"/>
                    </a:lnTo>
                    <a:lnTo>
                      <a:pt x="7941" y="15770"/>
                    </a:lnTo>
                    <a:lnTo>
                      <a:pt x="8042" y="15801"/>
                    </a:lnTo>
                    <a:lnTo>
                      <a:pt x="8140" y="15801"/>
                    </a:lnTo>
                    <a:lnTo>
                      <a:pt x="8215" y="15735"/>
                    </a:lnTo>
                    <a:lnTo>
                      <a:pt x="8215" y="15647"/>
                    </a:lnTo>
                    <a:lnTo>
                      <a:pt x="8207" y="15558"/>
                    </a:lnTo>
                    <a:lnTo>
                      <a:pt x="8244" y="15441"/>
                    </a:lnTo>
                    <a:cubicBezTo>
                      <a:pt x="8257" y="15421"/>
                      <a:pt x="8274" y="15406"/>
                      <a:pt x="8293" y="15398"/>
                    </a:cubicBezTo>
                    <a:cubicBezTo>
                      <a:pt x="8324" y="15385"/>
                      <a:pt x="8357" y="15392"/>
                      <a:pt x="8385" y="15417"/>
                    </a:cubicBezTo>
                    <a:lnTo>
                      <a:pt x="8429" y="15521"/>
                    </a:lnTo>
                    <a:lnTo>
                      <a:pt x="8417" y="15693"/>
                    </a:lnTo>
                    <a:lnTo>
                      <a:pt x="8397" y="15792"/>
                    </a:lnTo>
                    <a:lnTo>
                      <a:pt x="8386" y="15933"/>
                    </a:lnTo>
                    <a:lnTo>
                      <a:pt x="8386" y="16079"/>
                    </a:lnTo>
                    <a:lnTo>
                      <a:pt x="8398" y="16182"/>
                    </a:lnTo>
                    <a:lnTo>
                      <a:pt x="8473" y="16441"/>
                    </a:lnTo>
                    <a:lnTo>
                      <a:pt x="8502" y="16728"/>
                    </a:lnTo>
                    <a:lnTo>
                      <a:pt x="8510" y="16868"/>
                    </a:lnTo>
                    <a:lnTo>
                      <a:pt x="8607" y="17022"/>
                    </a:lnTo>
                    <a:lnTo>
                      <a:pt x="8663" y="17133"/>
                    </a:lnTo>
                    <a:lnTo>
                      <a:pt x="8679" y="17303"/>
                    </a:lnTo>
                    <a:lnTo>
                      <a:pt x="8703" y="17418"/>
                    </a:lnTo>
                    <a:lnTo>
                      <a:pt x="8759" y="17603"/>
                    </a:lnTo>
                    <a:lnTo>
                      <a:pt x="8799" y="17688"/>
                    </a:lnTo>
                    <a:lnTo>
                      <a:pt x="8858" y="17815"/>
                    </a:lnTo>
                    <a:lnTo>
                      <a:pt x="8894" y="17957"/>
                    </a:lnTo>
                    <a:lnTo>
                      <a:pt x="8919" y="18076"/>
                    </a:lnTo>
                    <a:lnTo>
                      <a:pt x="8963" y="18226"/>
                    </a:lnTo>
                    <a:lnTo>
                      <a:pt x="9034" y="18456"/>
                    </a:lnTo>
                    <a:lnTo>
                      <a:pt x="9088" y="18673"/>
                    </a:lnTo>
                    <a:lnTo>
                      <a:pt x="9120" y="18766"/>
                    </a:lnTo>
                    <a:lnTo>
                      <a:pt x="9157" y="18876"/>
                    </a:lnTo>
                    <a:lnTo>
                      <a:pt x="9165" y="18992"/>
                    </a:lnTo>
                    <a:lnTo>
                      <a:pt x="9224" y="19229"/>
                    </a:lnTo>
                    <a:lnTo>
                      <a:pt x="9265" y="19340"/>
                    </a:lnTo>
                    <a:lnTo>
                      <a:pt x="9335" y="19401"/>
                    </a:lnTo>
                    <a:lnTo>
                      <a:pt x="9398" y="19455"/>
                    </a:lnTo>
                    <a:lnTo>
                      <a:pt x="9435" y="19534"/>
                    </a:lnTo>
                    <a:lnTo>
                      <a:pt x="9499" y="19529"/>
                    </a:lnTo>
                    <a:cubicBezTo>
                      <a:pt x="9505" y="19494"/>
                      <a:pt x="9512" y="19459"/>
                      <a:pt x="9519" y="19424"/>
                    </a:cubicBezTo>
                    <a:cubicBezTo>
                      <a:pt x="9525" y="19391"/>
                      <a:pt x="9532" y="19357"/>
                      <a:pt x="9539" y="19324"/>
                    </a:cubicBezTo>
                    <a:cubicBezTo>
                      <a:pt x="9570" y="19289"/>
                      <a:pt x="9599" y="19249"/>
                      <a:pt x="9625" y="19204"/>
                    </a:cubicBezTo>
                    <a:cubicBezTo>
                      <a:pt x="9647" y="19167"/>
                      <a:pt x="9667" y="19127"/>
                      <a:pt x="9684" y="19085"/>
                    </a:cubicBezTo>
                    <a:cubicBezTo>
                      <a:pt x="9697" y="19045"/>
                      <a:pt x="9711" y="19006"/>
                      <a:pt x="9726" y="18966"/>
                    </a:cubicBezTo>
                    <a:cubicBezTo>
                      <a:pt x="9741" y="18924"/>
                      <a:pt x="9756" y="18882"/>
                      <a:pt x="9772" y="18841"/>
                    </a:cubicBezTo>
                    <a:cubicBezTo>
                      <a:pt x="9774" y="18775"/>
                      <a:pt x="9777" y="18710"/>
                      <a:pt x="9780" y="18644"/>
                    </a:cubicBezTo>
                    <a:cubicBezTo>
                      <a:pt x="9783" y="18560"/>
                      <a:pt x="9787" y="18477"/>
                      <a:pt x="9791" y="18393"/>
                    </a:cubicBezTo>
                    <a:lnTo>
                      <a:pt x="9799" y="18288"/>
                    </a:lnTo>
                    <a:cubicBezTo>
                      <a:pt x="9805" y="18246"/>
                      <a:pt x="9812" y="18203"/>
                      <a:pt x="9819" y="18161"/>
                    </a:cubicBezTo>
                    <a:cubicBezTo>
                      <a:pt x="9829" y="18099"/>
                      <a:pt x="9840" y="18037"/>
                      <a:pt x="9852" y="17976"/>
                    </a:cubicBezTo>
                    <a:lnTo>
                      <a:pt x="9839" y="17816"/>
                    </a:lnTo>
                    <a:lnTo>
                      <a:pt x="9791" y="17643"/>
                    </a:lnTo>
                    <a:lnTo>
                      <a:pt x="9831" y="17391"/>
                    </a:lnTo>
                    <a:lnTo>
                      <a:pt x="9876" y="17301"/>
                    </a:lnTo>
                    <a:lnTo>
                      <a:pt x="10002" y="17165"/>
                    </a:lnTo>
                    <a:lnTo>
                      <a:pt x="10132" y="17023"/>
                    </a:lnTo>
                    <a:lnTo>
                      <a:pt x="10237" y="16902"/>
                    </a:lnTo>
                    <a:lnTo>
                      <a:pt x="10262" y="16723"/>
                    </a:lnTo>
                    <a:lnTo>
                      <a:pt x="10286" y="16610"/>
                    </a:lnTo>
                    <a:lnTo>
                      <a:pt x="10412" y="16555"/>
                    </a:lnTo>
                    <a:lnTo>
                      <a:pt x="10492" y="16493"/>
                    </a:lnTo>
                    <a:lnTo>
                      <a:pt x="10549" y="16327"/>
                    </a:lnTo>
                    <a:cubicBezTo>
                      <a:pt x="10554" y="16271"/>
                      <a:pt x="10568" y="16218"/>
                      <a:pt x="10590" y="16173"/>
                    </a:cubicBezTo>
                    <a:cubicBezTo>
                      <a:pt x="10626" y="16098"/>
                      <a:pt x="10680" y="16049"/>
                      <a:pt x="10740" y="16037"/>
                    </a:cubicBezTo>
                    <a:lnTo>
                      <a:pt x="10874" y="15975"/>
                    </a:lnTo>
                    <a:lnTo>
                      <a:pt x="10909" y="15840"/>
                    </a:lnTo>
                    <a:lnTo>
                      <a:pt x="10885" y="15717"/>
                    </a:lnTo>
                    <a:lnTo>
                      <a:pt x="10892" y="15606"/>
                    </a:lnTo>
                    <a:lnTo>
                      <a:pt x="11030" y="15483"/>
                    </a:lnTo>
                    <a:lnTo>
                      <a:pt x="11172" y="15422"/>
                    </a:lnTo>
                    <a:lnTo>
                      <a:pt x="11283" y="15422"/>
                    </a:lnTo>
                    <a:lnTo>
                      <a:pt x="11432" y="15358"/>
                    </a:lnTo>
                    <a:cubicBezTo>
                      <a:pt x="11441" y="15314"/>
                      <a:pt x="11462" y="15277"/>
                      <a:pt x="11490" y="15257"/>
                    </a:cubicBezTo>
                    <a:cubicBezTo>
                      <a:pt x="11517" y="15237"/>
                      <a:pt x="11549" y="15235"/>
                      <a:pt x="11578" y="15251"/>
                    </a:cubicBezTo>
                    <a:lnTo>
                      <a:pt x="11664" y="15279"/>
                    </a:lnTo>
                    <a:cubicBezTo>
                      <a:pt x="11683" y="15305"/>
                      <a:pt x="11699" y="15334"/>
                      <a:pt x="11713" y="15365"/>
                    </a:cubicBezTo>
                    <a:cubicBezTo>
                      <a:pt x="11732" y="15408"/>
                      <a:pt x="11745" y="15456"/>
                      <a:pt x="11753" y="15507"/>
                    </a:cubicBezTo>
                    <a:lnTo>
                      <a:pt x="11800" y="15701"/>
                    </a:lnTo>
                    <a:lnTo>
                      <a:pt x="11828" y="15833"/>
                    </a:lnTo>
                    <a:cubicBezTo>
                      <a:pt x="11839" y="15860"/>
                      <a:pt x="11854" y="15883"/>
                      <a:pt x="11872" y="15899"/>
                    </a:cubicBezTo>
                    <a:cubicBezTo>
                      <a:pt x="11906" y="15927"/>
                      <a:pt x="11947" y="15931"/>
                      <a:pt x="11982" y="15909"/>
                    </a:cubicBezTo>
                    <a:lnTo>
                      <a:pt x="12043" y="15981"/>
                    </a:lnTo>
                    <a:lnTo>
                      <a:pt x="12197" y="16141"/>
                    </a:lnTo>
                    <a:cubicBezTo>
                      <a:pt x="12217" y="16216"/>
                      <a:pt x="12238" y="16289"/>
                      <a:pt x="12262" y="16361"/>
                    </a:cubicBezTo>
                    <a:cubicBezTo>
                      <a:pt x="12295" y="16459"/>
                      <a:pt x="12331" y="16555"/>
                      <a:pt x="12368" y="16650"/>
                    </a:cubicBezTo>
                    <a:cubicBezTo>
                      <a:pt x="12386" y="16699"/>
                      <a:pt x="12405" y="16748"/>
                      <a:pt x="12423" y="16798"/>
                    </a:cubicBezTo>
                    <a:lnTo>
                      <a:pt x="12395" y="16894"/>
                    </a:lnTo>
                    <a:lnTo>
                      <a:pt x="12331" y="16954"/>
                    </a:lnTo>
                    <a:lnTo>
                      <a:pt x="12335" y="17094"/>
                    </a:lnTo>
                    <a:cubicBezTo>
                      <a:pt x="12355" y="17119"/>
                      <a:pt x="12375" y="17144"/>
                      <a:pt x="12396" y="17168"/>
                    </a:cubicBezTo>
                    <a:cubicBezTo>
                      <a:pt x="12423" y="17200"/>
                      <a:pt x="12450" y="17230"/>
                      <a:pt x="12478" y="17260"/>
                    </a:cubicBezTo>
                    <a:lnTo>
                      <a:pt x="12575" y="17255"/>
                    </a:lnTo>
                    <a:lnTo>
                      <a:pt x="12636" y="17120"/>
                    </a:lnTo>
                    <a:lnTo>
                      <a:pt x="12693" y="16980"/>
                    </a:lnTo>
                    <a:lnTo>
                      <a:pt x="12800" y="16904"/>
                    </a:lnTo>
                    <a:lnTo>
                      <a:pt x="12877" y="17115"/>
                    </a:lnTo>
                    <a:lnTo>
                      <a:pt x="12945" y="17317"/>
                    </a:lnTo>
                    <a:lnTo>
                      <a:pt x="12957" y="17518"/>
                    </a:lnTo>
                    <a:lnTo>
                      <a:pt x="13008" y="17691"/>
                    </a:lnTo>
                    <a:lnTo>
                      <a:pt x="13054" y="17855"/>
                    </a:lnTo>
                    <a:lnTo>
                      <a:pt x="13127" y="18014"/>
                    </a:lnTo>
                    <a:lnTo>
                      <a:pt x="13171" y="18203"/>
                    </a:lnTo>
                    <a:lnTo>
                      <a:pt x="13183" y="18371"/>
                    </a:lnTo>
                    <a:lnTo>
                      <a:pt x="13148" y="18675"/>
                    </a:lnTo>
                    <a:lnTo>
                      <a:pt x="13144" y="18870"/>
                    </a:lnTo>
                    <a:lnTo>
                      <a:pt x="13159" y="19080"/>
                    </a:lnTo>
                    <a:lnTo>
                      <a:pt x="13159" y="19174"/>
                    </a:lnTo>
                    <a:lnTo>
                      <a:pt x="13117" y="19238"/>
                    </a:lnTo>
                    <a:lnTo>
                      <a:pt x="13113" y="19347"/>
                    </a:lnTo>
                    <a:lnTo>
                      <a:pt x="13125" y="19507"/>
                    </a:lnTo>
                    <a:lnTo>
                      <a:pt x="13186" y="19549"/>
                    </a:lnTo>
                    <a:cubicBezTo>
                      <a:pt x="13215" y="19555"/>
                      <a:pt x="13242" y="19574"/>
                      <a:pt x="13263" y="19604"/>
                    </a:cubicBezTo>
                    <a:cubicBezTo>
                      <a:pt x="13285" y="19635"/>
                      <a:pt x="13300" y="19676"/>
                      <a:pt x="13306" y="19721"/>
                    </a:cubicBezTo>
                    <a:lnTo>
                      <a:pt x="13420" y="19817"/>
                    </a:lnTo>
                    <a:lnTo>
                      <a:pt x="13492" y="19981"/>
                    </a:lnTo>
                    <a:lnTo>
                      <a:pt x="13536" y="20099"/>
                    </a:lnTo>
                    <a:lnTo>
                      <a:pt x="13550" y="20266"/>
                    </a:lnTo>
                    <a:lnTo>
                      <a:pt x="13596" y="20554"/>
                    </a:lnTo>
                    <a:lnTo>
                      <a:pt x="13625" y="20775"/>
                    </a:lnTo>
                    <a:lnTo>
                      <a:pt x="13682" y="20923"/>
                    </a:lnTo>
                    <a:lnTo>
                      <a:pt x="13714" y="21021"/>
                    </a:lnTo>
                    <a:lnTo>
                      <a:pt x="13772" y="21189"/>
                    </a:lnTo>
                    <a:lnTo>
                      <a:pt x="13829" y="21220"/>
                    </a:lnTo>
                    <a:lnTo>
                      <a:pt x="13914" y="21327"/>
                    </a:lnTo>
                    <a:lnTo>
                      <a:pt x="13982" y="21385"/>
                    </a:lnTo>
                    <a:lnTo>
                      <a:pt x="14071" y="21477"/>
                    </a:lnTo>
                    <a:lnTo>
                      <a:pt x="14136" y="21600"/>
                    </a:lnTo>
                    <a:lnTo>
                      <a:pt x="14168" y="21558"/>
                    </a:lnTo>
                    <a:lnTo>
                      <a:pt x="14144" y="21461"/>
                    </a:lnTo>
                    <a:lnTo>
                      <a:pt x="14220" y="21456"/>
                    </a:lnTo>
                    <a:lnTo>
                      <a:pt x="14242" y="21376"/>
                    </a:lnTo>
                    <a:lnTo>
                      <a:pt x="14195" y="21227"/>
                    </a:lnTo>
                    <a:lnTo>
                      <a:pt x="14149" y="21028"/>
                    </a:lnTo>
                    <a:lnTo>
                      <a:pt x="14121" y="20856"/>
                    </a:lnTo>
                    <a:lnTo>
                      <a:pt x="14064" y="20706"/>
                    </a:lnTo>
                    <a:cubicBezTo>
                      <a:pt x="14060" y="20650"/>
                      <a:pt x="14051" y="20596"/>
                      <a:pt x="14037" y="20544"/>
                    </a:cubicBezTo>
                    <a:cubicBezTo>
                      <a:pt x="14023" y="20489"/>
                      <a:pt x="14004" y="20437"/>
                      <a:pt x="13980" y="20389"/>
                    </a:cubicBezTo>
                    <a:lnTo>
                      <a:pt x="13916" y="20256"/>
                    </a:lnTo>
                    <a:lnTo>
                      <a:pt x="13796" y="20153"/>
                    </a:lnTo>
                    <a:lnTo>
                      <a:pt x="13711" y="20030"/>
                    </a:lnTo>
                    <a:lnTo>
                      <a:pt x="13609" y="19920"/>
                    </a:lnTo>
                    <a:cubicBezTo>
                      <a:pt x="13556" y="19920"/>
                      <a:pt x="13507" y="19872"/>
                      <a:pt x="13485" y="19798"/>
                    </a:cubicBezTo>
                    <a:cubicBezTo>
                      <a:pt x="13470" y="19751"/>
                      <a:pt x="13469" y="19697"/>
                      <a:pt x="13481" y="19648"/>
                    </a:cubicBezTo>
                    <a:lnTo>
                      <a:pt x="13460" y="19495"/>
                    </a:lnTo>
                    <a:lnTo>
                      <a:pt x="13452" y="19396"/>
                    </a:lnTo>
                    <a:lnTo>
                      <a:pt x="13387" y="19310"/>
                    </a:lnTo>
                    <a:lnTo>
                      <a:pt x="13305" y="19191"/>
                    </a:lnTo>
                    <a:lnTo>
                      <a:pt x="13276" y="19059"/>
                    </a:lnTo>
                    <a:cubicBezTo>
                      <a:pt x="13277" y="19012"/>
                      <a:pt x="13280" y="18965"/>
                      <a:pt x="13285" y="18918"/>
                    </a:cubicBezTo>
                    <a:cubicBezTo>
                      <a:pt x="13292" y="18843"/>
                      <a:pt x="13304" y="18769"/>
                      <a:pt x="13320" y="18698"/>
                    </a:cubicBezTo>
                    <a:lnTo>
                      <a:pt x="13344" y="18550"/>
                    </a:lnTo>
                    <a:lnTo>
                      <a:pt x="13373" y="18396"/>
                    </a:lnTo>
                    <a:lnTo>
                      <a:pt x="13344" y="18289"/>
                    </a:lnTo>
                    <a:lnTo>
                      <a:pt x="13320" y="18141"/>
                    </a:lnTo>
                    <a:lnTo>
                      <a:pt x="13317" y="18024"/>
                    </a:lnTo>
                    <a:lnTo>
                      <a:pt x="13378" y="17962"/>
                    </a:lnTo>
                    <a:lnTo>
                      <a:pt x="13468" y="17956"/>
                    </a:lnTo>
                    <a:lnTo>
                      <a:pt x="13512" y="18073"/>
                    </a:lnTo>
                    <a:lnTo>
                      <a:pt x="13562" y="18139"/>
                    </a:lnTo>
                    <a:lnTo>
                      <a:pt x="13671" y="18279"/>
                    </a:lnTo>
                    <a:lnTo>
                      <a:pt x="13730" y="18310"/>
                    </a:lnTo>
                    <a:lnTo>
                      <a:pt x="13812" y="18382"/>
                    </a:lnTo>
                    <a:lnTo>
                      <a:pt x="13875" y="18423"/>
                    </a:lnTo>
                    <a:lnTo>
                      <a:pt x="13920" y="18490"/>
                    </a:lnTo>
                    <a:lnTo>
                      <a:pt x="13956" y="18648"/>
                    </a:lnTo>
                    <a:lnTo>
                      <a:pt x="14008" y="18743"/>
                    </a:lnTo>
                    <a:lnTo>
                      <a:pt x="14063" y="18771"/>
                    </a:lnTo>
                    <a:lnTo>
                      <a:pt x="14091" y="18862"/>
                    </a:lnTo>
                    <a:lnTo>
                      <a:pt x="14107" y="18940"/>
                    </a:lnTo>
                    <a:lnTo>
                      <a:pt x="14172" y="18933"/>
                    </a:lnTo>
                    <a:lnTo>
                      <a:pt x="14221" y="18872"/>
                    </a:lnTo>
                    <a:lnTo>
                      <a:pt x="14260" y="18826"/>
                    </a:lnTo>
                    <a:lnTo>
                      <a:pt x="14320" y="18833"/>
                    </a:lnTo>
                    <a:lnTo>
                      <a:pt x="14345" y="18921"/>
                    </a:lnTo>
                    <a:lnTo>
                      <a:pt x="14360" y="19056"/>
                    </a:lnTo>
                    <a:lnTo>
                      <a:pt x="14331" y="19130"/>
                    </a:lnTo>
                    <a:lnTo>
                      <a:pt x="14319" y="19343"/>
                    </a:lnTo>
                    <a:lnTo>
                      <a:pt x="14412" y="19408"/>
                    </a:lnTo>
                    <a:lnTo>
                      <a:pt x="14456" y="19286"/>
                    </a:lnTo>
                    <a:lnTo>
                      <a:pt x="14548" y="19241"/>
                    </a:lnTo>
                    <a:lnTo>
                      <a:pt x="14577" y="19051"/>
                    </a:lnTo>
                    <a:lnTo>
                      <a:pt x="14624" y="18944"/>
                    </a:lnTo>
                    <a:lnTo>
                      <a:pt x="14784" y="18882"/>
                    </a:lnTo>
                    <a:lnTo>
                      <a:pt x="14859" y="18791"/>
                    </a:lnTo>
                    <a:lnTo>
                      <a:pt x="15001" y="18675"/>
                    </a:lnTo>
                    <a:lnTo>
                      <a:pt x="15018" y="18428"/>
                    </a:lnTo>
                    <a:cubicBezTo>
                      <a:pt x="15027" y="18358"/>
                      <a:pt x="15029" y="18286"/>
                      <a:pt x="15026" y="18214"/>
                    </a:cubicBezTo>
                    <a:cubicBezTo>
                      <a:pt x="15023" y="18158"/>
                      <a:pt x="15016" y="18102"/>
                      <a:pt x="15005" y="18048"/>
                    </a:cubicBezTo>
                    <a:lnTo>
                      <a:pt x="14951" y="17795"/>
                    </a:lnTo>
                    <a:lnTo>
                      <a:pt x="14866" y="17561"/>
                    </a:lnTo>
                    <a:lnTo>
                      <a:pt x="14850" y="17352"/>
                    </a:lnTo>
                    <a:lnTo>
                      <a:pt x="14784" y="17141"/>
                    </a:lnTo>
                    <a:lnTo>
                      <a:pt x="14703" y="17036"/>
                    </a:lnTo>
                    <a:lnTo>
                      <a:pt x="14574" y="16931"/>
                    </a:lnTo>
                    <a:lnTo>
                      <a:pt x="14515" y="16866"/>
                    </a:lnTo>
                    <a:lnTo>
                      <a:pt x="14356" y="16669"/>
                    </a:lnTo>
                    <a:lnTo>
                      <a:pt x="14313" y="16504"/>
                    </a:lnTo>
                    <a:lnTo>
                      <a:pt x="14270" y="16280"/>
                    </a:lnTo>
                    <a:lnTo>
                      <a:pt x="14249" y="16054"/>
                    </a:lnTo>
                    <a:lnTo>
                      <a:pt x="14249" y="15855"/>
                    </a:lnTo>
                    <a:lnTo>
                      <a:pt x="14310" y="15701"/>
                    </a:lnTo>
                    <a:lnTo>
                      <a:pt x="14404" y="15603"/>
                    </a:lnTo>
                    <a:lnTo>
                      <a:pt x="14539" y="15572"/>
                    </a:lnTo>
                    <a:lnTo>
                      <a:pt x="14646" y="15529"/>
                    </a:lnTo>
                    <a:lnTo>
                      <a:pt x="14709" y="15498"/>
                    </a:lnTo>
                    <a:lnTo>
                      <a:pt x="14801" y="15566"/>
                    </a:lnTo>
                    <a:lnTo>
                      <a:pt x="14849" y="15613"/>
                    </a:lnTo>
                    <a:lnTo>
                      <a:pt x="14905" y="15711"/>
                    </a:lnTo>
                    <a:lnTo>
                      <a:pt x="14913" y="15816"/>
                    </a:lnTo>
                    <a:lnTo>
                      <a:pt x="14978" y="15932"/>
                    </a:lnTo>
                    <a:lnTo>
                      <a:pt x="15034" y="15903"/>
                    </a:lnTo>
                    <a:lnTo>
                      <a:pt x="15067" y="15749"/>
                    </a:lnTo>
                    <a:lnTo>
                      <a:pt x="15119" y="15621"/>
                    </a:lnTo>
                    <a:lnTo>
                      <a:pt x="15197" y="15541"/>
                    </a:lnTo>
                    <a:lnTo>
                      <a:pt x="15236" y="15492"/>
                    </a:lnTo>
                    <a:lnTo>
                      <a:pt x="15356" y="15426"/>
                    </a:lnTo>
                    <a:lnTo>
                      <a:pt x="15409" y="15420"/>
                    </a:lnTo>
                    <a:lnTo>
                      <a:pt x="15506" y="15420"/>
                    </a:lnTo>
                    <a:cubicBezTo>
                      <a:pt x="15541" y="15410"/>
                      <a:pt x="15576" y="15402"/>
                      <a:pt x="15611" y="15395"/>
                    </a:cubicBezTo>
                    <a:cubicBezTo>
                      <a:pt x="15656" y="15387"/>
                      <a:pt x="15702" y="15382"/>
                      <a:pt x="15748" y="15381"/>
                    </a:cubicBezTo>
                    <a:lnTo>
                      <a:pt x="15797" y="15264"/>
                    </a:lnTo>
                    <a:lnTo>
                      <a:pt x="15824" y="15215"/>
                    </a:lnTo>
                    <a:lnTo>
                      <a:pt x="15922" y="15247"/>
                    </a:lnTo>
                    <a:lnTo>
                      <a:pt x="16095" y="15132"/>
                    </a:lnTo>
                    <a:lnTo>
                      <a:pt x="16192" y="15009"/>
                    </a:lnTo>
                    <a:lnTo>
                      <a:pt x="16270" y="14854"/>
                    </a:lnTo>
                    <a:lnTo>
                      <a:pt x="16310" y="14737"/>
                    </a:lnTo>
                    <a:lnTo>
                      <a:pt x="16407" y="14620"/>
                    </a:lnTo>
                    <a:lnTo>
                      <a:pt x="16439" y="14464"/>
                    </a:lnTo>
                    <a:lnTo>
                      <a:pt x="16441" y="14274"/>
                    </a:lnTo>
                    <a:lnTo>
                      <a:pt x="16474" y="14063"/>
                    </a:lnTo>
                    <a:lnTo>
                      <a:pt x="16523" y="13908"/>
                    </a:lnTo>
                    <a:cubicBezTo>
                      <a:pt x="16537" y="13860"/>
                      <a:pt x="16549" y="13811"/>
                      <a:pt x="16559" y="13760"/>
                    </a:cubicBezTo>
                    <a:cubicBezTo>
                      <a:pt x="16573" y="13694"/>
                      <a:pt x="16583" y="13626"/>
                      <a:pt x="16590" y="13557"/>
                    </a:cubicBezTo>
                    <a:lnTo>
                      <a:pt x="16618" y="13434"/>
                    </a:lnTo>
                    <a:lnTo>
                      <a:pt x="16612" y="13238"/>
                    </a:lnTo>
                    <a:lnTo>
                      <a:pt x="16579" y="13087"/>
                    </a:lnTo>
                    <a:lnTo>
                      <a:pt x="16463" y="13118"/>
                    </a:lnTo>
                    <a:lnTo>
                      <a:pt x="16401" y="13023"/>
                    </a:lnTo>
                    <a:lnTo>
                      <a:pt x="16404" y="12902"/>
                    </a:lnTo>
                    <a:lnTo>
                      <a:pt x="16500" y="12877"/>
                    </a:lnTo>
                    <a:lnTo>
                      <a:pt x="16499" y="12711"/>
                    </a:lnTo>
                    <a:lnTo>
                      <a:pt x="16452" y="12608"/>
                    </a:lnTo>
                    <a:lnTo>
                      <a:pt x="16290" y="12516"/>
                    </a:lnTo>
                    <a:lnTo>
                      <a:pt x="16202" y="12414"/>
                    </a:lnTo>
                    <a:lnTo>
                      <a:pt x="16127" y="12274"/>
                    </a:lnTo>
                    <a:lnTo>
                      <a:pt x="16079" y="12031"/>
                    </a:lnTo>
                    <a:lnTo>
                      <a:pt x="16006" y="11871"/>
                    </a:lnTo>
                    <a:lnTo>
                      <a:pt x="15922" y="11816"/>
                    </a:lnTo>
                    <a:lnTo>
                      <a:pt x="15808" y="11687"/>
                    </a:lnTo>
                    <a:lnTo>
                      <a:pt x="15821" y="11475"/>
                    </a:lnTo>
                    <a:lnTo>
                      <a:pt x="15861" y="11346"/>
                    </a:lnTo>
                    <a:lnTo>
                      <a:pt x="15955" y="11253"/>
                    </a:lnTo>
                    <a:lnTo>
                      <a:pt x="16048" y="11167"/>
                    </a:lnTo>
                    <a:lnTo>
                      <a:pt x="16158" y="11093"/>
                    </a:lnTo>
                    <a:lnTo>
                      <a:pt x="16213" y="11001"/>
                    </a:lnTo>
                    <a:lnTo>
                      <a:pt x="16121" y="10906"/>
                    </a:lnTo>
                    <a:lnTo>
                      <a:pt x="16057" y="10878"/>
                    </a:lnTo>
                    <a:lnTo>
                      <a:pt x="15876" y="10796"/>
                    </a:lnTo>
                    <a:lnTo>
                      <a:pt x="15787" y="10913"/>
                    </a:lnTo>
                    <a:lnTo>
                      <a:pt x="15726" y="10986"/>
                    </a:lnTo>
                    <a:lnTo>
                      <a:pt x="15616" y="10898"/>
                    </a:lnTo>
                    <a:lnTo>
                      <a:pt x="15572" y="10814"/>
                    </a:lnTo>
                    <a:lnTo>
                      <a:pt x="15466" y="10773"/>
                    </a:lnTo>
                    <a:lnTo>
                      <a:pt x="15240" y="10656"/>
                    </a:lnTo>
                    <a:lnTo>
                      <a:pt x="15246" y="10486"/>
                    </a:lnTo>
                    <a:lnTo>
                      <a:pt x="15242" y="10361"/>
                    </a:lnTo>
                    <a:lnTo>
                      <a:pt x="15301" y="10324"/>
                    </a:lnTo>
                    <a:lnTo>
                      <a:pt x="15407" y="10336"/>
                    </a:lnTo>
                    <a:lnTo>
                      <a:pt x="15531" y="10149"/>
                    </a:lnTo>
                    <a:lnTo>
                      <a:pt x="15564" y="10015"/>
                    </a:lnTo>
                    <a:lnTo>
                      <a:pt x="15631" y="9837"/>
                    </a:lnTo>
                    <a:lnTo>
                      <a:pt x="15707" y="9806"/>
                    </a:lnTo>
                    <a:lnTo>
                      <a:pt x="15791" y="9837"/>
                    </a:lnTo>
                    <a:lnTo>
                      <a:pt x="15841" y="9943"/>
                    </a:lnTo>
                    <a:lnTo>
                      <a:pt x="15848" y="10050"/>
                    </a:lnTo>
                    <a:lnTo>
                      <a:pt x="15863" y="10231"/>
                    </a:lnTo>
                    <a:lnTo>
                      <a:pt x="15907" y="10340"/>
                    </a:lnTo>
                    <a:lnTo>
                      <a:pt x="15948" y="10401"/>
                    </a:lnTo>
                    <a:lnTo>
                      <a:pt x="16001" y="10382"/>
                    </a:lnTo>
                    <a:lnTo>
                      <a:pt x="16072" y="10288"/>
                    </a:lnTo>
                    <a:lnTo>
                      <a:pt x="16148" y="10200"/>
                    </a:lnTo>
                    <a:lnTo>
                      <a:pt x="16274" y="10150"/>
                    </a:lnTo>
                    <a:lnTo>
                      <a:pt x="16333" y="10181"/>
                    </a:lnTo>
                    <a:lnTo>
                      <a:pt x="16409" y="10234"/>
                    </a:lnTo>
                    <a:lnTo>
                      <a:pt x="16525" y="10312"/>
                    </a:lnTo>
                    <a:lnTo>
                      <a:pt x="16590" y="10442"/>
                    </a:lnTo>
                    <a:lnTo>
                      <a:pt x="16527" y="10497"/>
                    </a:lnTo>
                    <a:lnTo>
                      <a:pt x="16523" y="10644"/>
                    </a:lnTo>
                    <a:lnTo>
                      <a:pt x="16588" y="10729"/>
                    </a:lnTo>
                    <a:lnTo>
                      <a:pt x="16695" y="10722"/>
                    </a:lnTo>
                    <a:lnTo>
                      <a:pt x="16853" y="10809"/>
                    </a:lnTo>
                    <a:lnTo>
                      <a:pt x="16926" y="10987"/>
                    </a:lnTo>
                    <a:lnTo>
                      <a:pt x="16986" y="11078"/>
                    </a:lnTo>
                    <a:lnTo>
                      <a:pt x="17010" y="11232"/>
                    </a:lnTo>
                    <a:lnTo>
                      <a:pt x="17031" y="11349"/>
                    </a:lnTo>
                    <a:lnTo>
                      <a:pt x="17059" y="11498"/>
                    </a:lnTo>
                    <a:lnTo>
                      <a:pt x="17071" y="11651"/>
                    </a:lnTo>
                    <a:lnTo>
                      <a:pt x="17130" y="11766"/>
                    </a:lnTo>
                    <a:lnTo>
                      <a:pt x="17195" y="11815"/>
                    </a:lnTo>
                    <a:lnTo>
                      <a:pt x="17296" y="11702"/>
                    </a:lnTo>
                    <a:lnTo>
                      <a:pt x="17415" y="11614"/>
                    </a:lnTo>
                    <a:lnTo>
                      <a:pt x="17496" y="11558"/>
                    </a:lnTo>
                    <a:lnTo>
                      <a:pt x="17559" y="11499"/>
                    </a:lnTo>
                    <a:cubicBezTo>
                      <a:pt x="17562" y="11433"/>
                      <a:pt x="17556" y="11367"/>
                      <a:pt x="17540" y="11306"/>
                    </a:cubicBezTo>
                    <a:cubicBezTo>
                      <a:pt x="17525" y="11249"/>
                      <a:pt x="17502" y="11197"/>
                      <a:pt x="17473" y="11154"/>
                    </a:cubicBezTo>
                    <a:lnTo>
                      <a:pt x="17400" y="10964"/>
                    </a:lnTo>
                    <a:lnTo>
                      <a:pt x="17298" y="10799"/>
                    </a:lnTo>
                    <a:lnTo>
                      <a:pt x="17248" y="10793"/>
                    </a:lnTo>
                    <a:lnTo>
                      <a:pt x="17072" y="10623"/>
                    </a:lnTo>
                    <a:lnTo>
                      <a:pt x="16989" y="10544"/>
                    </a:lnTo>
                    <a:lnTo>
                      <a:pt x="16900" y="10423"/>
                    </a:lnTo>
                    <a:lnTo>
                      <a:pt x="16820" y="10351"/>
                    </a:lnTo>
                    <a:lnTo>
                      <a:pt x="16820" y="10220"/>
                    </a:lnTo>
                    <a:lnTo>
                      <a:pt x="16933" y="10133"/>
                    </a:lnTo>
                    <a:lnTo>
                      <a:pt x="17068" y="10029"/>
                    </a:lnTo>
                    <a:lnTo>
                      <a:pt x="17083" y="9914"/>
                    </a:lnTo>
                    <a:lnTo>
                      <a:pt x="17049" y="9761"/>
                    </a:lnTo>
                    <a:lnTo>
                      <a:pt x="16957" y="9770"/>
                    </a:lnTo>
                    <a:cubicBezTo>
                      <a:pt x="16942" y="9699"/>
                      <a:pt x="16956" y="9621"/>
                      <a:pt x="16992" y="9571"/>
                    </a:cubicBezTo>
                    <a:cubicBezTo>
                      <a:pt x="17020" y="9533"/>
                      <a:pt x="17058" y="9517"/>
                      <a:pt x="17095" y="9528"/>
                    </a:cubicBezTo>
                    <a:cubicBezTo>
                      <a:pt x="17106" y="9498"/>
                      <a:pt x="17116" y="9467"/>
                      <a:pt x="17123" y="9435"/>
                    </a:cubicBezTo>
                    <a:cubicBezTo>
                      <a:pt x="17139" y="9373"/>
                      <a:pt x="17147" y="9308"/>
                      <a:pt x="17149" y="9242"/>
                    </a:cubicBezTo>
                    <a:lnTo>
                      <a:pt x="17174" y="9110"/>
                    </a:lnTo>
                    <a:lnTo>
                      <a:pt x="17248" y="9178"/>
                    </a:lnTo>
                    <a:lnTo>
                      <a:pt x="17347" y="9270"/>
                    </a:lnTo>
                    <a:lnTo>
                      <a:pt x="17392" y="9297"/>
                    </a:lnTo>
                    <a:lnTo>
                      <a:pt x="17514" y="9286"/>
                    </a:lnTo>
                    <a:lnTo>
                      <a:pt x="17568" y="9177"/>
                    </a:lnTo>
                    <a:cubicBezTo>
                      <a:pt x="17590" y="9119"/>
                      <a:pt x="17610" y="9059"/>
                      <a:pt x="17626" y="8997"/>
                    </a:cubicBezTo>
                    <a:cubicBezTo>
                      <a:pt x="17641" y="8944"/>
                      <a:pt x="17653" y="8890"/>
                      <a:pt x="17663" y="8835"/>
                    </a:cubicBezTo>
                    <a:lnTo>
                      <a:pt x="17709" y="8691"/>
                    </a:lnTo>
                    <a:lnTo>
                      <a:pt x="17732" y="8540"/>
                    </a:lnTo>
                    <a:lnTo>
                      <a:pt x="17783" y="8406"/>
                    </a:lnTo>
                    <a:lnTo>
                      <a:pt x="17835" y="8208"/>
                    </a:lnTo>
                    <a:lnTo>
                      <a:pt x="17770" y="8060"/>
                    </a:lnTo>
                    <a:lnTo>
                      <a:pt x="17770" y="7890"/>
                    </a:lnTo>
                    <a:lnTo>
                      <a:pt x="17823" y="7767"/>
                    </a:lnTo>
                    <a:lnTo>
                      <a:pt x="17830" y="7600"/>
                    </a:lnTo>
                    <a:cubicBezTo>
                      <a:pt x="17813" y="7554"/>
                      <a:pt x="17796" y="7509"/>
                      <a:pt x="17778" y="7463"/>
                    </a:cubicBezTo>
                    <a:cubicBezTo>
                      <a:pt x="17763" y="7423"/>
                      <a:pt x="17747" y="7384"/>
                      <a:pt x="17735" y="7341"/>
                    </a:cubicBezTo>
                    <a:cubicBezTo>
                      <a:pt x="17715" y="7271"/>
                      <a:pt x="17705" y="7195"/>
                      <a:pt x="17707" y="7119"/>
                    </a:cubicBezTo>
                    <a:lnTo>
                      <a:pt x="17634" y="7044"/>
                    </a:lnTo>
                    <a:lnTo>
                      <a:pt x="17580" y="7052"/>
                    </a:lnTo>
                    <a:lnTo>
                      <a:pt x="17503" y="6849"/>
                    </a:lnTo>
                    <a:lnTo>
                      <a:pt x="17459" y="6758"/>
                    </a:lnTo>
                    <a:lnTo>
                      <a:pt x="17435" y="6611"/>
                    </a:lnTo>
                    <a:lnTo>
                      <a:pt x="17373" y="6495"/>
                    </a:lnTo>
                    <a:lnTo>
                      <a:pt x="17240" y="6324"/>
                    </a:lnTo>
                    <a:lnTo>
                      <a:pt x="17132" y="6263"/>
                    </a:lnTo>
                    <a:lnTo>
                      <a:pt x="17059" y="6103"/>
                    </a:lnTo>
                    <a:lnTo>
                      <a:pt x="16962" y="6028"/>
                    </a:lnTo>
                    <a:lnTo>
                      <a:pt x="16881" y="6047"/>
                    </a:lnTo>
                    <a:lnTo>
                      <a:pt x="16783" y="6115"/>
                    </a:lnTo>
                    <a:lnTo>
                      <a:pt x="16687" y="6140"/>
                    </a:lnTo>
                    <a:lnTo>
                      <a:pt x="16607" y="6103"/>
                    </a:lnTo>
                    <a:lnTo>
                      <a:pt x="16460" y="6072"/>
                    </a:lnTo>
                    <a:lnTo>
                      <a:pt x="16403" y="6004"/>
                    </a:lnTo>
                    <a:lnTo>
                      <a:pt x="16326" y="5924"/>
                    </a:lnTo>
                    <a:lnTo>
                      <a:pt x="16206" y="5924"/>
                    </a:lnTo>
                    <a:lnTo>
                      <a:pt x="16146" y="5807"/>
                    </a:lnTo>
                    <a:lnTo>
                      <a:pt x="16226" y="5720"/>
                    </a:lnTo>
                    <a:lnTo>
                      <a:pt x="16275" y="5634"/>
                    </a:lnTo>
                    <a:lnTo>
                      <a:pt x="16349" y="5282"/>
                    </a:lnTo>
                    <a:lnTo>
                      <a:pt x="16330" y="5106"/>
                    </a:lnTo>
                    <a:lnTo>
                      <a:pt x="16362" y="4989"/>
                    </a:lnTo>
                    <a:lnTo>
                      <a:pt x="16434" y="4856"/>
                    </a:lnTo>
                    <a:lnTo>
                      <a:pt x="16537" y="4743"/>
                    </a:lnTo>
                    <a:lnTo>
                      <a:pt x="16606" y="4658"/>
                    </a:lnTo>
                    <a:lnTo>
                      <a:pt x="16694" y="4611"/>
                    </a:lnTo>
                    <a:lnTo>
                      <a:pt x="16817" y="4582"/>
                    </a:lnTo>
                    <a:lnTo>
                      <a:pt x="16917" y="4582"/>
                    </a:lnTo>
                    <a:lnTo>
                      <a:pt x="17020" y="4619"/>
                    </a:lnTo>
                    <a:lnTo>
                      <a:pt x="17129" y="4632"/>
                    </a:lnTo>
                    <a:lnTo>
                      <a:pt x="17261" y="4626"/>
                    </a:lnTo>
                    <a:lnTo>
                      <a:pt x="17398" y="4558"/>
                    </a:lnTo>
                    <a:lnTo>
                      <a:pt x="17471" y="4527"/>
                    </a:lnTo>
                    <a:lnTo>
                      <a:pt x="17580" y="4490"/>
                    </a:lnTo>
                    <a:lnTo>
                      <a:pt x="17633" y="4527"/>
                    </a:lnTo>
                    <a:lnTo>
                      <a:pt x="17686" y="4607"/>
                    </a:lnTo>
                    <a:lnTo>
                      <a:pt x="17787" y="4674"/>
                    </a:lnTo>
                    <a:lnTo>
                      <a:pt x="17836" y="4724"/>
                    </a:lnTo>
                    <a:lnTo>
                      <a:pt x="17952" y="4730"/>
                    </a:lnTo>
                    <a:lnTo>
                      <a:pt x="18081" y="4644"/>
                    </a:lnTo>
                    <a:lnTo>
                      <a:pt x="18189" y="4625"/>
                    </a:lnTo>
                    <a:lnTo>
                      <a:pt x="18143" y="4366"/>
                    </a:lnTo>
                    <a:cubicBezTo>
                      <a:pt x="18105" y="4367"/>
                      <a:pt x="18070" y="4330"/>
                      <a:pt x="18058" y="4274"/>
                    </a:cubicBezTo>
                    <a:cubicBezTo>
                      <a:pt x="18044" y="4208"/>
                      <a:pt x="18064" y="4136"/>
                      <a:pt x="18106" y="4107"/>
                    </a:cubicBezTo>
                    <a:cubicBezTo>
                      <a:pt x="18105" y="4044"/>
                      <a:pt x="18122" y="3983"/>
                      <a:pt x="18153" y="3941"/>
                    </a:cubicBezTo>
                    <a:cubicBezTo>
                      <a:pt x="18184" y="3898"/>
                      <a:pt x="18225" y="3878"/>
                      <a:pt x="18266" y="3886"/>
                    </a:cubicBezTo>
                    <a:lnTo>
                      <a:pt x="18388" y="3912"/>
                    </a:lnTo>
                    <a:lnTo>
                      <a:pt x="18433" y="3986"/>
                    </a:lnTo>
                    <a:lnTo>
                      <a:pt x="18561" y="3941"/>
                    </a:lnTo>
                    <a:lnTo>
                      <a:pt x="18622" y="4058"/>
                    </a:lnTo>
                    <a:lnTo>
                      <a:pt x="18642" y="4156"/>
                    </a:lnTo>
                    <a:lnTo>
                      <a:pt x="18742" y="4173"/>
                    </a:lnTo>
                    <a:lnTo>
                      <a:pt x="18819" y="4105"/>
                    </a:lnTo>
                    <a:lnTo>
                      <a:pt x="18815" y="3967"/>
                    </a:lnTo>
                    <a:lnTo>
                      <a:pt x="18815" y="3844"/>
                    </a:lnTo>
                    <a:lnTo>
                      <a:pt x="18867" y="3773"/>
                    </a:lnTo>
                    <a:lnTo>
                      <a:pt x="18940" y="3726"/>
                    </a:lnTo>
                    <a:lnTo>
                      <a:pt x="19014" y="3739"/>
                    </a:lnTo>
                    <a:lnTo>
                      <a:pt x="19059" y="3881"/>
                    </a:lnTo>
                    <a:lnTo>
                      <a:pt x="19100" y="4056"/>
                    </a:lnTo>
                    <a:lnTo>
                      <a:pt x="19170" y="4183"/>
                    </a:lnTo>
                    <a:lnTo>
                      <a:pt x="19186" y="4282"/>
                    </a:lnTo>
                    <a:lnTo>
                      <a:pt x="19098" y="4430"/>
                    </a:lnTo>
                    <a:lnTo>
                      <a:pt x="19067" y="4607"/>
                    </a:lnTo>
                    <a:lnTo>
                      <a:pt x="19096" y="4814"/>
                    </a:lnTo>
                    <a:lnTo>
                      <a:pt x="19031" y="4991"/>
                    </a:lnTo>
                    <a:lnTo>
                      <a:pt x="18966" y="5108"/>
                    </a:lnTo>
                    <a:cubicBezTo>
                      <a:pt x="18954" y="5143"/>
                      <a:pt x="18950" y="5183"/>
                      <a:pt x="18953" y="5223"/>
                    </a:cubicBezTo>
                    <a:cubicBezTo>
                      <a:pt x="18962" y="5311"/>
                      <a:pt x="19008" y="5380"/>
                      <a:pt x="19066" y="5393"/>
                    </a:cubicBezTo>
                    <a:lnTo>
                      <a:pt x="19082" y="5556"/>
                    </a:lnTo>
                    <a:lnTo>
                      <a:pt x="19157" y="5665"/>
                    </a:lnTo>
                    <a:lnTo>
                      <a:pt x="19206" y="5747"/>
                    </a:lnTo>
                    <a:lnTo>
                      <a:pt x="19243" y="5909"/>
                    </a:lnTo>
                    <a:lnTo>
                      <a:pt x="19298" y="5952"/>
                    </a:lnTo>
                    <a:lnTo>
                      <a:pt x="19402" y="6100"/>
                    </a:lnTo>
                    <a:lnTo>
                      <a:pt x="19470" y="6174"/>
                    </a:lnTo>
                    <a:lnTo>
                      <a:pt x="19527" y="6193"/>
                    </a:lnTo>
                    <a:lnTo>
                      <a:pt x="19531" y="6369"/>
                    </a:lnTo>
                    <a:lnTo>
                      <a:pt x="19624" y="6357"/>
                    </a:lnTo>
                    <a:lnTo>
                      <a:pt x="19673" y="6369"/>
                    </a:lnTo>
                    <a:lnTo>
                      <a:pt x="19721" y="6499"/>
                    </a:lnTo>
                    <a:lnTo>
                      <a:pt x="19782" y="6579"/>
                    </a:lnTo>
                    <a:lnTo>
                      <a:pt x="19822" y="6747"/>
                    </a:lnTo>
                    <a:lnTo>
                      <a:pt x="19922" y="6825"/>
                    </a:lnTo>
                    <a:lnTo>
                      <a:pt x="19989" y="6912"/>
                    </a:lnTo>
                    <a:lnTo>
                      <a:pt x="20047" y="6840"/>
                    </a:lnTo>
                    <a:lnTo>
                      <a:pt x="20095" y="6770"/>
                    </a:lnTo>
                    <a:lnTo>
                      <a:pt x="20141" y="6776"/>
                    </a:lnTo>
                    <a:lnTo>
                      <a:pt x="20122" y="6661"/>
                    </a:lnTo>
                    <a:cubicBezTo>
                      <a:pt x="20096" y="6629"/>
                      <a:pt x="20076" y="6588"/>
                      <a:pt x="20063" y="6541"/>
                    </a:cubicBezTo>
                    <a:cubicBezTo>
                      <a:pt x="20048" y="6486"/>
                      <a:pt x="20044" y="6426"/>
                      <a:pt x="20051" y="6368"/>
                    </a:cubicBezTo>
                    <a:lnTo>
                      <a:pt x="20097" y="6333"/>
                    </a:lnTo>
                    <a:lnTo>
                      <a:pt x="20060" y="6229"/>
                    </a:lnTo>
                    <a:lnTo>
                      <a:pt x="20028" y="6130"/>
                    </a:lnTo>
                    <a:cubicBezTo>
                      <a:pt x="20017" y="6102"/>
                      <a:pt x="20015" y="6068"/>
                      <a:pt x="20024" y="6038"/>
                    </a:cubicBezTo>
                    <a:cubicBezTo>
                      <a:pt x="20032" y="6008"/>
                      <a:pt x="20050" y="5987"/>
                      <a:pt x="20071" y="5981"/>
                    </a:cubicBezTo>
                    <a:lnTo>
                      <a:pt x="20148" y="5952"/>
                    </a:lnTo>
                    <a:lnTo>
                      <a:pt x="20116" y="5824"/>
                    </a:lnTo>
                    <a:lnTo>
                      <a:pt x="20073" y="5726"/>
                    </a:lnTo>
                    <a:lnTo>
                      <a:pt x="20027" y="5675"/>
                    </a:lnTo>
                    <a:lnTo>
                      <a:pt x="19988" y="5459"/>
                    </a:lnTo>
                    <a:lnTo>
                      <a:pt x="19971" y="5357"/>
                    </a:lnTo>
                    <a:lnTo>
                      <a:pt x="19889" y="5276"/>
                    </a:lnTo>
                    <a:cubicBezTo>
                      <a:pt x="19848" y="5275"/>
                      <a:pt x="19809" y="5248"/>
                      <a:pt x="19781" y="5203"/>
                    </a:cubicBezTo>
                    <a:cubicBezTo>
                      <a:pt x="19758" y="5165"/>
                      <a:pt x="19743" y="5118"/>
                      <a:pt x="19740" y="5067"/>
                    </a:cubicBezTo>
                    <a:lnTo>
                      <a:pt x="19649" y="5030"/>
                    </a:lnTo>
                    <a:lnTo>
                      <a:pt x="19552" y="5065"/>
                    </a:lnTo>
                    <a:lnTo>
                      <a:pt x="19499" y="4954"/>
                    </a:lnTo>
                    <a:lnTo>
                      <a:pt x="19530" y="4815"/>
                    </a:lnTo>
                    <a:lnTo>
                      <a:pt x="19474" y="4739"/>
                    </a:lnTo>
                    <a:lnTo>
                      <a:pt x="19445" y="4653"/>
                    </a:lnTo>
                    <a:lnTo>
                      <a:pt x="19429" y="4566"/>
                    </a:lnTo>
                    <a:lnTo>
                      <a:pt x="19532" y="4463"/>
                    </a:lnTo>
                    <a:lnTo>
                      <a:pt x="19674" y="4445"/>
                    </a:lnTo>
                    <a:lnTo>
                      <a:pt x="19757" y="4410"/>
                    </a:lnTo>
                    <a:lnTo>
                      <a:pt x="19810" y="4391"/>
                    </a:lnTo>
                    <a:lnTo>
                      <a:pt x="19862" y="4330"/>
                    </a:lnTo>
                    <a:lnTo>
                      <a:pt x="19913" y="4237"/>
                    </a:lnTo>
                    <a:lnTo>
                      <a:pt x="19960" y="4135"/>
                    </a:lnTo>
                    <a:lnTo>
                      <a:pt x="20017" y="4135"/>
                    </a:lnTo>
                    <a:lnTo>
                      <a:pt x="20052" y="4258"/>
                    </a:lnTo>
                    <a:lnTo>
                      <a:pt x="20103" y="4307"/>
                    </a:lnTo>
                    <a:lnTo>
                      <a:pt x="20167" y="4360"/>
                    </a:lnTo>
                    <a:lnTo>
                      <a:pt x="20240" y="4360"/>
                    </a:lnTo>
                    <a:lnTo>
                      <a:pt x="20330" y="4258"/>
                    </a:lnTo>
                    <a:lnTo>
                      <a:pt x="20441" y="4155"/>
                    </a:lnTo>
                    <a:lnTo>
                      <a:pt x="20460" y="4007"/>
                    </a:lnTo>
                    <a:lnTo>
                      <a:pt x="20532" y="3897"/>
                    </a:lnTo>
                    <a:lnTo>
                      <a:pt x="20647" y="3796"/>
                    </a:lnTo>
                    <a:lnTo>
                      <a:pt x="20690" y="3796"/>
                    </a:lnTo>
                    <a:lnTo>
                      <a:pt x="20798" y="3815"/>
                    </a:lnTo>
                    <a:lnTo>
                      <a:pt x="20974" y="3825"/>
                    </a:lnTo>
                    <a:lnTo>
                      <a:pt x="21043" y="3689"/>
                    </a:lnTo>
                    <a:lnTo>
                      <a:pt x="20828" y="3616"/>
                    </a:lnTo>
                    <a:lnTo>
                      <a:pt x="20699" y="3488"/>
                    </a:lnTo>
                    <a:cubicBezTo>
                      <a:pt x="20651" y="3440"/>
                      <a:pt x="20598" y="3408"/>
                      <a:pt x="20541" y="3395"/>
                    </a:cubicBezTo>
                    <a:cubicBezTo>
                      <a:pt x="20487" y="3382"/>
                      <a:pt x="20431" y="3387"/>
                      <a:pt x="20377" y="3369"/>
                    </a:cubicBezTo>
                    <a:cubicBezTo>
                      <a:pt x="20319" y="3349"/>
                      <a:pt x="20265" y="3304"/>
                      <a:pt x="20223" y="3239"/>
                    </a:cubicBezTo>
                    <a:lnTo>
                      <a:pt x="20154" y="3103"/>
                    </a:lnTo>
                    <a:lnTo>
                      <a:pt x="20236" y="3024"/>
                    </a:lnTo>
                    <a:lnTo>
                      <a:pt x="20355" y="3107"/>
                    </a:lnTo>
                    <a:lnTo>
                      <a:pt x="20443" y="3134"/>
                    </a:lnTo>
                    <a:lnTo>
                      <a:pt x="20540" y="3140"/>
                    </a:lnTo>
                    <a:lnTo>
                      <a:pt x="20552" y="3056"/>
                    </a:lnTo>
                    <a:lnTo>
                      <a:pt x="20456" y="2990"/>
                    </a:lnTo>
                    <a:lnTo>
                      <a:pt x="20365" y="2851"/>
                    </a:lnTo>
                    <a:lnTo>
                      <a:pt x="20463" y="2783"/>
                    </a:lnTo>
                    <a:lnTo>
                      <a:pt x="20569" y="2870"/>
                    </a:lnTo>
                    <a:lnTo>
                      <a:pt x="20686" y="2876"/>
                    </a:lnTo>
                    <a:lnTo>
                      <a:pt x="20806" y="2925"/>
                    </a:lnTo>
                    <a:lnTo>
                      <a:pt x="20940" y="2947"/>
                    </a:lnTo>
                    <a:lnTo>
                      <a:pt x="21026" y="2924"/>
                    </a:lnTo>
                    <a:lnTo>
                      <a:pt x="21094" y="3032"/>
                    </a:lnTo>
                    <a:lnTo>
                      <a:pt x="21270" y="3145"/>
                    </a:lnTo>
                    <a:lnTo>
                      <a:pt x="21423" y="3219"/>
                    </a:lnTo>
                    <a:lnTo>
                      <a:pt x="21566" y="3127"/>
                    </a:lnTo>
                    <a:lnTo>
                      <a:pt x="21600" y="3078"/>
                    </a:lnTo>
                    <a:lnTo>
                      <a:pt x="21527" y="3010"/>
                    </a:lnTo>
                    <a:lnTo>
                      <a:pt x="21426" y="2891"/>
                    </a:lnTo>
                    <a:lnTo>
                      <a:pt x="21301" y="2737"/>
                    </a:lnTo>
                    <a:lnTo>
                      <a:pt x="21190" y="2630"/>
                    </a:lnTo>
                    <a:lnTo>
                      <a:pt x="21119" y="2630"/>
                    </a:lnTo>
                    <a:lnTo>
                      <a:pt x="21030" y="2636"/>
                    </a:lnTo>
                    <a:lnTo>
                      <a:pt x="20974" y="2686"/>
                    </a:lnTo>
                    <a:lnTo>
                      <a:pt x="20878" y="2770"/>
                    </a:lnTo>
                    <a:lnTo>
                      <a:pt x="20770" y="2686"/>
                    </a:lnTo>
                    <a:lnTo>
                      <a:pt x="20722" y="2588"/>
                    </a:lnTo>
                    <a:lnTo>
                      <a:pt x="20543" y="2472"/>
                    </a:lnTo>
                    <a:lnTo>
                      <a:pt x="20456" y="2425"/>
                    </a:lnTo>
                    <a:lnTo>
                      <a:pt x="20307" y="2425"/>
                    </a:lnTo>
                    <a:lnTo>
                      <a:pt x="20202" y="2382"/>
                    </a:lnTo>
                    <a:lnTo>
                      <a:pt x="20089" y="2339"/>
                    </a:lnTo>
                    <a:lnTo>
                      <a:pt x="19926" y="2311"/>
                    </a:lnTo>
                    <a:lnTo>
                      <a:pt x="19800" y="2213"/>
                    </a:lnTo>
                    <a:lnTo>
                      <a:pt x="19643" y="2083"/>
                    </a:lnTo>
                    <a:lnTo>
                      <a:pt x="19551" y="2052"/>
                    </a:lnTo>
                    <a:lnTo>
                      <a:pt x="19315" y="2034"/>
                    </a:lnTo>
                    <a:lnTo>
                      <a:pt x="19215" y="1997"/>
                    </a:lnTo>
                    <a:lnTo>
                      <a:pt x="19122" y="1921"/>
                    </a:lnTo>
                    <a:lnTo>
                      <a:pt x="18920" y="1933"/>
                    </a:lnTo>
                    <a:lnTo>
                      <a:pt x="18735" y="1921"/>
                    </a:lnTo>
                    <a:lnTo>
                      <a:pt x="18590" y="1909"/>
                    </a:lnTo>
                    <a:lnTo>
                      <a:pt x="18496" y="1822"/>
                    </a:lnTo>
                    <a:lnTo>
                      <a:pt x="18364" y="1797"/>
                    </a:lnTo>
                    <a:lnTo>
                      <a:pt x="18239" y="1810"/>
                    </a:lnTo>
                    <a:lnTo>
                      <a:pt x="18137" y="1829"/>
                    </a:lnTo>
                    <a:lnTo>
                      <a:pt x="18157" y="1902"/>
                    </a:lnTo>
                    <a:lnTo>
                      <a:pt x="18248" y="1991"/>
                    </a:lnTo>
                    <a:lnTo>
                      <a:pt x="18296" y="2120"/>
                    </a:lnTo>
                    <a:lnTo>
                      <a:pt x="18233" y="2151"/>
                    </a:lnTo>
                    <a:lnTo>
                      <a:pt x="18148" y="2110"/>
                    </a:lnTo>
                    <a:lnTo>
                      <a:pt x="18025" y="2036"/>
                    </a:lnTo>
                    <a:lnTo>
                      <a:pt x="17903" y="1987"/>
                    </a:lnTo>
                    <a:lnTo>
                      <a:pt x="17710" y="1891"/>
                    </a:lnTo>
                    <a:lnTo>
                      <a:pt x="17551" y="1878"/>
                    </a:lnTo>
                    <a:lnTo>
                      <a:pt x="17370" y="1915"/>
                    </a:lnTo>
                    <a:lnTo>
                      <a:pt x="17038" y="1989"/>
                    </a:lnTo>
                    <a:lnTo>
                      <a:pt x="16827" y="1926"/>
                    </a:lnTo>
                    <a:lnTo>
                      <a:pt x="16722" y="1858"/>
                    </a:lnTo>
                    <a:lnTo>
                      <a:pt x="16565" y="1799"/>
                    </a:lnTo>
                    <a:lnTo>
                      <a:pt x="16503" y="1709"/>
                    </a:lnTo>
                    <a:lnTo>
                      <a:pt x="16417" y="1665"/>
                    </a:lnTo>
                    <a:lnTo>
                      <a:pt x="16350" y="1665"/>
                    </a:lnTo>
                    <a:lnTo>
                      <a:pt x="16180" y="1702"/>
                    </a:lnTo>
                    <a:lnTo>
                      <a:pt x="15880" y="1706"/>
                    </a:lnTo>
                    <a:lnTo>
                      <a:pt x="15742" y="1620"/>
                    </a:lnTo>
                    <a:lnTo>
                      <a:pt x="15543" y="1620"/>
                    </a:lnTo>
                    <a:lnTo>
                      <a:pt x="15307" y="1595"/>
                    </a:lnTo>
                    <a:lnTo>
                      <a:pt x="15157" y="1620"/>
                    </a:lnTo>
                    <a:lnTo>
                      <a:pt x="15047" y="1501"/>
                    </a:lnTo>
                    <a:lnTo>
                      <a:pt x="14881" y="1420"/>
                    </a:lnTo>
                    <a:lnTo>
                      <a:pt x="14763" y="1303"/>
                    </a:lnTo>
                    <a:lnTo>
                      <a:pt x="14679" y="1266"/>
                    </a:lnTo>
                    <a:lnTo>
                      <a:pt x="14635" y="1352"/>
                    </a:lnTo>
                    <a:lnTo>
                      <a:pt x="14550" y="1352"/>
                    </a:lnTo>
                    <a:lnTo>
                      <a:pt x="14462" y="1297"/>
                    </a:lnTo>
                    <a:lnTo>
                      <a:pt x="14166" y="1211"/>
                    </a:lnTo>
                    <a:lnTo>
                      <a:pt x="14073" y="1169"/>
                    </a:lnTo>
                    <a:lnTo>
                      <a:pt x="13945" y="1162"/>
                    </a:lnTo>
                    <a:lnTo>
                      <a:pt x="13813" y="1181"/>
                    </a:lnTo>
                    <a:lnTo>
                      <a:pt x="13627" y="1224"/>
                    </a:lnTo>
                    <a:lnTo>
                      <a:pt x="13667" y="1317"/>
                    </a:lnTo>
                    <a:lnTo>
                      <a:pt x="13749" y="1403"/>
                    </a:lnTo>
                    <a:lnTo>
                      <a:pt x="13692" y="1507"/>
                    </a:lnTo>
                    <a:lnTo>
                      <a:pt x="13597" y="1536"/>
                    </a:lnTo>
                    <a:lnTo>
                      <a:pt x="13538" y="1628"/>
                    </a:lnTo>
                    <a:lnTo>
                      <a:pt x="13428" y="1659"/>
                    </a:lnTo>
                    <a:lnTo>
                      <a:pt x="13358" y="1560"/>
                    </a:lnTo>
                    <a:lnTo>
                      <a:pt x="13216" y="1548"/>
                    </a:lnTo>
                    <a:lnTo>
                      <a:pt x="13131" y="1566"/>
                    </a:lnTo>
                    <a:lnTo>
                      <a:pt x="13104" y="1505"/>
                    </a:lnTo>
                    <a:lnTo>
                      <a:pt x="12982" y="1530"/>
                    </a:lnTo>
                    <a:lnTo>
                      <a:pt x="12917" y="1609"/>
                    </a:lnTo>
                    <a:lnTo>
                      <a:pt x="12808" y="1661"/>
                    </a:lnTo>
                    <a:lnTo>
                      <a:pt x="12730" y="1716"/>
                    </a:lnTo>
                    <a:lnTo>
                      <a:pt x="12648" y="1673"/>
                    </a:lnTo>
                    <a:lnTo>
                      <a:pt x="12554" y="1612"/>
                    </a:lnTo>
                    <a:lnTo>
                      <a:pt x="12432" y="1501"/>
                    </a:lnTo>
                    <a:lnTo>
                      <a:pt x="12362" y="1435"/>
                    </a:lnTo>
                    <a:lnTo>
                      <a:pt x="12252" y="1303"/>
                    </a:lnTo>
                    <a:lnTo>
                      <a:pt x="12198" y="1196"/>
                    </a:lnTo>
                    <a:lnTo>
                      <a:pt x="12065" y="1147"/>
                    </a:lnTo>
                    <a:lnTo>
                      <a:pt x="11907" y="1091"/>
                    </a:lnTo>
                    <a:lnTo>
                      <a:pt x="11807" y="1027"/>
                    </a:lnTo>
                    <a:lnTo>
                      <a:pt x="11650" y="1040"/>
                    </a:lnTo>
                    <a:lnTo>
                      <a:pt x="11476" y="1046"/>
                    </a:lnTo>
                    <a:lnTo>
                      <a:pt x="11319" y="1107"/>
                    </a:lnTo>
                    <a:lnTo>
                      <a:pt x="11161" y="1175"/>
                    </a:lnTo>
                    <a:lnTo>
                      <a:pt x="11102" y="1212"/>
                    </a:lnTo>
                    <a:lnTo>
                      <a:pt x="10997" y="1157"/>
                    </a:lnTo>
                    <a:lnTo>
                      <a:pt x="10925" y="1085"/>
                    </a:lnTo>
                    <a:lnTo>
                      <a:pt x="10818" y="1062"/>
                    </a:lnTo>
                    <a:lnTo>
                      <a:pt x="10706" y="1005"/>
                    </a:lnTo>
                    <a:lnTo>
                      <a:pt x="10635" y="986"/>
                    </a:lnTo>
                    <a:lnTo>
                      <a:pt x="10534" y="1017"/>
                    </a:lnTo>
                    <a:lnTo>
                      <a:pt x="10460" y="1067"/>
                    </a:lnTo>
                    <a:lnTo>
                      <a:pt x="10390" y="1116"/>
                    </a:lnTo>
                    <a:lnTo>
                      <a:pt x="10258" y="1109"/>
                    </a:lnTo>
                    <a:lnTo>
                      <a:pt x="10185" y="1048"/>
                    </a:lnTo>
                    <a:lnTo>
                      <a:pt x="10067" y="999"/>
                    </a:lnTo>
                    <a:lnTo>
                      <a:pt x="10001" y="925"/>
                    </a:lnTo>
                    <a:lnTo>
                      <a:pt x="9915" y="908"/>
                    </a:lnTo>
                    <a:lnTo>
                      <a:pt x="9859" y="933"/>
                    </a:lnTo>
                    <a:lnTo>
                      <a:pt x="9750" y="999"/>
                    </a:lnTo>
                    <a:lnTo>
                      <a:pt x="9570" y="1077"/>
                    </a:lnTo>
                    <a:lnTo>
                      <a:pt x="9446" y="1137"/>
                    </a:lnTo>
                    <a:lnTo>
                      <a:pt x="9279" y="1137"/>
                    </a:lnTo>
                    <a:lnTo>
                      <a:pt x="9295" y="1014"/>
                    </a:lnTo>
                    <a:lnTo>
                      <a:pt x="9310" y="961"/>
                    </a:lnTo>
                    <a:lnTo>
                      <a:pt x="9378" y="871"/>
                    </a:lnTo>
                    <a:lnTo>
                      <a:pt x="9505" y="792"/>
                    </a:lnTo>
                    <a:lnTo>
                      <a:pt x="9585" y="731"/>
                    </a:lnTo>
                    <a:lnTo>
                      <a:pt x="9656" y="672"/>
                    </a:lnTo>
                    <a:lnTo>
                      <a:pt x="9727" y="607"/>
                    </a:lnTo>
                    <a:lnTo>
                      <a:pt x="9742" y="445"/>
                    </a:lnTo>
                    <a:lnTo>
                      <a:pt x="9582" y="412"/>
                    </a:lnTo>
                    <a:cubicBezTo>
                      <a:pt x="9560" y="371"/>
                      <a:pt x="9533" y="339"/>
                      <a:pt x="9502" y="316"/>
                    </a:cubicBezTo>
                    <a:cubicBezTo>
                      <a:pt x="9454" y="281"/>
                      <a:pt x="9400" y="272"/>
                      <a:pt x="9348" y="291"/>
                    </a:cubicBezTo>
                    <a:lnTo>
                      <a:pt x="9271" y="259"/>
                    </a:lnTo>
                    <a:lnTo>
                      <a:pt x="9024" y="240"/>
                    </a:lnTo>
                    <a:lnTo>
                      <a:pt x="8961" y="296"/>
                    </a:lnTo>
                    <a:lnTo>
                      <a:pt x="8878" y="321"/>
                    </a:lnTo>
                    <a:lnTo>
                      <a:pt x="8778" y="327"/>
                    </a:lnTo>
                    <a:lnTo>
                      <a:pt x="8669" y="321"/>
                    </a:lnTo>
                    <a:lnTo>
                      <a:pt x="8552" y="169"/>
                    </a:lnTo>
                    <a:lnTo>
                      <a:pt x="8382" y="61"/>
                    </a:lnTo>
                    <a:lnTo>
                      <a:pt x="8181" y="0"/>
                    </a:lnTo>
                    <a:lnTo>
                      <a:pt x="8118" y="111"/>
                    </a:lnTo>
                    <a:cubicBezTo>
                      <a:pt x="8095" y="146"/>
                      <a:pt x="8072" y="181"/>
                      <a:pt x="8049" y="216"/>
                    </a:cubicBezTo>
                    <a:cubicBezTo>
                      <a:pt x="8019" y="259"/>
                      <a:pt x="7990" y="302"/>
                      <a:pt x="7960" y="345"/>
                    </a:cubicBezTo>
                    <a:lnTo>
                      <a:pt x="7855" y="476"/>
                    </a:lnTo>
                    <a:lnTo>
                      <a:pt x="7722" y="482"/>
                    </a:lnTo>
                    <a:lnTo>
                      <a:pt x="7658" y="400"/>
                    </a:lnTo>
                    <a:lnTo>
                      <a:pt x="7484" y="373"/>
                    </a:lnTo>
                    <a:lnTo>
                      <a:pt x="7361" y="362"/>
                    </a:lnTo>
                    <a:lnTo>
                      <a:pt x="7275" y="430"/>
                    </a:lnTo>
                    <a:lnTo>
                      <a:pt x="7161" y="486"/>
                    </a:lnTo>
                    <a:lnTo>
                      <a:pt x="7012" y="523"/>
                    </a:lnTo>
                    <a:lnTo>
                      <a:pt x="6838" y="560"/>
                    </a:lnTo>
                    <a:lnTo>
                      <a:pt x="6726" y="578"/>
                    </a:lnTo>
                    <a:lnTo>
                      <a:pt x="6715" y="666"/>
                    </a:lnTo>
                    <a:lnTo>
                      <a:pt x="6751" y="734"/>
                    </a:lnTo>
                    <a:lnTo>
                      <a:pt x="6843" y="832"/>
                    </a:lnTo>
                    <a:lnTo>
                      <a:pt x="6786" y="906"/>
                    </a:lnTo>
                    <a:lnTo>
                      <a:pt x="6718" y="930"/>
                    </a:lnTo>
                    <a:lnTo>
                      <a:pt x="6637" y="973"/>
                    </a:lnTo>
                    <a:lnTo>
                      <a:pt x="6556" y="924"/>
                    </a:lnTo>
                    <a:lnTo>
                      <a:pt x="6471" y="887"/>
                    </a:lnTo>
                    <a:lnTo>
                      <a:pt x="6350" y="943"/>
                    </a:lnTo>
                    <a:lnTo>
                      <a:pt x="6279" y="996"/>
                    </a:lnTo>
                    <a:lnTo>
                      <a:pt x="6206" y="1051"/>
                    </a:lnTo>
                    <a:lnTo>
                      <a:pt x="6149" y="1132"/>
                    </a:lnTo>
                    <a:lnTo>
                      <a:pt x="6064" y="1205"/>
                    </a:lnTo>
                    <a:lnTo>
                      <a:pt x="5960" y="1295"/>
                    </a:lnTo>
                    <a:lnTo>
                      <a:pt x="5892" y="1351"/>
                    </a:lnTo>
                    <a:lnTo>
                      <a:pt x="5816" y="1400"/>
                    </a:lnTo>
                    <a:lnTo>
                      <a:pt x="5722" y="1449"/>
                    </a:lnTo>
                    <a:lnTo>
                      <a:pt x="5637" y="1449"/>
                    </a:lnTo>
                    <a:lnTo>
                      <a:pt x="5595" y="1413"/>
                    </a:lnTo>
                    <a:lnTo>
                      <a:pt x="5495" y="1413"/>
                    </a:lnTo>
                    <a:lnTo>
                      <a:pt x="5468" y="1536"/>
                    </a:lnTo>
                    <a:lnTo>
                      <a:pt x="5511" y="1683"/>
                    </a:lnTo>
                    <a:lnTo>
                      <a:pt x="5628" y="1858"/>
                    </a:lnTo>
                    <a:lnTo>
                      <a:pt x="5664" y="1907"/>
                    </a:lnTo>
                    <a:lnTo>
                      <a:pt x="5767" y="1929"/>
                    </a:lnTo>
                    <a:lnTo>
                      <a:pt x="5876" y="2075"/>
                    </a:lnTo>
                    <a:lnTo>
                      <a:pt x="5864" y="2215"/>
                    </a:lnTo>
                    <a:lnTo>
                      <a:pt x="5905" y="2289"/>
                    </a:lnTo>
                    <a:lnTo>
                      <a:pt x="5866" y="2477"/>
                    </a:lnTo>
                    <a:lnTo>
                      <a:pt x="5797" y="2656"/>
                    </a:lnTo>
                    <a:lnTo>
                      <a:pt x="5709" y="2755"/>
                    </a:lnTo>
                    <a:lnTo>
                      <a:pt x="5587" y="2810"/>
                    </a:lnTo>
                    <a:lnTo>
                      <a:pt x="5482" y="2822"/>
                    </a:lnTo>
                    <a:cubicBezTo>
                      <a:pt x="5453" y="2798"/>
                      <a:pt x="5444" y="2741"/>
                      <a:pt x="5463" y="2699"/>
                    </a:cubicBezTo>
                    <a:cubicBezTo>
                      <a:pt x="5481" y="2659"/>
                      <a:pt x="5516" y="2653"/>
                      <a:pt x="5544" y="2631"/>
                    </a:cubicBezTo>
                    <a:cubicBezTo>
                      <a:pt x="5592" y="2593"/>
                      <a:pt x="5617" y="2510"/>
                      <a:pt x="5603" y="2430"/>
                    </a:cubicBezTo>
                    <a:lnTo>
                      <a:pt x="5557" y="2208"/>
                    </a:lnTo>
                    <a:lnTo>
                      <a:pt x="5456" y="2066"/>
                    </a:lnTo>
                    <a:lnTo>
                      <a:pt x="5369" y="1842"/>
                    </a:lnTo>
                    <a:lnTo>
                      <a:pt x="5304" y="1651"/>
                    </a:lnTo>
                    <a:lnTo>
                      <a:pt x="5239" y="1515"/>
                    </a:lnTo>
                    <a:lnTo>
                      <a:pt x="5182" y="1355"/>
                    </a:lnTo>
                    <a:lnTo>
                      <a:pt x="5074" y="1252"/>
                    </a:lnTo>
                    <a:lnTo>
                      <a:pt x="4913" y="1178"/>
                    </a:lnTo>
                    <a:lnTo>
                      <a:pt x="4747" y="1246"/>
                    </a:lnTo>
                    <a:lnTo>
                      <a:pt x="4613" y="1388"/>
                    </a:lnTo>
                    <a:lnTo>
                      <a:pt x="4609" y="1523"/>
                    </a:lnTo>
                    <a:lnTo>
                      <a:pt x="4654" y="1702"/>
                    </a:lnTo>
                    <a:lnTo>
                      <a:pt x="4727" y="1825"/>
                    </a:lnTo>
                    <a:lnTo>
                      <a:pt x="4848" y="1874"/>
                    </a:lnTo>
                    <a:lnTo>
                      <a:pt x="4946" y="1942"/>
                    </a:lnTo>
                    <a:lnTo>
                      <a:pt x="5024" y="2032"/>
                    </a:lnTo>
                    <a:lnTo>
                      <a:pt x="5089" y="2143"/>
                    </a:lnTo>
                    <a:lnTo>
                      <a:pt x="5077" y="2241"/>
                    </a:lnTo>
                    <a:lnTo>
                      <a:pt x="4981" y="2276"/>
                    </a:lnTo>
                    <a:lnTo>
                      <a:pt x="4947" y="2348"/>
                    </a:lnTo>
                    <a:lnTo>
                      <a:pt x="4872" y="2286"/>
                    </a:lnTo>
                    <a:lnTo>
                      <a:pt x="4788" y="2194"/>
                    </a:lnTo>
                    <a:lnTo>
                      <a:pt x="4710" y="2163"/>
                    </a:lnTo>
                    <a:lnTo>
                      <a:pt x="4603" y="2151"/>
                    </a:lnTo>
                    <a:lnTo>
                      <a:pt x="4678" y="2284"/>
                    </a:lnTo>
                    <a:lnTo>
                      <a:pt x="4754" y="2363"/>
                    </a:lnTo>
                    <a:lnTo>
                      <a:pt x="4735" y="2522"/>
                    </a:lnTo>
                    <a:lnTo>
                      <a:pt x="4571" y="2643"/>
                    </a:lnTo>
                    <a:lnTo>
                      <a:pt x="4490" y="2738"/>
                    </a:lnTo>
                    <a:lnTo>
                      <a:pt x="4323" y="2820"/>
                    </a:lnTo>
                    <a:lnTo>
                      <a:pt x="4189" y="2900"/>
                    </a:lnTo>
                    <a:lnTo>
                      <a:pt x="4168" y="3010"/>
                    </a:lnTo>
                    <a:lnTo>
                      <a:pt x="4176" y="3166"/>
                    </a:lnTo>
                    <a:lnTo>
                      <a:pt x="4263" y="3589"/>
                    </a:lnTo>
                    <a:lnTo>
                      <a:pt x="4302" y="3809"/>
                    </a:lnTo>
                    <a:lnTo>
                      <a:pt x="4391" y="3967"/>
                    </a:lnTo>
                    <a:lnTo>
                      <a:pt x="4410" y="4139"/>
                    </a:lnTo>
                    <a:lnTo>
                      <a:pt x="4418" y="4379"/>
                    </a:lnTo>
                    <a:lnTo>
                      <a:pt x="4441" y="4560"/>
                    </a:lnTo>
                    <a:lnTo>
                      <a:pt x="4437" y="4864"/>
                    </a:lnTo>
                    <a:lnTo>
                      <a:pt x="4527" y="4941"/>
                    </a:lnTo>
                    <a:lnTo>
                      <a:pt x="4567" y="5097"/>
                    </a:lnTo>
                    <a:lnTo>
                      <a:pt x="4635" y="5183"/>
                    </a:lnTo>
                    <a:lnTo>
                      <a:pt x="4651" y="5256"/>
                    </a:lnTo>
                    <a:lnTo>
                      <a:pt x="4626" y="5367"/>
                    </a:lnTo>
                    <a:lnTo>
                      <a:pt x="4576" y="5443"/>
                    </a:lnTo>
                    <a:lnTo>
                      <a:pt x="4445" y="5463"/>
                    </a:lnTo>
                    <a:lnTo>
                      <a:pt x="4316" y="5596"/>
                    </a:lnTo>
                    <a:lnTo>
                      <a:pt x="4406" y="5724"/>
                    </a:lnTo>
                    <a:lnTo>
                      <a:pt x="4387" y="5836"/>
                    </a:lnTo>
                    <a:lnTo>
                      <a:pt x="4594" y="6114"/>
                    </a:lnTo>
                    <a:lnTo>
                      <a:pt x="4754" y="6030"/>
                    </a:lnTo>
                    <a:lnTo>
                      <a:pt x="4789" y="5840"/>
                    </a:lnTo>
                    <a:lnTo>
                      <a:pt x="4841" y="5803"/>
                    </a:lnTo>
                    <a:lnTo>
                      <a:pt x="4948" y="5879"/>
                    </a:lnTo>
                    <a:lnTo>
                      <a:pt x="5006" y="6012"/>
                    </a:lnTo>
                    <a:lnTo>
                      <a:pt x="4972" y="6178"/>
                    </a:lnTo>
                    <a:lnTo>
                      <a:pt x="4922" y="6262"/>
                    </a:lnTo>
                    <a:lnTo>
                      <a:pt x="4935" y="6389"/>
                    </a:lnTo>
                    <a:lnTo>
                      <a:pt x="4975" y="6457"/>
                    </a:lnTo>
                    <a:lnTo>
                      <a:pt x="4930" y="6525"/>
                    </a:lnTo>
                    <a:lnTo>
                      <a:pt x="4941" y="6684"/>
                    </a:lnTo>
                    <a:lnTo>
                      <a:pt x="4896" y="6822"/>
                    </a:lnTo>
                    <a:lnTo>
                      <a:pt x="4856" y="6858"/>
                    </a:lnTo>
                    <a:lnTo>
                      <a:pt x="4492" y="6703"/>
                    </a:lnTo>
                    <a:lnTo>
                      <a:pt x="4399" y="6602"/>
                    </a:lnTo>
                    <a:lnTo>
                      <a:pt x="4252" y="6584"/>
                    </a:lnTo>
                    <a:lnTo>
                      <a:pt x="4068" y="6730"/>
                    </a:lnTo>
                    <a:lnTo>
                      <a:pt x="3743" y="6603"/>
                    </a:lnTo>
                    <a:lnTo>
                      <a:pt x="3618" y="6656"/>
                    </a:lnTo>
                    <a:lnTo>
                      <a:pt x="3600" y="6823"/>
                    </a:lnTo>
                    <a:lnTo>
                      <a:pt x="3636" y="7187"/>
                    </a:lnTo>
                    <a:lnTo>
                      <a:pt x="3748" y="7239"/>
                    </a:lnTo>
                    <a:lnTo>
                      <a:pt x="3825" y="7347"/>
                    </a:lnTo>
                    <a:lnTo>
                      <a:pt x="3825" y="7604"/>
                    </a:lnTo>
                    <a:lnTo>
                      <a:pt x="3887" y="7855"/>
                    </a:lnTo>
                    <a:lnTo>
                      <a:pt x="3979" y="8012"/>
                    </a:lnTo>
                    <a:lnTo>
                      <a:pt x="4086" y="8093"/>
                    </a:lnTo>
                    <a:lnTo>
                      <a:pt x="4220" y="8136"/>
                    </a:lnTo>
                    <a:lnTo>
                      <a:pt x="4293" y="8263"/>
                    </a:lnTo>
                    <a:lnTo>
                      <a:pt x="4293" y="8394"/>
                    </a:lnTo>
                    <a:lnTo>
                      <a:pt x="4366" y="8540"/>
                    </a:lnTo>
                    <a:lnTo>
                      <a:pt x="4383" y="8629"/>
                    </a:lnTo>
                    <a:lnTo>
                      <a:pt x="4299" y="8664"/>
                    </a:lnTo>
                    <a:lnTo>
                      <a:pt x="4172" y="8604"/>
                    </a:lnTo>
                    <a:lnTo>
                      <a:pt x="4026" y="8653"/>
                    </a:lnTo>
                    <a:lnTo>
                      <a:pt x="3937" y="8795"/>
                    </a:lnTo>
                    <a:lnTo>
                      <a:pt x="3868" y="9042"/>
                    </a:lnTo>
                    <a:lnTo>
                      <a:pt x="4014" y="9200"/>
                    </a:lnTo>
                    <a:lnTo>
                      <a:pt x="4153" y="9272"/>
                    </a:lnTo>
                    <a:lnTo>
                      <a:pt x="4317" y="9447"/>
                    </a:lnTo>
                    <a:lnTo>
                      <a:pt x="4379" y="9595"/>
                    </a:lnTo>
                    <a:lnTo>
                      <a:pt x="4500" y="9504"/>
                    </a:lnTo>
                    <a:lnTo>
                      <a:pt x="4590" y="9545"/>
                    </a:lnTo>
                    <a:lnTo>
                      <a:pt x="4620" y="9647"/>
                    </a:lnTo>
                    <a:lnTo>
                      <a:pt x="4729" y="9807"/>
                    </a:lnTo>
                    <a:lnTo>
                      <a:pt x="4703" y="9934"/>
                    </a:lnTo>
                    <a:lnTo>
                      <a:pt x="4589" y="10028"/>
                    </a:lnTo>
                    <a:lnTo>
                      <a:pt x="4485" y="9905"/>
                    </a:lnTo>
                    <a:lnTo>
                      <a:pt x="4398" y="9948"/>
                    </a:lnTo>
                    <a:lnTo>
                      <a:pt x="4460" y="10099"/>
                    </a:lnTo>
                    <a:lnTo>
                      <a:pt x="4558" y="10237"/>
                    </a:lnTo>
                    <a:lnTo>
                      <a:pt x="4639" y="10407"/>
                    </a:lnTo>
                    <a:lnTo>
                      <a:pt x="4716" y="10732"/>
                    </a:lnTo>
                    <a:lnTo>
                      <a:pt x="4705" y="10997"/>
                    </a:lnTo>
                    <a:lnTo>
                      <a:pt x="4587" y="11154"/>
                    </a:lnTo>
                    <a:lnTo>
                      <a:pt x="4430" y="11160"/>
                    </a:lnTo>
                    <a:lnTo>
                      <a:pt x="4375" y="11281"/>
                    </a:lnTo>
                    <a:lnTo>
                      <a:pt x="4289" y="11156"/>
                    </a:lnTo>
                    <a:cubicBezTo>
                      <a:pt x="4252" y="11136"/>
                      <a:pt x="4216" y="11114"/>
                      <a:pt x="4180" y="11088"/>
                    </a:cubicBezTo>
                    <a:cubicBezTo>
                      <a:pt x="4134" y="11055"/>
                      <a:pt x="4089" y="11017"/>
                      <a:pt x="4044" y="10979"/>
                    </a:cubicBezTo>
                    <a:cubicBezTo>
                      <a:pt x="3984" y="10930"/>
                      <a:pt x="3923" y="10882"/>
                      <a:pt x="3862" y="10835"/>
                    </a:cubicBezTo>
                    <a:lnTo>
                      <a:pt x="3803" y="10661"/>
                    </a:lnTo>
                    <a:lnTo>
                      <a:pt x="3784" y="10495"/>
                    </a:lnTo>
                    <a:lnTo>
                      <a:pt x="3841" y="10339"/>
                    </a:lnTo>
                    <a:lnTo>
                      <a:pt x="3888" y="10223"/>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40" name="Shape 304">
                <a:extLst>
                  <a:ext uri="{FF2B5EF4-FFF2-40B4-BE49-F238E27FC236}">
                    <a16:creationId xmlns:a16="http://schemas.microsoft.com/office/drawing/2014/main" id="{F04AE5E6-F1C0-43BF-A508-C0C704794BB9}"/>
                  </a:ext>
                </a:extLst>
              </p:cNvPr>
              <p:cNvSpPr/>
              <p:nvPr/>
            </p:nvSpPr>
            <p:spPr>
              <a:xfrm>
                <a:off x="12068149" y="117645"/>
                <a:ext cx="611964" cy="166560"/>
              </a:xfrm>
              <a:custGeom>
                <a:avLst/>
                <a:gdLst/>
                <a:ahLst/>
                <a:cxnLst>
                  <a:cxn ang="0">
                    <a:pos x="wd2" y="hd2"/>
                  </a:cxn>
                  <a:cxn ang="5400000">
                    <a:pos x="wd2" y="hd2"/>
                  </a:cxn>
                  <a:cxn ang="10800000">
                    <a:pos x="wd2" y="hd2"/>
                  </a:cxn>
                  <a:cxn ang="16200000">
                    <a:pos x="wd2" y="hd2"/>
                  </a:cxn>
                </a:cxnLst>
                <a:rect l="0" t="0" r="r" b="b"/>
                <a:pathLst>
                  <a:path w="21600" h="21600" extrusionOk="0">
                    <a:moveTo>
                      <a:pt x="7778" y="6595"/>
                    </a:moveTo>
                    <a:lnTo>
                      <a:pt x="10446" y="7621"/>
                    </a:lnTo>
                    <a:lnTo>
                      <a:pt x="11913" y="8186"/>
                    </a:lnTo>
                    <a:lnTo>
                      <a:pt x="12620" y="11749"/>
                    </a:lnTo>
                    <a:lnTo>
                      <a:pt x="14481" y="12643"/>
                    </a:lnTo>
                    <a:lnTo>
                      <a:pt x="16772" y="11668"/>
                    </a:lnTo>
                    <a:lnTo>
                      <a:pt x="18486" y="11668"/>
                    </a:lnTo>
                    <a:lnTo>
                      <a:pt x="20801" y="12156"/>
                    </a:lnTo>
                    <a:lnTo>
                      <a:pt x="21600" y="13283"/>
                    </a:lnTo>
                    <a:lnTo>
                      <a:pt x="19933" y="15944"/>
                    </a:lnTo>
                    <a:lnTo>
                      <a:pt x="17089" y="15944"/>
                    </a:lnTo>
                    <a:lnTo>
                      <a:pt x="16332" y="19345"/>
                    </a:lnTo>
                    <a:lnTo>
                      <a:pt x="16001" y="21600"/>
                    </a:lnTo>
                    <a:lnTo>
                      <a:pt x="14718" y="20625"/>
                    </a:lnTo>
                    <a:lnTo>
                      <a:pt x="14985" y="16005"/>
                    </a:lnTo>
                    <a:lnTo>
                      <a:pt x="13115" y="14553"/>
                    </a:lnTo>
                    <a:lnTo>
                      <a:pt x="9998" y="14309"/>
                    </a:lnTo>
                    <a:lnTo>
                      <a:pt x="8554" y="13334"/>
                    </a:lnTo>
                    <a:lnTo>
                      <a:pt x="6375" y="9273"/>
                    </a:lnTo>
                    <a:lnTo>
                      <a:pt x="4455" y="10004"/>
                    </a:lnTo>
                    <a:lnTo>
                      <a:pt x="647" y="10490"/>
                    </a:lnTo>
                    <a:lnTo>
                      <a:pt x="0" y="7648"/>
                    </a:lnTo>
                    <a:lnTo>
                      <a:pt x="1373" y="1494"/>
                    </a:lnTo>
                    <a:lnTo>
                      <a:pt x="2843" y="0"/>
                    </a:lnTo>
                    <a:lnTo>
                      <a:pt x="5108" y="1491"/>
                    </a:lnTo>
                    <a:lnTo>
                      <a:pt x="5617" y="3189"/>
                    </a:lnTo>
                    <a:lnTo>
                      <a:pt x="6572" y="5128"/>
                    </a:lnTo>
                    <a:lnTo>
                      <a:pt x="7778" y="6595"/>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41" name="Shape 305">
                <a:extLst>
                  <a:ext uri="{FF2B5EF4-FFF2-40B4-BE49-F238E27FC236}">
                    <a16:creationId xmlns:a16="http://schemas.microsoft.com/office/drawing/2014/main" id="{2A8D169C-D099-4E89-8459-6B87DC160C95}"/>
                  </a:ext>
                </a:extLst>
              </p:cNvPr>
              <p:cNvSpPr/>
              <p:nvPr/>
            </p:nvSpPr>
            <p:spPr>
              <a:xfrm>
                <a:off x="15919783" y="1675805"/>
                <a:ext cx="405271" cy="475793"/>
              </a:xfrm>
              <a:custGeom>
                <a:avLst/>
                <a:gdLst/>
                <a:ahLst/>
                <a:cxnLst>
                  <a:cxn ang="0">
                    <a:pos x="wd2" y="hd2"/>
                  </a:cxn>
                  <a:cxn ang="5400000">
                    <a:pos x="wd2" y="hd2"/>
                  </a:cxn>
                  <a:cxn ang="10800000">
                    <a:pos x="wd2" y="hd2"/>
                  </a:cxn>
                  <a:cxn ang="16200000">
                    <a:pos x="wd2" y="hd2"/>
                  </a:cxn>
                </a:cxnLst>
                <a:rect l="0" t="0" r="r" b="b"/>
                <a:pathLst>
                  <a:path w="21600" h="21600" extrusionOk="0">
                    <a:moveTo>
                      <a:pt x="918" y="306"/>
                    </a:moveTo>
                    <a:lnTo>
                      <a:pt x="2649" y="0"/>
                    </a:lnTo>
                    <a:lnTo>
                      <a:pt x="4359" y="1473"/>
                    </a:lnTo>
                    <a:lnTo>
                      <a:pt x="4763" y="2920"/>
                    </a:lnTo>
                    <a:lnTo>
                      <a:pt x="5532" y="4452"/>
                    </a:lnTo>
                    <a:lnTo>
                      <a:pt x="7347" y="6386"/>
                    </a:lnTo>
                    <a:lnTo>
                      <a:pt x="9263" y="7065"/>
                    </a:lnTo>
                    <a:lnTo>
                      <a:pt x="12200" y="8654"/>
                    </a:lnTo>
                    <a:lnTo>
                      <a:pt x="15159" y="10100"/>
                    </a:lnTo>
                    <a:lnTo>
                      <a:pt x="16566" y="11032"/>
                    </a:lnTo>
                    <a:lnTo>
                      <a:pt x="17268" y="12134"/>
                    </a:lnTo>
                    <a:lnTo>
                      <a:pt x="17470" y="13346"/>
                    </a:lnTo>
                    <a:lnTo>
                      <a:pt x="16028" y="13005"/>
                    </a:lnTo>
                    <a:lnTo>
                      <a:pt x="14423" y="13403"/>
                    </a:lnTo>
                    <a:lnTo>
                      <a:pt x="14629" y="14594"/>
                    </a:lnTo>
                    <a:lnTo>
                      <a:pt x="16612" y="15959"/>
                    </a:lnTo>
                    <a:lnTo>
                      <a:pt x="18226" y="17825"/>
                    </a:lnTo>
                    <a:lnTo>
                      <a:pt x="20991" y="20121"/>
                    </a:lnTo>
                    <a:lnTo>
                      <a:pt x="21600" y="21600"/>
                    </a:lnTo>
                    <a:lnTo>
                      <a:pt x="18856" y="21600"/>
                    </a:lnTo>
                    <a:lnTo>
                      <a:pt x="16692" y="20075"/>
                    </a:lnTo>
                    <a:cubicBezTo>
                      <a:pt x="16027" y="19637"/>
                      <a:pt x="15479" y="19086"/>
                      <a:pt x="15082" y="18458"/>
                    </a:cubicBezTo>
                    <a:cubicBezTo>
                      <a:pt x="14796" y="18005"/>
                      <a:pt x="14594" y="17518"/>
                      <a:pt x="14481" y="17014"/>
                    </a:cubicBezTo>
                    <a:lnTo>
                      <a:pt x="13271" y="15138"/>
                    </a:lnTo>
                    <a:lnTo>
                      <a:pt x="12262" y="13005"/>
                    </a:lnTo>
                    <a:lnTo>
                      <a:pt x="10884" y="11071"/>
                    </a:lnTo>
                    <a:lnTo>
                      <a:pt x="9077" y="9201"/>
                    </a:lnTo>
                    <a:lnTo>
                      <a:pt x="7270" y="7413"/>
                    </a:lnTo>
                    <a:lnTo>
                      <a:pt x="5169" y="6059"/>
                    </a:lnTo>
                    <a:lnTo>
                      <a:pt x="4097" y="4751"/>
                    </a:lnTo>
                    <a:lnTo>
                      <a:pt x="2685" y="3332"/>
                    </a:lnTo>
                    <a:lnTo>
                      <a:pt x="0" y="1690"/>
                    </a:lnTo>
                    <a:lnTo>
                      <a:pt x="918" y="306"/>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42" name="Shape 306">
                <a:extLst>
                  <a:ext uri="{FF2B5EF4-FFF2-40B4-BE49-F238E27FC236}">
                    <a16:creationId xmlns:a16="http://schemas.microsoft.com/office/drawing/2014/main" id="{7D13C0E8-1059-4E81-B34C-8C681DD29348}"/>
                  </a:ext>
                </a:extLst>
              </p:cNvPr>
              <p:cNvSpPr/>
              <p:nvPr/>
            </p:nvSpPr>
            <p:spPr>
              <a:xfrm>
                <a:off x="16303459" y="2212130"/>
                <a:ext cx="284037" cy="270181"/>
              </a:xfrm>
              <a:custGeom>
                <a:avLst/>
                <a:gdLst/>
                <a:ahLst/>
                <a:cxnLst>
                  <a:cxn ang="0">
                    <a:pos x="wd2" y="hd2"/>
                  </a:cxn>
                  <a:cxn ang="5400000">
                    <a:pos x="wd2" y="hd2"/>
                  </a:cxn>
                  <a:cxn ang="10800000">
                    <a:pos x="wd2" y="hd2"/>
                  </a:cxn>
                  <a:cxn ang="16200000">
                    <a:pos x="wd2" y="hd2"/>
                  </a:cxn>
                </a:cxnLst>
                <a:rect l="0" t="0" r="r" b="b"/>
                <a:pathLst>
                  <a:path w="21600" h="21600" extrusionOk="0">
                    <a:moveTo>
                      <a:pt x="1216" y="0"/>
                    </a:moveTo>
                    <a:lnTo>
                      <a:pt x="3327" y="2686"/>
                    </a:lnTo>
                    <a:lnTo>
                      <a:pt x="5129" y="3465"/>
                    </a:lnTo>
                    <a:lnTo>
                      <a:pt x="5987" y="5412"/>
                    </a:lnTo>
                    <a:lnTo>
                      <a:pt x="8960" y="8066"/>
                    </a:lnTo>
                    <a:lnTo>
                      <a:pt x="13176" y="8066"/>
                    </a:lnTo>
                    <a:lnTo>
                      <a:pt x="16240" y="8060"/>
                    </a:lnTo>
                    <a:lnTo>
                      <a:pt x="20071" y="9506"/>
                    </a:lnTo>
                    <a:lnTo>
                      <a:pt x="21600" y="11754"/>
                    </a:lnTo>
                    <a:lnTo>
                      <a:pt x="18242" y="13299"/>
                    </a:lnTo>
                    <a:lnTo>
                      <a:pt x="16138" y="13894"/>
                    </a:lnTo>
                    <a:lnTo>
                      <a:pt x="16857" y="17337"/>
                    </a:lnTo>
                    <a:lnTo>
                      <a:pt x="14039" y="17181"/>
                    </a:lnTo>
                    <a:lnTo>
                      <a:pt x="12762" y="16136"/>
                    </a:lnTo>
                    <a:cubicBezTo>
                      <a:pt x="11828" y="15985"/>
                      <a:pt x="10901" y="15786"/>
                      <a:pt x="9986" y="15541"/>
                    </a:cubicBezTo>
                    <a:cubicBezTo>
                      <a:pt x="9104" y="15304"/>
                      <a:pt x="8234" y="15024"/>
                      <a:pt x="7377" y="14702"/>
                    </a:cubicBezTo>
                    <a:lnTo>
                      <a:pt x="5842" y="15002"/>
                    </a:lnTo>
                    <a:lnTo>
                      <a:pt x="5992" y="19096"/>
                    </a:lnTo>
                    <a:lnTo>
                      <a:pt x="4895" y="21600"/>
                    </a:lnTo>
                    <a:lnTo>
                      <a:pt x="2646" y="18495"/>
                    </a:lnTo>
                    <a:lnTo>
                      <a:pt x="2215" y="16698"/>
                    </a:lnTo>
                    <a:lnTo>
                      <a:pt x="499" y="14902"/>
                    </a:lnTo>
                    <a:lnTo>
                      <a:pt x="34" y="12773"/>
                    </a:lnTo>
                    <a:cubicBezTo>
                      <a:pt x="789" y="12296"/>
                      <a:pt x="1459" y="11687"/>
                      <a:pt x="2015" y="10971"/>
                    </a:cubicBezTo>
                    <a:cubicBezTo>
                      <a:pt x="2581" y="10241"/>
                      <a:pt x="3020" y="9412"/>
                      <a:pt x="3310" y="8523"/>
                    </a:cubicBezTo>
                    <a:lnTo>
                      <a:pt x="1535" y="5374"/>
                    </a:lnTo>
                    <a:lnTo>
                      <a:pt x="0" y="3428"/>
                    </a:lnTo>
                    <a:lnTo>
                      <a:pt x="1216"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43" name="Shape 307">
                <a:extLst>
                  <a:ext uri="{FF2B5EF4-FFF2-40B4-BE49-F238E27FC236}">
                    <a16:creationId xmlns:a16="http://schemas.microsoft.com/office/drawing/2014/main" id="{5FC04541-520D-4772-9CA7-C3564294F96A}"/>
                  </a:ext>
                </a:extLst>
              </p:cNvPr>
              <p:cNvSpPr/>
              <p:nvPr/>
            </p:nvSpPr>
            <p:spPr>
              <a:xfrm>
                <a:off x="16082917" y="2501367"/>
                <a:ext cx="510966" cy="494608"/>
              </a:xfrm>
              <a:custGeom>
                <a:avLst/>
                <a:gdLst/>
                <a:ahLst/>
                <a:cxnLst>
                  <a:cxn ang="0">
                    <a:pos x="wd2" y="hd2"/>
                  </a:cxn>
                  <a:cxn ang="5400000">
                    <a:pos x="wd2" y="hd2"/>
                  </a:cxn>
                  <a:cxn ang="10800000">
                    <a:pos x="wd2" y="hd2"/>
                  </a:cxn>
                  <a:cxn ang="16200000">
                    <a:pos x="wd2" y="hd2"/>
                  </a:cxn>
                </a:cxnLst>
                <a:rect l="0" t="0" r="r" b="b"/>
                <a:pathLst>
                  <a:path w="21600" h="21600" extrusionOk="0">
                    <a:moveTo>
                      <a:pt x="14831" y="0"/>
                    </a:moveTo>
                    <a:lnTo>
                      <a:pt x="16152" y="752"/>
                    </a:lnTo>
                    <a:lnTo>
                      <a:pt x="17169" y="1568"/>
                    </a:lnTo>
                    <a:lnTo>
                      <a:pt x="18839" y="1893"/>
                    </a:lnTo>
                    <a:lnTo>
                      <a:pt x="18839" y="3442"/>
                    </a:lnTo>
                    <a:lnTo>
                      <a:pt x="19262" y="4642"/>
                    </a:lnTo>
                    <a:lnTo>
                      <a:pt x="19979" y="5617"/>
                    </a:lnTo>
                    <a:lnTo>
                      <a:pt x="19182" y="6899"/>
                    </a:lnTo>
                    <a:lnTo>
                      <a:pt x="19182" y="8099"/>
                    </a:lnTo>
                    <a:lnTo>
                      <a:pt x="19662" y="9375"/>
                    </a:lnTo>
                    <a:lnTo>
                      <a:pt x="20216" y="10435"/>
                    </a:lnTo>
                    <a:lnTo>
                      <a:pt x="20594" y="11892"/>
                    </a:lnTo>
                    <a:lnTo>
                      <a:pt x="21520" y="13554"/>
                    </a:lnTo>
                    <a:lnTo>
                      <a:pt x="21600" y="15848"/>
                    </a:lnTo>
                    <a:lnTo>
                      <a:pt x="20167" y="17076"/>
                    </a:lnTo>
                    <a:lnTo>
                      <a:pt x="18837" y="17726"/>
                    </a:lnTo>
                    <a:lnTo>
                      <a:pt x="16684" y="18109"/>
                    </a:lnTo>
                    <a:lnTo>
                      <a:pt x="15274" y="18188"/>
                    </a:lnTo>
                    <a:lnTo>
                      <a:pt x="13867" y="18430"/>
                    </a:lnTo>
                    <a:lnTo>
                      <a:pt x="13462" y="19798"/>
                    </a:lnTo>
                    <a:lnTo>
                      <a:pt x="13164" y="20810"/>
                    </a:lnTo>
                    <a:lnTo>
                      <a:pt x="12474" y="21600"/>
                    </a:lnTo>
                    <a:lnTo>
                      <a:pt x="11162" y="19907"/>
                    </a:lnTo>
                    <a:lnTo>
                      <a:pt x="10416" y="19251"/>
                    </a:lnTo>
                    <a:lnTo>
                      <a:pt x="7383" y="19114"/>
                    </a:lnTo>
                    <a:lnTo>
                      <a:pt x="4329" y="19388"/>
                    </a:lnTo>
                    <a:lnTo>
                      <a:pt x="1907" y="20174"/>
                    </a:lnTo>
                    <a:lnTo>
                      <a:pt x="0" y="18923"/>
                    </a:lnTo>
                    <a:lnTo>
                      <a:pt x="1177" y="17804"/>
                    </a:lnTo>
                    <a:lnTo>
                      <a:pt x="2674" y="17668"/>
                    </a:lnTo>
                    <a:lnTo>
                      <a:pt x="3680" y="16334"/>
                    </a:lnTo>
                    <a:lnTo>
                      <a:pt x="4960" y="15541"/>
                    </a:lnTo>
                    <a:lnTo>
                      <a:pt x="6637" y="16033"/>
                    </a:lnTo>
                    <a:lnTo>
                      <a:pt x="8203" y="16279"/>
                    </a:lnTo>
                    <a:lnTo>
                      <a:pt x="9693" y="15161"/>
                    </a:lnTo>
                    <a:lnTo>
                      <a:pt x="10727" y="14180"/>
                    </a:lnTo>
                    <a:lnTo>
                      <a:pt x="13446" y="12244"/>
                    </a:lnTo>
                    <a:lnTo>
                      <a:pt x="14243" y="11348"/>
                    </a:lnTo>
                    <a:lnTo>
                      <a:pt x="16242" y="10719"/>
                    </a:lnTo>
                    <a:lnTo>
                      <a:pt x="16482" y="9003"/>
                    </a:lnTo>
                    <a:lnTo>
                      <a:pt x="16482" y="7470"/>
                    </a:lnTo>
                    <a:lnTo>
                      <a:pt x="14963" y="5446"/>
                    </a:lnTo>
                    <a:lnTo>
                      <a:pt x="14030" y="3313"/>
                    </a:lnTo>
                    <a:lnTo>
                      <a:pt x="13976" y="2082"/>
                    </a:lnTo>
                    <a:lnTo>
                      <a:pt x="13500" y="1100"/>
                    </a:lnTo>
                    <a:lnTo>
                      <a:pt x="14831"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44" name="Shape 308">
                <a:extLst>
                  <a:ext uri="{FF2B5EF4-FFF2-40B4-BE49-F238E27FC236}">
                    <a16:creationId xmlns:a16="http://schemas.microsoft.com/office/drawing/2014/main" id="{09C5203D-2B5A-4576-A592-D2AE36E7A46E}"/>
                  </a:ext>
                </a:extLst>
              </p:cNvPr>
              <p:cNvSpPr/>
              <p:nvPr/>
            </p:nvSpPr>
            <p:spPr>
              <a:xfrm>
                <a:off x="16190000" y="2981739"/>
                <a:ext cx="88626" cy="79200"/>
              </a:xfrm>
              <a:custGeom>
                <a:avLst/>
                <a:gdLst/>
                <a:ahLst/>
                <a:cxnLst>
                  <a:cxn ang="0">
                    <a:pos x="wd2" y="hd2"/>
                  </a:cxn>
                  <a:cxn ang="5400000">
                    <a:pos x="wd2" y="hd2"/>
                  </a:cxn>
                  <a:cxn ang="10800000">
                    <a:pos x="wd2" y="hd2"/>
                  </a:cxn>
                  <a:cxn ang="16200000">
                    <a:pos x="wd2" y="hd2"/>
                  </a:cxn>
                </a:cxnLst>
                <a:rect l="0" t="0" r="r" b="b"/>
                <a:pathLst>
                  <a:path w="21600" h="21600" extrusionOk="0">
                    <a:moveTo>
                      <a:pt x="15130" y="2820"/>
                    </a:moveTo>
                    <a:lnTo>
                      <a:pt x="3175" y="0"/>
                    </a:lnTo>
                    <a:lnTo>
                      <a:pt x="0" y="4621"/>
                    </a:lnTo>
                    <a:lnTo>
                      <a:pt x="4230" y="10217"/>
                    </a:lnTo>
                    <a:lnTo>
                      <a:pt x="4401" y="19722"/>
                    </a:lnTo>
                    <a:lnTo>
                      <a:pt x="14203" y="21600"/>
                    </a:lnTo>
                    <a:lnTo>
                      <a:pt x="18813" y="14767"/>
                    </a:lnTo>
                    <a:lnTo>
                      <a:pt x="21600" y="929"/>
                    </a:lnTo>
                    <a:lnTo>
                      <a:pt x="15130" y="282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45" name="Shape 309">
                <a:extLst>
                  <a:ext uri="{FF2B5EF4-FFF2-40B4-BE49-F238E27FC236}">
                    <a16:creationId xmlns:a16="http://schemas.microsoft.com/office/drawing/2014/main" id="{51A79DD8-894B-4F73-A0CA-9D0C7D75C10E}"/>
                  </a:ext>
                </a:extLst>
              </p:cNvPr>
              <p:cNvSpPr/>
              <p:nvPr/>
            </p:nvSpPr>
            <p:spPr>
              <a:xfrm>
                <a:off x="16059074" y="2997796"/>
                <a:ext cx="109120" cy="154495"/>
              </a:xfrm>
              <a:custGeom>
                <a:avLst/>
                <a:gdLst/>
                <a:ahLst/>
                <a:cxnLst>
                  <a:cxn ang="0">
                    <a:pos x="wd2" y="hd2"/>
                  </a:cxn>
                  <a:cxn ang="5400000">
                    <a:pos x="wd2" y="hd2"/>
                  </a:cxn>
                  <a:cxn ang="10800000">
                    <a:pos x="wd2" y="hd2"/>
                  </a:cxn>
                  <a:cxn ang="16200000">
                    <a:pos x="wd2" y="hd2"/>
                  </a:cxn>
                </a:cxnLst>
                <a:rect l="0" t="0" r="r" b="b"/>
                <a:pathLst>
                  <a:path w="21600" h="21600" extrusionOk="0">
                    <a:moveTo>
                      <a:pt x="5179" y="0"/>
                    </a:moveTo>
                    <a:lnTo>
                      <a:pt x="10237" y="2528"/>
                    </a:lnTo>
                    <a:lnTo>
                      <a:pt x="16136" y="4696"/>
                    </a:lnTo>
                    <a:lnTo>
                      <a:pt x="19977" y="6514"/>
                    </a:lnTo>
                    <a:lnTo>
                      <a:pt x="19602" y="11221"/>
                    </a:lnTo>
                    <a:lnTo>
                      <a:pt x="20976" y="14878"/>
                    </a:lnTo>
                    <a:lnTo>
                      <a:pt x="21600" y="19246"/>
                    </a:lnTo>
                    <a:lnTo>
                      <a:pt x="18618" y="21600"/>
                    </a:lnTo>
                    <a:lnTo>
                      <a:pt x="11299" y="20100"/>
                    </a:lnTo>
                    <a:lnTo>
                      <a:pt x="11672" y="15196"/>
                    </a:lnTo>
                    <a:lnTo>
                      <a:pt x="4821" y="10992"/>
                    </a:lnTo>
                    <a:lnTo>
                      <a:pt x="1366" y="8562"/>
                    </a:lnTo>
                    <a:lnTo>
                      <a:pt x="0" y="4533"/>
                    </a:lnTo>
                    <a:lnTo>
                      <a:pt x="5179"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46" name="Shape 310">
                <a:extLst>
                  <a:ext uri="{FF2B5EF4-FFF2-40B4-BE49-F238E27FC236}">
                    <a16:creationId xmlns:a16="http://schemas.microsoft.com/office/drawing/2014/main" id="{55F26E01-4F8E-4E6D-B129-A77BE5893B2A}"/>
                  </a:ext>
                </a:extLst>
              </p:cNvPr>
              <p:cNvSpPr/>
              <p:nvPr/>
            </p:nvSpPr>
            <p:spPr>
              <a:xfrm>
                <a:off x="15640287" y="3564108"/>
                <a:ext cx="103820" cy="200091"/>
              </a:xfrm>
              <a:custGeom>
                <a:avLst/>
                <a:gdLst/>
                <a:ahLst/>
                <a:cxnLst>
                  <a:cxn ang="0">
                    <a:pos x="wd2" y="hd2"/>
                  </a:cxn>
                  <a:cxn ang="5400000">
                    <a:pos x="wd2" y="hd2"/>
                  </a:cxn>
                  <a:cxn ang="10800000">
                    <a:pos x="wd2" y="hd2"/>
                  </a:cxn>
                  <a:cxn ang="16200000">
                    <a:pos x="wd2" y="hd2"/>
                  </a:cxn>
                </a:cxnLst>
                <a:rect l="0" t="0" r="r" b="b"/>
                <a:pathLst>
                  <a:path w="21570" h="21600" extrusionOk="0">
                    <a:moveTo>
                      <a:pt x="10688" y="0"/>
                    </a:moveTo>
                    <a:lnTo>
                      <a:pt x="7165" y="3027"/>
                    </a:lnTo>
                    <a:lnTo>
                      <a:pt x="5618" y="8797"/>
                    </a:lnTo>
                    <a:lnTo>
                      <a:pt x="0" y="12556"/>
                    </a:lnTo>
                    <a:lnTo>
                      <a:pt x="2313" y="15996"/>
                    </a:lnTo>
                    <a:lnTo>
                      <a:pt x="6119" y="18152"/>
                    </a:lnTo>
                    <a:lnTo>
                      <a:pt x="12017" y="21600"/>
                    </a:lnTo>
                    <a:lnTo>
                      <a:pt x="18421" y="20856"/>
                    </a:lnTo>
                    <a:lnTo>
                      <a:pt x="19994" y="15920"/>
                    </a:lnTo>
                    <a:lnTo>
                      <a:pt x="19601" y="12480"/>
                    </a:lnTo>
                    <a:cubicBezTo>
                      <a:pt x="20082" y="11316"/>
                      <a:pt x="20475" y="10143"/>
                      <a:pt x="20780" y="8963"/>
                    </a:cubicBezTo>
                    <a:cubicBezTo>
                      <a:pt x="21337" y="6812"/>
                      <a:pt x="21600" y="4643"/>
                      <a:pt x="21567" y="2472"/>
                    </a:cubicBezTo>
                    <a:lnTo>
                      <a:pt x="10688"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47" name="Shape 311">
                <a:extLst>
                  <a:ext uri="{FF2B5EF4-FFF2-40B4-BE49-F238E27FC236}">
                    <a16:creationId xmlns:a16="http://schemas.microsoft.com/office/drawing/2014/main" id="{E3A4C404-23AA-4350-A864-7C25EBD7A403}"/>
                  </a:ext>
                </a:extLst>
              </p:cNvPr>
              <p:cNvSpPr/>
              <p:nvPr/>
            </p:nvSpPr>
            <p:spPr>
              <a:xfrm>
                <a:off x="15001893" y="3929917"/>
                <a:ext cx="113890" cy="119375"/>
              </a:xfrm>
              <a:custGeom>
                <a:avLst/>
                <a:gdLst/>
                <a:ahLst/>
                <a:cxnLst>
                  <a:cxn ang="0">
                    <a:pos x="wd2" y="hd2"/>
                  </a:cxn>
                  <a:cxn ang="5400000">
                    <a:pos x="wd2" y="hd2"/>
                  </a:cxn>
                  <a:cxn ang="10800000">
                    <a:pos x="wd2" y="hd2"/>
                  </a:cxn>
                  <a:cxn ang="16200000">
                    <a:pos x="wd2" y="hd2"/>
                  </a:cxn>
                </a:cxnLst>
                <a:rect l="0" t="0" r="r" b="b"/>
                <a:pathLst>
                  <a:path w="21600" h="21600" extrusionOk="0">
                    <a:moveTo>
                      <a:pt x="20237" y="806"/>
                    </a:moveTo>
                    <a:lnTo>
                      <a:pt x="13014" y="0"/>
                    </a:lnTo>
                    <a:lnTo>
                      <a:pt x="4311" y="2387"/>
                    </a:lnTo>
                    <a:lnTo>
                      <a:pt x="1595" y="5661"/>
                    </a:lnTo>
                    <a:lnTo>
                      <a:pt x="0" y="10054"/>
                    </a:lnTo>
                    <a:lnTo>
                      <a:pt x="1800" y="15494"/>
                    </a:lnTo>
                    <a:lnTo>
                      <a:pt x="5016" y="21600"/>
                    </a:lnTo>
                    <a:lnTo>
                      <a:pt x="11327" y="20806"/>
                    </a:lnTo>
                    <a:lnTo>
                      <a:pt x="13480" y="14360"/>
                    </a:lnTo>
                    <a:lnTo>
                      <a:pt x="21600" y="6554"/>
                    </a:lnTo>
                    <a:lnTo>
                      <a:pt x="20237" y="806"/>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48" name="Shape 312">
                <a:extLst>
                  <a:ext uri="{FF2B5EF4-FFF2-40B4-BE49-F238E27FC236}">
                    <a16:creationId xmlns:a16="http://schemas.microsoft.com/office/drawing/2014/main" id="{3A27A2A4-19F0-4878-AD88-F9C2FAD5C4C5}"/>
                  </a:ext>
                </a:extLst>
              </p:cNvPr>
              <p:cNvSpPr/>
              <p:nvPr/>
            </p:nvSpPr>
            <p:spPr>
              <a:xfrm>
                <a:off x="15712535" y="4011966"/>
                <a:ext cx="295565" cy="386775"/>
              </a:xfrm>
              <a:custGeom>
                <a:avLst/>
                <a:gdLst/>
                <a:ahLst/>
                <a:cxnLst>
                  <a:cxn ang="0">
                    <a:pos x="wd2" y="hd2"/>
                  </a:cxn>
                  <a:cxn ang="5400000">
                    <a:pos x="wd2" y="hd2"/>
                  </a:cxn>
                  <a:cxn ang="10800000">
                    <a:pos x="wd2" y="hd2"/>
                  </a:cxn>
                  <a:cxn ang="16200000">
                    <a:pos x="wd2" y="hd2"/>
                  </a:cxn>
                </a:cxnLst>
                <a:rect l="0" t="0" r="r" b="b"/>
                <a:pathLst>
                  <a:path w="21600" h="21600" extrusionOk="0">
                    <a:moveTo>
                      <a:pt x="6205" y="214"/>
                    </a:moveTo>
                    <a:lnTo>
                      <a:pt x="2995" y="0"/>
                    </a:lnTo>
                    <a:lnTo>
                      <a:pt x="2584" y="2552"/>
                    </a:lnTo>
                    <a:lnTo>
                      <a:pt x="3044" y="4581"/>
                    </a:lnTo>
                    <a:lnTo>
                      <a:pt x="2030" y="7340"/>
                    </a:lnTo>
                    <a:lnTo>
                      <a:pt x="0" y="9509"/>
                    </a:lnTo>
                    <a:cubicBezTo>
                      <a:pt x="160" y="10395"/>
                      <a:pt x="581" y="11243"/>
                      <a:pt x="1232" y="11988"/>
                    </a:cubicBezTo>
                    <a:cubicBezTo>
                      <a:pt x="2023" y="12895"/>
                      <a:pt x="3124" y="13621"/>
                      <a:pt x="4418" y="14087"/>
                    </a:cubicBezTo>
                    <a:lnTo>
                      <a:pt x="5236" y="15133"/>
                    </a:lnTo>
                    <a:lnTo>
                      <a:pt x="7310" y="17966"/>
                    </a:lnTo>
                    <a:lnTo>
                      <a:pt x="8555" y="18981"/>
                    </a:lnTo>
                    <a:lnTo>
                      <a:pt x="11367" y="20065"/>
                    </a:lnTo>
                    <a:lnTo>
                      <a:pt x="14409" y="20170"/>
                    </a:lnTo>
                    <a:lnTo>
                      <a:pt x="16201" y="20275"/>
                    </a:lnTo>
                    <a:lnTo>
                      <a:pt x="18690" y="21010"/>
                    </a:lnTo>
                    <a:lnTo>
                      <a:pt x="21410" y="21600"/>
                    </a:lnTo>
                    <a:lnTo>
                      <a:pt x="21600" y="19654"/>
                    </a:lnTo>
                    <a:lnTo>
                      <a:pt x="20730" y="18749"/>
                    </a:lnTo>
                    <a:lnTo>
                      <a:pt x="19543" y="17743"/>
                    </a:lnTo>
                    <a:lnTo>
                      <a:pt x="15953" y="18233"/>
                    </a:lnTo>
                    <a:cubicBezTo>
                      <a:pt x="15448" y="18445"/>
                      <a:pt x="14862" y="18519"/>
                      <a:pt x="14294" y="18443"/>
                    </a:cubicBezTo>
                    <a:cubicBezTo>
                      <a:pt x="13070" y="18278"/>
                      <a:pt x="12157" y="17495"/>
                      <a:pt x="12093" y="16553"/>
                    </a:cubicBezTo>
                    <a:lnTo>
                      <a:pt x="9471" y="15298"/>
                    </a:lnTo>
                    <a:lnTo>
                      <a:pt x="8693" y="14218"/>
                    </a:lnTo>
                    <a:lnTo>
                      <a:pt x="8601" y="12924"/>
                    </a:lnTo>
                    <a:cubicBezTo>
                      <a:pt x="9108" y="12238"/>
                      <a:pt x="9615" y="11551"/>
                      <a:pt x="10122" y="10864"/>
                    </a:cubicBezTo>
                    <a:cubicBezTo>
                      <a:pt x="10531" y="10309"/>
                      <a:pt x="10940" y="9754"/>
                      <a:pt x="11349" y="9198"/>
                    </a:cubicBezTo>
                    <a:lnTo>
                      <a:pt x="11759" y="7593"/>
                    </a:lnTo>
                    <a:lnTo>
                      <a:pt x="9915" y="5459"/>
                    </a:lnTo>
                    <a:lnTo>
                      <a:pt x="8117" y="3260"/>
                    </a:lnTo>
                    <a:lnTo>
                      <a:pt x="6205" y="214"/>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49" name="Shape 313">
                <a:extLst>
                  <a:ext uri="{FF2B5EF4-FFF2-40B4-BE49-F238E27FC236}">
                    <a16:creationId xmlns:a16="http://schemas.microsoft.com/office/drawing/2014/main" id="{4E1F759C-1D10-4E0F-806D-BDE96093E325}"/>
                  </a:ext>
                </a:extLst>
              </p:cNvPr>
              <p:cNvSpPr/>
              <p:nvPr/>
            </p:nvSpPr>
            <p:spPr>
              <a:xfrm>
                <a:off x="15594111" y="4536790"/>
                <a:ext cx="166151" cy="180454"/>
              </a:xfrm>
              <a:custGeom>
                <a:avLst/>
                <a:gdLst/>
                <a:ahLst/>
                <a:cxnLst>
                  <a:cxn ang="0">
                    <a:pos x="wd2" y="hd2"/>
                  </a:cxn>
                  <a:cxn ang="5400000">
                    <a:pos x="wd2" y="hd2"/>
                  </a:cxn>
                  <a:cxn ang="10800000">
                    <a:pos x="wd2" y="hd2"/>
                  </a:cxn>
                  <a:cxn ang="16200000">
                    <a:pos x="wd2" y="hd2"/>
                  </a:cxn>
                </a:cxnLst>
                <a:rect l="0" t="0" r="r" b="b"/>
                <a:pathLst>
                  <a:path w="20505" h="19908" extrusionOk="0">
                    <a:moveTo>
                      <a:pt x="17580" y="0"/>
                    </a:moveTo>
                    <a:lnTo>
                      <a:pt x="14738" y="1728"/>
                    </a:lnTo>
                    <a:lnTo>
                      <a:pt x="10679" y="5098"/>
                    </a:lnTo>
                    <a:lnTo>
                      <a:pt x="8216" y="7569"/>
                    </a:lnTo>
                    <a:lnTo>
                      <a:pt x="8222" y="12060"/>
                    </a:lnTo>
                    <a:lnTo>
                      <a:pt x="5046" y="14125"/>
                    </a:lnTo>
                    <a:cubicBezTo>
                      <a:pt x="3326" y="12967"/>
                      <a:pt x="832" y="13677"/>
                      <a:pt x="191" y="15507"/>
                    </a:cubicBezTo>
                    <a:cubicBezTo>
                      <a:pt x="-1095" y="19179"/>
                      <a:pt x="4427" y="21600"/>
                      <a:pt x="6929" y="18462"/>
                    </a:cubicBezTo>
                    <a:lnTo>
                      <a:pt x="10638" y="16258"/>
                    </a:lnTo>
                    <a:lnTo>
                      <a:pt x="12739" y="13426"/>
                    </a:lnTo>
                    <a:lnTo>
                      <a:pt x="14530" y="11490"/>
                    </a:lnTo>
                    <a:lnTo>
                      <a:pt x="18733" y="6592"/>
                    </a:lnTo>
                    <a:lnTo>
                      <a:pt x="20505" y="1980"/>
                    </a:lnTo>
                    <a:lnTo>
                      <a:pt x="17580"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50" name="Shape 314">
                <a:extLst>
                  <a:ext uri="{FF2B5EF4-FFF2-40B4-BE49-F238E27FC236}">
                    <a16:creationId xmlns:a16="http://schemas.microsoft.com/office/drawing/2014/main" id="{8274835E-1A76-4EFC-A9F9-F27F3AA90B79}"/>
                  </a:ext>
                </a:extLst>
              </p:cNvPr>
              <p:cNvSpPr/>
              <p:nvPr/>
            </p:nvSpPr>
            <p:spPr>
              <a:xfrm>
                <a:off x="15780703" y="4385205"/>
                <a:ext cx="78079" cy="77456"/>
              </a:xfrm>
              <a:custGeom>
                <a:avLst/>
                <a:gdLst/>
                <a:ahLst/>
                <a:cxnLst>
                  <a:cxn ang="0">
                    <a:pos x="wd2" y="hd2"/>
                  </a:cxn>
                  <a:cxn ang="5400000">
                    <a:pos x="wd2" y="hd2"/>
                  </a:cxn>
                  <a:cxn ang="10800000">
                    <a:pos x="wd2" y="hd2"/>
                  </a:cxn>
                  <a:cxn ang="16200000">
                    <a:pos x="wd2" y="hd2"/>
                  </a:cxn>
                </a:cxnLst>
                <a:rect l="0" t="0" r="r" b="b"/>
                <a:pathLst>
                  <a:path w="21600" h="21600" extrusionOk="0">
                    <a:moveTo>
                      <a:pt x="5824" y="0"/>
                    </a:moveTo>
                    <a:lnTo>
                      <a:pt x="0" y="3997"/>
                    </a:lnTo>
                    <a:lnTo>
                      <a:pt x="7260" y="15507"/>
                    </a:lnTo>
                    <a:lnTo>
                      <a:pt x="11327" y="21600"/>
                    </a:lnTo>
                    <a:lnTo>
                      <a:pt x="21600" y="21076"/>
                    </a:lnTo>
                    <a:lnTo>
                      <a:pt x="15668" y="7101"/>
                    </a:lnTo>
                    <a:lnTo>
                      <a:pt x="5824"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51" name="Shape 315">
                <a:extLst>
                  <a:ext uri="{FF2B5EF4-FFF2-40B4-BE49-F238E27FC236}">
                    <a16:creationId xmlns:a16="http://schemas.microsoft.com/office/drawing/2014/main" id="{606EF16E-E413-4E94-93EC-E9776EED7F29}"/>
                  </a:ext>
                </a:extLst>
              </p:cNvPr>
              <p:cNvSpPr/>
              <p:nvPr/>
            </p:nvSpPr>
            <p:spPr>
              <a:xfrm>
                <a:off x="16034108" y="4443706"/>
                <a:ext cx="131288" cy="91307"/>
              </a:xfrm>
              <a:custGeom>
                <a:avLst/>
                <a:gdLst/>
                <a:ahLst/>
                <a:cxnLst>
                  <a:cxn ang="0">
                    <a:pos x="wd2" y="hd2"/>
                  </a:cxn>
                  <a:cxn ang="5400000">
                    <a:pos x="wd2" y="hd2"/>
                  </a:cxn>
                  <a:cxn ang="10800000">
                    <a:pos x="wd2" y="hd2"/>
                  </a:cxn>
                  <a:cxn ang="16200000">
                    <a:pos x="wd2" y="hd2"/>
                  </a:cxn>
                </a:cxnLst>
                <a:rect l="0" t="0" r="r" b="b"/>
                <a:pathLst>
                  <a:path w="21600" h="21600" extrusionOk="0">
                    <a:moveTo>
                      <a:pt x="3112" y="90"/>
                    </a:moveTo>
                    <a:lnTo>
                      <a:pt x="0" y="1424"/>
                    </a:lnTo>
                    <a:lnTo>
                      <a:pt x="3236" y="8466"/>
                    </a:lnTo>
                    <a:lnTo>
                      <a:pt x="8121" y="17785"/>
                    </a:lnTo>
                    <a:lnTo>
                      <a:pt x="13518" y="21155"/>
                    </a:lnTo>
                    <a:lnTo>
                      <a:pt x="21600" y="21600"/>
                    </a:lnTo>
                    <a:lnTo>
                      <a:pt x="17669" y="11727"/>
                    </a:lnTo>
                    <a:lnTo>
                      <a:pt x="14063" y="7299"/>
                    </a:lnTo>
                    <a:lnTo>
                      <a:pt x="10768" y="6411"/>
                    </a:lnTo>
                    <a:lnTo>
                      <a:pt x="7589" y="0"/>
                    </a:lnTo>
                    <a:lnTo>
                      <a:pt x="3112" y="9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52" name="Shape 316">
                <a:extLst>
                  <a:ext uri="{FF2B5EF4-FFF2-40B4-BE49-F238E27FC236}">
                    <a16:creationId xmlns:a16="http://schemas.microsoft.com/office/drawing/2014/main" id="{4709A16B-44B5-42EE-9CAB-12A7D18E023B}"/>
                  </a:ext>
                </a:extLst>
              </p:cNvPr>
              <p:cNvSpPr/>
              <p:nvPr/>
            </p:nvSpPr>
            <p:spPr>
              <a:xfrm>
                <a:off x="15952263" y="4313302"/>
                <a:ext cx="36217" cy="47152"/>
              </a:xfrm>
              <a:custGeom>
                <a:avLst/>
                <a:gdLst/>
                <a:ahLst/>
                <a:cxnLst>
                  <a:cxn ang="0">
                    <a:pos x="wd2" y="hd2"/>
                  </a:cxn>
                  <a:cxn ang="5400000">
                    <a:pos x="wd2" y="hd2"/>
                  </a:cxn>
                  <a:cxn ang="10800000">
                    <a:pos x="wd2" y="hd2"/>
                  </a:cxn>
                  <a:cxn ang="16200000">
                    <a:pos x="wd2" y="hd2"/>
                  </a:cxn>
                </a:cxnLst>
                <a:rect l="0" t="0" r="r" b="b"/>
                <a:pathLst>
                  <a:path w="21600" h="21600" extrusionOk="0">
                    <a:moveTo>
                      <a:pt x="20404" y="4234"/>
                    </a:moveTo>
                    <a:lnTo>
                      <a:pt x="5083" y="0"/>
                    </a:lnTo>
                    <a:lnTo>
                      <a:pt x="0" y="11342"/>
                    </a:lnTo>
                    <a:lnTo>
                      <a:pt x="21600" y="21600"/>
                    </a:lnTo>
                    <a:lnTo>
                      <a:pt x="20404" y="4234"/>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53" name="Shape 317">
                <a:extLst>
                  <a:ext uri="{FF2B5EF4-FFF2-40B4-BE49-F238E27FC236}">
                    <a16:creationId xmlns:a16="http://schemas.microsoft.com/office/drawing/2014/main" id="{48E4855A-346D-44A1-BB70-0D73F1FC0519}"/>
                  </a:ext>
                </a:extLst>
              </p:cNvPr>
              <p:cNvSpPr/>
              <p:nvPr/>
            </p:nvSpPr>
            <p:spPr>
              <a:xfrm>
                <a:off x="15856970" y="4479004"/>
                <a:ext cx="88726" cy="91142"/>
              </a:xfrm>
              <a:custGeom>
                <a:avLst/>
                <a:gdLst/>
                <a:ahLst/>
                <a:cxnLst>
                  <a:cxn ang="0">
                    <a:pos x="wd2" y="hd2"/>
                  </a:cxn>
                  <a:cxn ang="5400000">
                    <a:pos x="wd2" y="hd2"/>
                  </a:cxn>
                  <a:cxn ang="10800000">
                    <a:pos x="wd2" y="hd2"/>
                  </a:cxn>
                  <a:cxn ang="16200000">
                    <a:pos x="wd2" y="hd2"/>
                  </a:cxn>
                </a:cxnLst>
                <a:rect l="0" t="0" r="r" b="b"/>
                <a:pathLst>
                  <a:path w="21600" h="21600" extrusionOk="0">
                    <a:moveTo>
                      <a:pt x="9899" y="3302"/>
                    </a:moveTo>
                    <a:cubicBezTo>
                      <a:pt x="9224" y="3989"/>
                      <a:pt x="8549" y="4676"/>
                      <a:pt x="7875" y="5363"/>
                    </a:cubicBezTo>
                    <a:cubicBezTo>
                      <a:pt x="7200" y="6049"/>
                      <a:pt x="6525" y="6736"/>
                      <a:pt x="5850" y="7423"/>
                    </a:cubicBezTo>
                    <a:lnTo>
                      <a:pt x="0" y="13749"/>
                    </a:lnTo>
                    <a:lnTo>
                      <a:pt x="5955" y="20264"/>
                    </a:lnTo>
                    <a:lnTo>
                      <a:pt x="13153" y="21600"/>
                    </a:lnTo>
                    <a:lnTo>
                      <a:pt x="16685" y="18073"/>
                    </a:lnTo>
                    <a:lnTo>
                      <a:pt x="16244" y="11856"/>
                    </a:lnTo>
                    <a:lnTo>
                      <a:pt x="21600" y="2243"/>
                    </a:lnTo>
                    <a:lnTo>
                      <a:pt x="15783" y="0"/>
                    </a:lnTo>
                    <a:lnTo>
                      <a:pt x="9899" y="3302"/>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54" name="Shape 318">
                <a:extLst>
                  <a:ext uri="{FF2B5EF4-FFF2-40B4-BE49-F238E27FC236}">
                    <a16:creationId xmlns:a16="http://schemas.microsoft.com/office/drawing/2014/main" id="{B1CFD489-6B0D-441A-8B5D-DA72B2351D4B}"/>
                  </a:ext>
                </a:extLst>
              </p:cNvPr>
              <p:cNvSpPr/>
              <p:nvPr/>
            </p:nvSpPr>
            <p:spPr>
              <a:xfrm>
                <a:off x="15926741" y="4575772"/>
                <a:ext cx="69365" cy="102147"/>
              </a:xfrm>
              <a:custGeom>
                <a:avLst/>
                <a:gdLst/>
                <a:ahLst/>
                <a:cxnLst>
                  <a:cxn ang="0">
                    <a:pos x="wd2" y="hd2"/>
                  </a:cxn>
                  <a:cxn ang="5400000">
                    <a:pos x="wd2" y="hd2"/>
                  </a:cxn>
                  <a:cxn ang="10800000">
                    <a:pos x="wd2" y="hd2"/>
                  </a:cxn>
                  <a:cxn ang="16200000">
                    <a:pos x="wd2" y="hd2"/>
                  </a:cxn>
                </a:cxnLst>
                <a:rect l="0" t="0" r="r" b="b"/>
                <a:pathLst>
                  <a:path w="21600" h="21600" extrusionOk="0">
                    <a:moveTo>
                      <a:pt x="7580" y="0"/>
                    </a:moveTo>
                    <a:lnTo>
                      <a:pt x="5492" y="4637"/>
                    </a:lnTo>
                    <a:lnTo>
                      <a:pt x="0" y="9562"/>
                    </a:lnTo>
                    <a:lnTo>
                      <a:pt x="532" y="14978"/>
                    </a:lnTo>
                    <a:lnTo>
                      <a:pt x="5198" y="17362"/>
                    </a:lnTo>
                    <a:lnTo>
                      <a:pt x="8142" y="21600"/>
                    </a:lnTo>
                    <a:lnTo>
                      <a:pt x="17499" y="19994"/>
                    </a:lnTo>
                    <a:lnTo>
                      <a:pt x="17499" y="13520"/>
                    </a:lnTo>
                    <a:lnTo>
                      <a:pt x="21600" y="9579"/>
                    </a:lnTo>
                    <a:lnTo>
                      <a:pt x="19856" y="4413"/>
                    </a:lnTo>
                    <a:lnTo>
                      <a:pt x="14429" y="2161"/>
                    </a:lnTo>
                    <a:lnTo>
                      <a:pt x="7580"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55" name="Shape 319">
                <a:extLst>
                  <a:ext uri="{FF2B5EF4-FFF2-40B4-BE49-F238E27FC236}">
                    <a16:creationId xmlns:a16="http://schemas.microsoft.com/office/drawing/2014/main" id="{7C161A79-9B90-4EA1-B763-61199C03C433}"/>
                  </a:ext>
                </a:extLst>
              </p:cNvPr>
              <p:cNvSpPr/>
              <p:nvPr/>
            </p:nvSpPr>
            <p:spPr>
              <a:xfrm>
                <a:off x="16018409" y="4522220"/>
                <a:ext cx="55703" cy="94892"/>
              </a:xfrm>
              <a:custGeom>
                <a:avLst/>
                <a:gdLst/>
                <a:ahLst/>
                <a:cxnLst>
                  <a:cxn ang="0">
                    <a:pos x="wd2" y="hd2"/>
                  </a:cxn>
                  <a:cxn ang="5400000">
                    <a:pos x="wd2" y="hd2"/>
                  </a:cxn>
                  <a:cxn ang="10800000">
                    <a:pos x="wd2" y="hd2"/>
                  </a:cxn>
                  <a:cxn ang="16200000">
                    <a:pos x="wd2" y="hd2"/>
                  </a:cxn>
                </a:cxnLst>
                <a:rect l="0" t="0" r="r" b="b"/>
                <a:pathLst>
                  <a:path w="21600" h="21600" extrusionOk="0">
                    <a:moveTo>
                      <a:pt x="10374" y="2282"/>
                    </a:moveTo>
                    <a:lnTo>
                      <a:pt x="2301" y="0"/>
                    </a:lnTo>
                    <a:lnTo>
                      <a:pt x="0" y="4114"/>
                    </a:lnTo>
                    <a:lnTo>
                      <a:pt x="8942" y="8249"/>
                    </a:lnTo>
                    <a:lnTo>
                      <a:pt x="10410" y="16662"/>
                    </a:lnTo>
                    <a:lnTo>
                      <a:pt x="13285" y="21600"/>
                    </a:lnTo>
                    <a:lnTo>
                      <a:pt x="21600" y="19354"/>
                    </a:lnTo>
                    <a:lnTo>
                      <a:pt x="20132" y="10993"/>
                    </a:lnTo>
                    <a:lnTo>
                      <a:pt x="10374" y="2282"/>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56" name="Shape 320">
                <a:extLst>
                  <a:ext uri="{FF2B5EF4-FFF2-40B4-BE49-F238E27FC236}">
                    <a16:creationId xmlns:a16="http://schemas.microsoft.com/office/drawing/2014/main" id="{33425947-D2F4-4F3F-AB9B-3E91AB801510}"/>
                  </a:ext>
                </a:extLst>
              </p:cNvPr>
              <p:cNvSpPr/>
              <p:nvPr/>
            </p:nvSpPr>
            <p:spPr>
              <a:xfrm>
                <a:off x="15919651" y="4612426"/>
                <a:ext cx="302652" cy="295402"/>
              </a:xfrm>
              <a:custGeom>
                <a:avLst/>
                <a:gdLst/>
                <a:ahLst/>
                <a:cxnLst>
                  <a:cxn ang="0">
                    <a:pos x="wd2" y="hd2"/>
                  </a:cxn>
                  <a:cxn ang="5400000">
                    <a:pos x="wd2" y="hd2"/>
                  </a:cxn>
                  <a:cxn ang="10800000">
                    <a:pos x="wd2" y="hd2"/>
                  </a:cxn>
                  <a:cxn ang="16200000">
                    <a:pos x="wd2" y="hd2"/>
                  </a:cxn>
                </a:cxnLst>
                <a:rect l="0" t="0" r="r" b="b"/>
                <a:pathLst>
                  <a:path w="21246" h="21600" extrusionOk="0">
                    <a:moveTo>
                      <a:pt x="15618" y="0"/>
                    </a:moveTo>
                    <a:lnTo>
                      <a:pt x="14068" y="137"/>
                    </a:lnTo>
                    <a:lnTo>
                      <a:pt x="13901" y="3471"/>
                    </a:lnTo>
                    <a:lnTo>
                      <a:pt x="11653" y="5499"/>
                    </a:lnTo>
                    <a:lnTo>
                      <a:pt x="9433" y="7154"/>
                    </a:lnTo>
                    <a:lnTo>
                      <a:pt x="8019" y="8935"/>
                    </a:lnTo>
                    <a:lnTo>
                      <a:pt x="6129" y="8803"/>
                    </a:lnTo>
                    <a:lnTo>
                      <a:pt x="4020" y="7291"/>
                    </a:lnTo>
                    <a:lnTo>
                      <a:pt x="1658" y="8253"/>
                    </a:lnTo>
                    <a:lnTo>
                      <a:pt x="1029" y="10864"/>
                    </a:lnTo>
                    <a:lnTo>
                      <a:pt x="0" y="12771"/>
                    </a:lnTo>
                    <a:lnTo>
                      <a:pt x="3621" y="12908"/>
                    </a:lnTo>
                    <a:lnTo>
                      <a:pt x="5425" y="10801"/>
                    </a:lnTo>
                    <a:lnTo>
                      <a:pt x="6970" y="11345"/>
                    </a:lnTo>
                    <a:lnTo>
                      <a:pt x="8696" y="13544"/>
                    </a:lnTo>
                    <a:lnTo>
                      <a:pt x="8696" y="16286"/>
                    </a:lnTo>
                    <a:lnTo>
                      <a:pt x="10584" y="19825"/>
                    </a:lnTo>
                    <a:lnTo>
                      <a:pt x="11691" y="21600"/>
                    </a:lnTo>
                    <a:lnTo>
                      <a:pt x="13329" y="20592"/>
                    </a:lnTo>
                    <a:lnTo>
                      <a:pt x="14785" y="19539"/>
                    </a:lnTo>
                    <a:lnTo>
                      <a:pt x="16955" y="20226"/>
                    </a:lnTo>
                    <a:lnTo>
                      <a:pt x="17088" y="18955"/>
                    </a:lnTo>
                    <a:lnTo>
                      <a:pt x="14658" y="17037"/>
                    </a:lnTo>
                    <a:lnTo>
                      <a:pt x="14525" y="14747"/>
                    </a:lnTo>
                    <a:lnTo>
                      <a:pt x="15986" y="13831"/>
                    </a:lnTo>
                    <a:lnTo>
                      <a:pt x="18372" y="14380"/>
                    </a:lnTo>
                    <a:lnTo>
                      <a:pt x="18632" y="17071"/>
                    </a:lnTo>
                    <a:cubicBezTo>
                      <a:pt x="19138" y="17458"/>
                      <a:pt x="19818" y="17494"/>
                      <a:pt x="20359" y="17163"/>
                    </a:cubicBezTo>
                    <a:cubicBezTo>
                      <a:pt x="21600" y="16403"/>
                      <a:pt x="21524" y="14520"/>
                      <a:pt x="20226" y="13871"/>
                    </a:cubicBezTo>
                    <a:cubicBezTo>
                      <a:pt x="19707" y="12622"/>
                      <a:pt x="19161" y="11385"/>
                      <a:pt x="18588" y="10161"/>
                    </a:cubicBezTo>
                    <a:cubicBezTo>
                      <a:pt x="18105" y="9128"/>
                      <a:pt x="17603" y="8105"/>
                      <a:pt x="17082" y="7092"/>
                    </a:cubicBezTo>
                    <a:lnTo>
                      <a:pt x="16551" y="3382"/>
                    </a:lnTo>
                    <a:lnTo>
                      <a:pt x="15618"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57" name="Shape 321">
                <a:extLst>
                  <a:ext uri="{FF2B5EF4-FFF2-40B4-BE49-F238E27FC236}">
                    <a16:creationId xmlns:a16="http://schemas.microsoft.com/office/drawing/2014/main" id="{BA0E9ABE-8338-47D1-9BF7-E84E0C55A2CD}"/>
                  </a:ext>
                </a:extLst>
              </p:cNvPr>
              <p:cNvSpPr/>
              <p:nvPr/>
            </p:nvSpPr>
            <p:spPr>
              <a:xfrm>
                <a:off x="15099503" y="4829494"/>
                <a:ext cx="613505" cy="709207"/>
              </a:xfrm>
              <a:custGeom>
                <a:avLst/>
                <a:gdLst/>
                <a:ahLst/>
                <a:cxnLst>
                  <a:cxn ang="0">
                    <a:pos x="wd2" y="hd2"/>
                  </a:cxn>
                  <a:cxn ang="5400000">
                    <a:pos x="wd2" y="hd2"/>
                  </a:cxn>
                  <a:cxn ang="10800000">
                    <a:pos x="wd2" y="hd2"/>
                  </a:cxn>
                  <a:cxn ang="16200000">
                    <a:pos x="wd2" y="hd2"/>
                  </a:cxn>
                </a:cxnLst>
                <a:rect l="0" t="0" r="r" b="b"/>
                <a:pathLst>
                  <a:path w="21600" h="21600" extrusionOk="0">
                    <a:moveTo>
                      <a:pt x="17693" y="182"/>
                    </a:moveTo>
                    <a:lnTo>
                      <a:pt x="19070" y="0"/>
                    </a:lnTo>
                    <a:lnTo>
                      <a:pt x="20340" y="1335"/>
                    </a:lnTo>
                    <a:lnTo>
                      <a:pt x="21003" y="2362"/>
                    </a:lnTo>
                    <a:lnTo>
                      <a:pt x="21600" y="2990"/>
                    </a:lnTo>
                    <a:lnTo>
                      <a:pt x="21001" y="3848"/>
                    </a:lnTo>
                    <a:lnTo>
                      <a:pt x="20512" y="4459"/>
                    </a:lnTo>
                    <a:lnTo>
                      <a:pt x="19915" y="5222"/>
                    </a:lnTo>
                    <a:lnTo>
                      <a:pt x="19382" y="6290"/>
                    </a:lnTo>
                    <a:lnTo>
                      <a:pt x="19382" y="7432"/>
                    </a:lnTo>
                    <a:lnTo>
                      <a:pt x="19626" y="8233"/>
                    </a:lnTo>
                    <a:lnTo>
                      <a:pt x="20490" y="9318"/>
                    </a:lnTo>
                    <a:lnTo>
                      <a:pt x="21464" y="10423"/>
                    </a:lnTo>
                    <a:lnTo>
                      <a:pt x="21531" y="12044"/>
                    </a:lnTo>
                    <a:lnTo>
                      <a:pt x="19671" y="12598"/>
                    </a:lnTo>
                    <a:lnTo>
                      <a:pt x="19271" y="13509"/>
                    </a:lnTo>
                    <a:lnTo>
                      <a:pt x="19427" y="14768"/>
                    </a:lnTo>
                    <a:lnTo>
                      <a:pt x="18783" y="15910"/>
                    </a:lnTo>
                    <a:lnTo>
                      <a:pt x="18030" y="16900"/>
                    </a:lnTo>
                    <a:lnTo>
                      <a:pt x="16831" y="17925"/>
                    </a:lnTo>
                    <a:lnTo>
                      <a:pt x="16378" y="19125"/>
                    </a:lnTo>
                    <a:lnTo>
                      <a:pt x="15584" y="20935"/>
                    </a:lnTo>
                    <a:lnTo>
                      <a:pt x="14482" y="21600"/>
                    </a:lnTo>
                    <a:lnTo>
                      <a:pt x="13585" y="21028"/>
                    </a:lnTo>
                    <a:lnTo>
                      <a:pt x="12212" y="20589"/>
                    </a:lnTo>
                    <a:lnTo>
                      <a:pt x="11498" y="20436"/>
                    </a:lnTo>
                    <a:lnTo>
                      <a:pt x="10252" y="20665"/>
                    </a:lnTo>
                    <a:lnTo>
                      <a:pt x="9540" y="20665"/>
                    </a:lnTo>
                    <a:lnTo>
                      <a:pt x="7603" y="20436"/>
                    </a:lnTo>
                    <a:lnTo>
                      <a:pt x="6274" y="20172"/>
                    </a:lnTo>
                    <a:lnTo>
                      <a:pt x="4280" y="19885"/>
                    </a:lnTo>
                    <a:lnTo>
                      <a:pt x="3374" y="19375"/>
                    </a:lnTo>
                    <a:lnTo>
                      <a:pt x="2783" y="17734"/>
                    </a:lnTo>
                    <a:lnTo>
                      <a:pt x="1530" y="16227"/>
                    </a:lnTo>
                    <a:cubicBezTo>
                      <a:pt x="1300" y="15735"/>
                      <a:pt x="1078" y="15241"/>
                      <a:pt x="863" y="14744"/>
                    </a:cubicBezTo>
                    <a:cubicBezTo>
                      <a:pt x="560" y="14044"/>
                      <a:pt x="273" y="13340"/>
                      <a:pt x="0" y="12631"/>
                    </a:cubicBezTo>
                    <a:lnTo>
                      <a:pt x="197" y="11603"/>
                    </a:lnTo>
                    <a:lnTo>
                      <a:pt x="1259" y="10406"/>
                    </a:lnTo>
                    <a:lnTo>
                      <a:pt x="2436" y="9948"/>
                    </a:lnTo>
                    <a:lnTo>
                      <a:pt x="2902" y="10864"/>
                    </a:lnTo>
                    <a:lnTo>
                      <a:pt x="3946" y="11529"/>
                    </a:lnTo>
                    <a:lnTo>
                      <a:pt x="4323" y="10976"/>
                    </a:lnTo>
                    <a:lnTo>
                      <a:pt x="4723" y="9946"/>
                    </a:lnTo>
                    <a:lnTo>
                      <a:pt x="5431" y="9223"/>
                    </a:lnTo>
                    <a:lnTo>
                      <a:pt x="6230" y="8765"/>
                    </a:lnTo>
                    <a:lnTo>
                      <a:pt x="7338" y="8307"/>
                    </a:lnTo>
                    <a:lnTo>
                      <a:pt x="8604" y="7735"/>
                    </a:lnTo>
                    <a:lnTo>
                      <a:pt x="9378" y="7184"/>
                    </a:lnTo>
                    <a:lnTo>
                      <a:pt x="10242" y="5586"/>
                    </a:lnTo>
                    <a:lnTo>
                      <a:pt x="10927" y="5033"/>
                    </a:lnTo>
                    <a:lnTo>
                      <a:pt x="11838" y="4480"/>
                    </a:lnTo>
                    <a:lnTo>
                      <a:pt x="12570" y="4251"/>
                    </a:lnTo>
                    <a:lnTo>
                      <a:pt x="13392" y="4041"/>
                    </a:lnTo>
                    <a:lnTo>
                      <a:pt x="14386" y="3302"/>
                    </a:lnTo>
                    <a:lnTo>
                      <a:pt x="15319" y="2405"/>
                    </a:lnTo>
                    <a:lnTo>
                      <a:pt x="16229" y="1451"/>
                    </a:lnTo>
                    <a:lnTo>
                      <a:pt x="17693" y="182"/>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58" name="Shape 322">
                <a:extLst>
                  <a:ext uri="{FF2B5EF4-FFF2-40B4-BE49-F238E27FC236}">
                    <a16:creationId xmlns:a16="http://schemas.microsoft.com/office/drawing/2014/main" id="{53A06F8D-944C-4B01-94DC-7E8D9C52E5BC}"/>
                  </a:ext>
                </a:extLst>
              </p:cNvPr>
              <p:cNvSpPr/>
              <p:nvPr/>
            </p:nvSpPr>
            <p:spPr>
              <a:xfrm>
                <a:off x="15715684" y="5171122"/>
                <a:ext cx="411308" cy="491926"/>
              </a:xfrm>
              <a:custGeom>
                <a:avLst/>
                <a:gdLst/>
                <a:ahLst/>
                <a:cxnLst>
                  <a:cxn ang="0">
                    <a:pos x="wd2" y="hd2"/>
                  </a:cxn>
                  <a:cxn ang="5400000">
                    <a:pos x="wd2" y="hd2"/>
                  </a:cxn>
                  <a:cxn ang="10800000">
                    <a:pos x="wd2" y="hd2"/>
                  </a:cxn>
                  <a:cxn ang="16200000">
                    <a:pos x="wd2" y="hd2"/>
                  </a:cxn>
                </a:cxnLst>
                <a:rect l="0" t="0" r="r" b="b"/>
                <a:pathLst>
                  <a:path w="21600" h="21600" extrusionOk="0">
                    <a:moveTo>
                      <a:pt x="21600" y="10"/>
                    </a:moveTo>
                    <a:lnTo>
                      <a:pt x="19302" y="0"/>
                    </a:lnTo>
                    <a:lnTo>
                      <a:pt x="18507" y="1508"/>
                    </a:lnTo>
                    <a:lnTo>
                      <a:pt x="16888" y="2495"/>
                    </a:lnTo>
                    <a:lnTo>
                      <a:pt x="15588" y="2660"/>
                    </a:lnTo>
                    <a:lnTo>
                      <a:pt x="14223" y="1866"/>
                    </a:lnTo>
                    <a:lnTo>
                      <a:pt x="11000" y="1783"/>
                    </a:lnTo>
                    <a:lnTo>
                      <a:pt x="9523" y="1673"/>
                    </a:lnTo>
                    <a:lnTo>
                      <a:pt x="7078" y="1838"/>
                    </a:lnTo>
                    <a:lnTo>
                      <a:pt x="3910" y="2828"/>
                    </a:lnTo>
                    <a:lnTo>
                      <a:pt x="3328" y="4063"/>
                    </a:lnTo>
                    <a:lnTo>
                      <a:pt x="3249" y="6070"/>
                    </a:lnTo>
                    <a:lnTo>
                      <a:pt x="3252" y="8298"/>
                    </a:lnTo>
                    <a:lnTo>
                      <a:pt x="3450" y="9618"/>
                    </a:lnTo>
                    <a:lnTo>
                      <a:pt x="3152" y="10719"/>
                    </a:lnTo>
                    <a:lnTo>
                      <a:pt x="1267" y="12420"/>
                    </a:lnTo>
                    <a:lnTo>
                      <a:pt x="0" y="14236"/>
                    </a:lnTo>
                    <a:lnTo>
                      <a:pt x="998" y="16436"/>
                    </a:lnTo>
                    <a:lnTo>
                      <a:pt x="1891" y="17340"/>
                    </a:lnTo>
                    <a:lnTo>
                      <a:pt x="2289" y="18739"/>
                    </a:lnTo>
                    <a:lnTo>
                      <a:pt x="1593" y="20390"/>
                    </a:lnTo>
                    <a:lnTo>
                      <a:pt x="2388" y="21600"/>
                    </a:lnTo>
                    <a:lnTo>
                      <a:pt x="4442" y="21352"/>
                    </a:lnTo>
                    <a:lnTo>
                      <a:pt x="5237" y="19733"/>
                    </a:lnTo>
                    <a:lnTo>
                      <a:pt x="4342" y="17643"/>
                    </a:lnTo>
                    <a:lnTo>
                      <a:pt x="3945" y="16161"/>
                    </a:lnTo>
                    <a:cubicBezTo>
                      <a:pt x="4074" y="15650"/>
                      <a:pt x="4347" y="15172"/>
                      <a:pt x="4740" y="14765"/>
                    </a:cubicBezTo>
                    <a:cubicBezTo>
                      <a:pt x="5266" y="14220"/>
                      <a:pt x="5984" y="13826"/>
                      <a:pt x="6793" y="13637"/>
                    </a:cubicBezTo>
                    <a:lnTo>
                      <a:pt x="8040" y="13310"/>
                    </a:lnTo>
                    <a:lnTo>
                      <a:pt x="8802" y="14576"/>
                    </a:lnTo>
                    <a:lnTo>
                      <a:pt x="8802" y="16635"/>
                    </a:lnTo>
                    <a:cubicBezTo>
                      <a:pt x="9210" y="17046"/>
                      <a:pt x="9677" y="17415"/>
                      <a:pt x="10193" y="17732"/>
                    </a:cubicBezTo>
                    <a:cubicBezTo>
                      <a:pt x="10742" y="18070"/>
                      <a:pt x="11342" y="18347"/>
                      <a:pt x="11978" y="18557"/>
                    </a:cubicBezTo>
                    <a:cubicBezTo>
                      <a:pt x="12325" y="18437"/>
                      <a:pt x="12624" y="18237"/>
                      <a:pt x="12839" y="17979"/>
                    </a:cubicBezTo>
                    <a:cubicBezTo>
                      <a:pt x="13328" y="17393"/>
                      <a:pt x="13328" y="16616"/>
                      <a:pt x="12839" y="16030"/>
                    </a:cubicBezTo>
                    <a:lnTo>
                      <a:pt x="12209" y="14548"/>
                    </a:lnTo>
                    <a:cubicBezTo>
                      <a:pt x="11711" y="14198"/>
                      <a:pt x="11335" y="13743"/>
                      <a:pt x="11120" y="13231"/>
                    </a:cubicBezTo>
                    <a:cubicBezTo>
                      <a:pt x="10817" y="12506"/>
                      <a:pt x="10852" y="11712"/>
                      <a:pt x="11220" y="11007"/>
                    </a:cubicBezTo>
                    <a:lnTo>
                      <a:pt x="12512" y="9934"/>
                    </a:lnTo>
                    <a:lnTo>
                      <a:pt x="14201" y="9109"/>
                    </a:lnTo>
                    <a:lnTo>
                      <a:pt x="15352" y="8700"/>
                    </a:lnTo>
                    <a:lnTo>
                      <a:pt x="14756" y="7572"/>
                    </a:lnTo>
                    <a:lnTo>
                      <a:pt x="12081" y="7903"/>
                    </a:lnTo>
                    <a:lnTo>
                      <a:pt x="8450" y="9109"/>
                    </a:lnTo>
                    <a:cubicBezTo>
                      <a:pt x="7962" y="9001"/>
                      <a:pt x="7496" y="8834"/>
                      <a:pt x="7067" y="8614"/>
                    </a:cubicBezTo>
                    <a:cubicBezTo>
                      <a:pt x="6290" y="8217"/>
                      <a:pt x="5653" y="7659"/>
                      <a:pt x="5216" y="6995"/>
                    </a:cubicBezTo>
                    <a:cubicBezTo>
                      <a:pt x="5085" y="6422"/>
                      <a:pt x="5085" y="5835"/>
                      <a:pt x="5216" y="5262"/>
                    </a:cubicBezTo>
                    <a:cubicBezTo>
                      <a:pt x="5343" y="4707"/>
                      <a:pt x="5600" y="4165"/>
                      <a:pt x="6106" y="3787"/>
                    </a:cubicBezTo>
                    <a:cubicBezTo>
                      <a:pt x="6720" y="3329"/>
                      <a:pt x="7565" y="3206"/>
                      <a:pt x="8388" y="3154"/>
                    </a:cubicBezTo>
                    <a:cubicBezTo>
                      <a:pt x="9337" y="3095"/>
                      <a:pt x="10291" y="3113"/>
                      <a:pt x="11236" y="3209"/>
                    </a:cubicBezTo>
                    <a:lnTo>
                      <a:pt x="12594" y="3347"/>
                    </a:lnTo>
                    <a:lnTo>
                      <a:pt x="13886" y="3787"/>
                    </a:lnTo>
                    <a:lnTo>
                      <a:pt x="15045" y="4475"/>
                    </a:lnTo>
                    <a:lnTo>
                      <a:pt x="16900" y="4695"/>
                    </a:lnTo>
                    <a:cubicBezTo>
                      <a:pt x="17689" y="4733"/>
                      <a:pt x="18466" y="4527"/>
                      <a:pt x="19083" y="4117"/>
                    </a:cubicBezTo>
                    <a:cubicBezTo>
                      <a:pt x="19535" y="3816"/>
                      <a:pt x="19878" y="3418"/>
                      <a:pt x="20076" y="2965"/>
                    </a:cubicBezTo>
                    <a:lnTo>
                      <a:pt x="21434" y="1511"/>
                    </a:lnTo>
                    <a:lnTo>
                      <a:pt x="21600" y="1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59" name="Shape 323">
                <a:extLst>
                  <a:ext uri="{FF2B5EF4-FFF2-40B4-BE49-F238E27FC236}">
                    <a16:creationId xmlns:a16="http://schemas.microsoft.com/office/drawing/2014/main" id="{B8CF8820-DD12-4035-99A7-725F2747B21D}"/>
                  </a:ext>
                </a:extLst>
              </p:cNvPr>
              <p:cNvSpPr/>
              <p:nvPr/>
            </p:nvSpPr>
            <p:spPr>
              <a:xfrm>
                <a:off x="16268983" y="5109726"/>
                <a:ext cx="76281" cy="193106"/>
              </a:xfrm>
              <a:custGeom>
                <a:avLst/>
                <a:gdLst/>
                <a:ahLst/>
                <a:cxnLst>
                  <a:cxn ang="0">
                    <a:pos x="wd2" y="hd2"/>
                  </a:cxn>
                  <a:cxn ang="5400000">
                    <a:pos x="wd2" y="hd2"/>
                  </a:cxn>
                  <a:cxn ang="10800000">
                    <a:pos x="wd2" y="hd2"/>
                  </a:cxn>
                  <a:cxn ang="16200000">
                    <a:pos x="wd2" y="hd2"/>
                  </a:cxn>
                </a:cxnLst>
                <a:rect l="0" t="0" r="r" b="b"/>
                <a:pathLst>
                  <a:path w="21600" h="21600" extrusionOk="0">
                    <a:moveTo>
                      <a:pt x="17255" y="0"/>
                    </a:moveTo>
                    <a:lnTo>
                      <a:pt x="9754" y="981"/>
                    </a:lnTo>
                    <a:lnTo>
                      <a:pt x="6086" y="3566"/>
                    </a:lnTo>
                    <a:lnTo>
                      <a:pt x="1417" y="5861"/>
                    </a:lnTo>
                    <a:lnTo>
                      <a:pt x="4076" y="9434"/>
                    </a:lnTo>
                    <a:lnTo>
                      <a:pt x="6254" y="12097"/>
                    </a:lnTo>
                    <a:lnTo>
                      <a:pt x="3575" y="14050"/>
                    </a:lnTo>
                    <a:lnTo>
                      <a:pt x="383" y="15872"/>
                    </a:lnTo>
                    <a:lnTo>
                      <a:pt x="0" y="19016"/>
                    </a:lnTo>
                    <a:lnTo>
                      <a:pt x="9298" y="21600"/>
                    </a:lnTo>
                    <a:lnTo>
                      <a:pt x="16777" y="20549"/>
                    </a:lnTo>
                    <a:lnTo>
                      <a:pt x="17849" y="16774"/>
                    </a:lnTo>
                    <a:lnTo>
                      <a:pt x="17849" y="12999"/>
                    </a:lnTo>
                    <a:lnTo>
                      <a:pt x="14300" y="9426"/>
                    </a:lnTo>
                    <a:lnTo>
                      <a:pt x="11643" y="6290"/>
                    </a:lnTo>
                    <a:lnTo>
                      <a:pt x="13250" y="4118"/>
                    </a:lnTo>
                    <a:lnTo>
                      <a:pt x="21600" y="2454"/>
                    </a:lnTo>
                    <a:lnTo>
                      <a:pt x="17255"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60" name="Shape 324">
                <a:extLst>
                  <a:ext uri="{FF2B5EF4-FFF2-40B4-BE49-F238E27FC236}">
                    <a16:creationId xmlns:a16="http://schemas.microsoft.com/office/drawing/2014/main" id="{6B88E25A-826E-4EEF-97CF-C9F81248E4D7}"/>
                  </a:ext>
                </a:extLst>
              </p:cNvPr>
              <p:cNvSpPr/>
              <p:nvPr/>
            </p:nvSpPr>
            <p:spPr>
              <a:xfrm>
                <a:off x="16302634" y="5463991"/>
                <a:ext cx="153635" cy="69865"/>
              </a:xfrm>
              <a:custGeom>
                <a:avLst/>
                <a:gdLst/>
                <a:ahLst/>
                <a:cxnLst>
                  <a:cxn ang="0">
                    <a:pos x="wd2" y="hd2"/>
                  </a:cxn>
                  <a:cxn ang="5400000">
                    <a:pos x="wd2" y="hd2"/>
                  </a:cxn>
                  <a:cxn ang="10800000">
                    <a:pos x="wd2" y="hd2"/>
                  </a:cxn>
                  <a:cxn ang="16200000">
                    <a:pos x="wd2" y="hd2"/>
                  </a:cxn>
                </a:cxnLst>
                <a:rect l="0" t="0" r="r" b="b"/>
                <a:pathLst>
                  <a:path w="21500" h="19363" extrusionOk="0">
                    <a:moveTo>
                      <a:pt x="5683" y="318"/>
                    </a:moveTo>
                    <a:lnTo>
                      <a:pt x="1027" y="1360"/>
                    </a:lnTo>
                    <a:lnTo>
                      <a:pt x="0" y="7059"/>
                    </a:lnTo>
                    <a:lnTo>
                      <a:pt x="2914" y="13850"/>
                    </a:lnTo>
                    <a:lnTo>
                      <a:pt x="8729" y="12808"/>
                    </a:lnTo>
                    <a:lnTo>
                      <a:pt x="9876" y="18864"/>
                    </a:lnTo>
                    <a:lnTo>
                      <a:pt x="14356" y="19363"/>
                    </a:lnTo>
                    <a:cubicBezTo>
                      <a:pt x="15680" y="17818"/>
                      <a:pt x="17000" y="16262"/>
                      <a:pt x="18317" y="14697"/>
                    </a:cubicBezTo>
                    <a:cubicBezTo>
                      <a:pt x="19936" y="12772"/>
                      <a:pt x="21600" y="10321"/>
                      <a:pt x="21495" y="6712"/>
                    </a:cubicBezTo>
                    <a:cubicBezTo>
                      <a:pt x="21234" y="-2237"/>
                      <a:pt x="14529" y="-2237"/>
                      <a:pt x="14268" y="6712"/>
                    </a:cubicBezTo>
                    <a:lnTo>
                      <a:pt x="10052" y="5498"/>
                    </a:lnTo>
                    <a:lnTo>
                      <a:pt x="5683" y="318"/>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61" name="Shape 325">
                <a:extLst>
                  <a:ext uri="{FF2B5EF4-FFF2-40B4-BE49-F238E27FC236}">
                    <a16:creationId xmlns:a16="http://schemas.microsoft.com/office/drawing/2014/main" id="{404C591B-A362-4E82-9E95-C009F0EFF3AD}"/>
                  </a:ext>
                </a:extLst>
              </p:cNvPr>
              <p:cNvSpPr/>
              <p:nvPr/>
            </p:nvSpPr>
            <p:spPr>
              <a:xfrm>
                <a:off x="15986061" y="5842141"/>
                <a:ext cx="248416" cy="150623"/>
              </a:xfrm>
              <a:custGeom>
                <a:avLst/>
                <a:gdLst/>
                <a:ahLst/>
                <a:cxnLst>
                  <a:cxn ang="0">
                    <a:pos x="wd2" y="hd2"/>
                  </a:cxn>
                  <a:cxn ang="5400000">
                    <a:pos x="wd2" y="hd2"/>
                  </a:cxn>
                  <a:cxn ang="10800000">
                    <a:pos x="wd2" y="hd2"/>
                  </a:cxn>
                  <a:cxn ang="16200000">
                    <a:pos x="wd2" y="hd2"/>
                  </a:cxn>
                </a:cxnLst>
                <a:rect l="0" t="0" r="r" b="b"/>
                <a:pathLst>
                  <a:path w="21600" h="21600" extrusionOk="0">
                    <a:moveTo>
                      <a:pt x="14152" y="0"/>
                    </a:moveTo>
                    <a:lnTo>
                      <a:pt x="10628" y="460"/>
                    </a:lnTo>
                    <a:lnTo>
                      <a:pt x="7726" y="4319"/>
                    </a:lnTo>
                    <a:lnTo>
                      <a:pt x="5627" y="8451"/>
                    </a:lnTo>
                    <a:lnTo>
                      <a:pt x="4174" y="14357"/>
                    </a:lnTo>
                    <a:lnTo>
                      <a:pt x="1935" y="16154"/>
                    </a:lnTo>
                    <a:lnTo>
                      <a:pt x="0" y="18468"/>
                    </a:lnTo>
                    <a:lnTo>
                      <a:pt x="1106" y="21600"/>
                    </a:lnTo>
                    <a:lnTo>
                      <a:pt x="6381" y="17839"/>
                    </a:lnTo>
                    <a:lnTo>
                      <a:pt x="8410" y="9597"/>
                    </a:lnTo>
                    <a:lnTo>
                      <a:pt x="11042" y="7530"/>
                    </a:lnTo>
                    <a:lnTo>
                      <a:pt x="13668" y="8597"/>
                    </a:lnTo>
                    <a:lnTo>
                      <a:pt x="17384" y="8597"/>
                    </a:lnTo>
                    <a:lnTo>
                      <a:pt x="21600" y="6531"/>
                    </a:lnTo>
                    <a:lnTo>
                      <a:pt x="19790" y="883"/>
                    </a:lnTo>
                    <a:lnTo>
                      <a:pt x="16677" y="3399"/>
                    </a:lnTo>
                    <a:lnTo>
                      <a:pt x="14152"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62" name="Shape 326">
                <a:extLst>
                  <a:ext uri="{FF2B5EF4-FFF2-40B4-BE49-F238E27FC236}">
                    <a16:creationId xmlns:a16="http://schemas.microsoft.com/office/drawing/2014/main" id="{DBC8B262-9E68-4629-B44C-E1E7427E7B8A}"/>
                  </a:ext>
                </a:extLst>
              </p:cNvPr>
              <p:cNvSpPr/>
              <p:nvPr/>
            </p:nvSpPr>
            <p:spPr>
              <a:xfrm>
                <a:off x="15787002" y="5826569"/>
                <a:ext cx="168252" cy="80617"/>
              </a:xfrm>
              <a:custGeom>
                <a:avLst/>
                <a:gdLst/>
                <a:ahLst/>
                <a:cxnLst>
                  <a:cxn ang="0">
                    <a:pos x="wd2" y="hd2"/>
                  </a:cxn>
                  <a:cxn ang="5400000">
                    <a:pos x="wd2" y="hd2"/>
                  </a:cxn>
                  <a:cxn ang="10800000">
                    <a:pos x="wd2" y="hd2"/>
                  </a:cxn>
                  <a:cxn ang="16200000">
                    <a:pos x="wd2" y="hd2"/>
                  </a:cxn>
                </a:cxnLst>
                <a:rect l="0" t="0" r="r" b="b"/>
                <a:pathLst>
                  <a:path w="20127" h="20202" extrusionOk="0">
                    <a:moveTo>
                      <a:pt x="8120" y="1413"/>
                    </a:moveTo>
                    <a:lnTo>
                      <a:pt x="2989" y="0"/>
                    </a:lnTo>
                    <a:lnTo>
                      <a:pt x="0" y="4386"/>
                    </a:lnTo>
                    <a:lnTo>
                      <a:pt x="2074" y="13178"/>
                    </a:lnTo>
                    <a:lnTo>
                      <a:pt x="6156" y="20202"/>
                    </a:lnTo>
                    <a:lnTo>
                      <a:pt x="9392" y="20202"/>
                    </a:lnTo>
                    <a:cubicBezTo>
                      <a:pt x="9507" y="17730"/>
                      <a:pt x="10179" y="15518"/>
                      <a:pt x="11202" y="14238"/>
                    </a:cubicBezTo>
                    <a:cubicBezTo>
                      <a:pt x="12897" y="12117"/>
                      <a:pt x="14975" y="13081"/>
                      <a:pt x="16937" y="12982"/>
                    </a:cubicBezTo>
                    <a:cubicBezTo>
                      <a:pt x="17858" y="12935"/>
                      <a:pt x="18816" y="12577"/>
                      <a:pt x="19418" y="11137"/>
                    </a:cubicBezTo>
                    <a:cubicBezTo>
                      <a:pt x="21600" y="5910"/>
                      <a:pt x="18293" y="-1398"/>
                      <a:pt x="15654" y="2817"/>
                    </a:cubicBezTo>
                    <a:lnTo>
                      <a:pt x="11513" y="7369"/>
                    </a:lnTo>
                    <a:lnTo>
                      <a:pt x="8120" y="1413"/>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63" name="Shape 327">
                <a:extLst>
                  <a:ext uri="{FF2B5EF4-FFF2-40B4-BE49-F238E27FC236}">
                    <a16:creationId xmlns:a16="http://schemas.microsoft.com/office/drawing/2014/main" id="{04A616BD-8D2C-4FE4-B8F1-18BF9143F7C0}"/>
                  </a:ext>
                </a:extLst>
              </p:cNvPr>
              <p:cNvSpPr/>
              <p:nvPr/>
            </p:nvSpPr>
            <p:spPr>
              <a:xfrm>
                <a:off x="15549236" y="5843066"/>
                <a:ext cx="138078" cy="65143"/>
              </a:xfrm>
              <a:custGeom>
                <a:avLst/>
                <a:gdLst/>
                <a:ahLst/>
                <a:cxnLst>
                  <a:cxn ang="0">
                    <a:pos x="wd2" y="hd2"/>
                  </a:cxn>
                  <a:cxn ang="5400000">
                    <a:pos x="wd2" y="hd2"/>
                  </a:cxn>
                  <a:cxn ang="10800000">
                    <a:pos x="wd2" y="hd2"/>
                  </a:cxn>
                  <a:cxn ang="16200000">
                    <a:pos x="wd2" y="hd2"/>
                  </a:cxn>
                </a:cxnLst>
                <a:rect l="0" t="0" r="r" b="b"/>
                <a:pathLst>
                  <a:path w="21600" h="21600" extrusionOk="0">
                    <a:moveTo>
                      <a:pt x="11859" y="1149"/>
                    </a:moveTo>
                    <a:lnTo>
                      <a:pt x="16794" y="1980"/>
                    </a:lnTo>
                    <a:lnTo>
                      <a:pt x="20811" y="5943"/>
                    </a:lnTo>
                    <a:lnTo>
                      <a:pt x="21600" y="15447"/>
                    </a:lnTo>
                    <a:lnTo>
                      <a:pt x="15100" y="14824"/>
                    </a:lnTo>
                    <a:lnTo>
                      <a:pt x="10412" y="21600"/>
                    </a:lnTo>
                    <a:lnTo>
                      <a:pt x="4161" y="15786"/>
                    </a:lnTo>
                    <a:lnTo>
                      <a:pt x="0" y="8515"/>
                    </a:lnTo>
                    <a:lnTo>
                      <a:pt x="3564" y="3114"/>
                    </a:lnTo>
                    <a:lnTo>
                      <a:pt x="8770" y="0"/>
                    </a:lnTo>
                    <a:lnTo>
                      <a:pt x="11859" y="1149"/>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64" name="Shape 328">
                <a:extLst>
                  <a:ext uri="{FF2B5EF4-FFF2-40B4-BE49-F238E27FC236}">
                    <a16:creationId xmlns:a16="http://schemas.microsoft.com/office/drawing/2014/main" id="{335DC66F-B194-49F4-9DED-A8069A47C5C4}"/>
                  </a:ext>
                </a:extLst>
              </p:cNvPr>
              <p:cNvSpPr/>
              <p:nvPr/>
            </p:nvSpPr>
            <p:spPr>
              <a:xfrm>
                <a:off x="15717766" y="5917528"/>
                <a:ext cx="102501" cy="58265"/>
              </a:xfrm>
              <a:custGeom>
                <a:avLst/>
                <a:gdLst/>
                <a:ahLst/>
                <a:cxnLst>
                  <a:cxn ang="0">
                    <a:pos x="wd2" y="hd2"/>
                  </a:cxn>
                  <a:cxn ang="5400000">
                    <a:pos x="wd2" y="hd2"/>
                  </a:cxn>
                  <a:cxn ang="10800000">
                    <a:pos x="wd2" y="hd2"/>
                  </a:cxn>
                  <a:cxn ang="16200000">
                    <a:pos x="wd2" y="hd2"/>
                  </a:cxn>
                </a:cxnLst>
                <a:rect l="0" t="0" r="r" b="b"/>
                <a:pathLst>
                  <a:path w="21600" h="21600" extrusionOk="0">
                    <a:moveTo>
                      <a:pt x="7893" y="1028"/>
                    </a:moveTo>
                    <a:lnTo>
                      <a:pt x="16832" y="971"/>
                    </a:lnTo>
                    <a:lnTo>
                      <a:pt x="20420" y="11208"/>
                    </a:lnTo>
                    <a:lnTo>
                      <a:pt x="21600" y="21600"/>
                    </a:lnTo>
                    <a:lnTo>
                      <a:pt x="16982" y="18870"/>
                    </a:lnTo>
                    <a:lnTo>
                      <a:pt x="11664" y="14489"/>
                    </a:lnTo>
                    <a:lnTo>
                      <a:pt x="5019" y="13095"/>
                    </a:lnTo>
                    <a:lnTo>
                      <a:pt x="0" y="8275"/>
                    </a:lnTo>
                    <a:lnTo>
                      <a:pt x="451" y="0"/>
                    </a:lnTo>
                    <a:lnTo>
                      <a:pt x="7893" y="1028"/>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65" name="Shape 329">
                <a:extLst>
                  <a:ext uri="{FF2B5EF4-FFF2-40B4-BE49-F238E27FC236}">
                    <a16:creationId xmlns:a16="http://schemas.microsoft.com/office/drawing/2014/main" id="{B4CC4C03-F25C-47E6-BC7E-4EBDA5F4CEA8}"/>
                  </a:ext>
                </a:extLst>
              </p:cNvPr>
              <p:cNvSpPr/>
              <p:nvPr/>
            </p:nvSpPr>
            <p:spPr>
              <a:xfrm>
                <a:off x="14876217" y="5688457"/>
                <a:ext cx="616434" cy="175915"/>
              </a:xfrm>
              <a:custGeom>
                <a:avLst/>
                <a:gdLst/>
                <a:ahLst/>
                <a:cxnLst>
                  <a:cxn ang="0">
                    <a:pos x="wd2" y="hd2"/>
                  </a:cxn>
                  <a:cxn ang="5400000">
                    <a:pos x="wd2" y="hd2"/>
                  </a:cxn>
                  <a:cxn ang="10800000">
                    <a:pos x="wd2" y="hd2"/>
                  </a:cxn>
                  <a:cxn ang="16200000">
                    <a:pos x="wd2" y="hd2"/>
                  </a:cxn>
                </a:cxnLst>
                <a:rect l="0" t="0" r="r" b="b"/>
                <a:pathLst>
                  <a:path w="21600" h="21600" extrusionOk="0">
                    <a:moveTo>
                      <a:pt x="3462" y="0"/>
                    </a:moveTo>
                    <a:lnTo>
                      <a:pt x="5763" y="1193"/>
                    </a:lnTo>
                    <a:lnTo>
                      <a:pt x="7140" y="6505"/>
                    </a:lnTo>
                    <a:lnTo>
                      <a:pt x="8532" y="9504"/>
                    </a:lnTo>
                    <a:lnTo>
                      <a:pt x="10248" y="8812"/>
                    </a:lnTo>
                    <a:lnTo>
                      <a:pt x="11883" y="6582"/>
                    </a:lnTo>
                    <a:lnTo>
                      <a:pt x="13403" y="5274"/>
                    </a:lnTo>
                    <a:lnTo>
                      <a:pt x="14790" y="7803"/>
                    </a:lnTo>
                    <a:lnTo>
                      <a:pt x="15917" y="11562"/>
                    </a:lnTo>
                    <a:lnTo>
                      <a:pt x="17221" y="12706"/>
                    </a:lnTo>
                    <a:lnTo>
                      <a:pt x="18945" y="12706"/>
                    </a:lnTo>
                    <a:lnTo>
                      <a:pt x="21465" y="16859"/>
                    </a:lnTo>
                    <a:lnTo>
                      <a:pt x="21600" y="19533"/>
                    </a:lnTo>
                    <a:lnTo>
                      <a:pt x="21006" y="21369"/>
                    </a:lnTo>
                    <a:lnTo>
                      <a:pt x="19970" y="21600"/>
                    </a:lnTo>
                    <a:lnTo>
                      <a:pt x="18003" y="19138"/>
                    </a:lnTo>
                    <a:lnTo>
                      <a:pt x="15022" y="18215"/>
                    </a:lnTo>
                    <a:lnTo>
                      <a:pt x="11204" y="18215"/>
                    </a:lnTo>
                    <a:lnTo>
                      <a:pt x="9900" y="15985"/>
                    </a:lnTo>
                    <a:lnTo>
                      <a:pt x="8817" y="13601"/>
                    </a:lnTo>
                    <a:lnTo>
                      <a:pt x="7759" y="13380"/>
                    </a:lnTo>
                    <a:lnTo>
                      <a:pt x="6457" y="15686"/>
                    </a:lnTo>
                    <a:cubicBezTo>
                      <a:pt x="6016" y="15792"/>
                      <a:pt x="5574" y="15767"/>
                      <a:pt x="5134" y="15610"/>
                    </a:cubicBezTo>
                    <a:cubicBezTo>
                      <a:pt x="4240" y="15293"/>
                      <a:pt x="3369" y="14440"/>
                      <a:pt x="2559" y="13091"/>
                    </a:cubicBezTo>
                    <a:cubicBezTo>
                      <a:pt x="2427" y="12283"/>
                      <a:pt x="2248" y="11576"/>
                      <a:pt x="2036" y="11014"/>
                    </a:cubicBezTo>
                    <a:cubicBezTo>
                      <a:pt x="1623" y="9923"/>
                      <a:pt x="1105" y="9427"/>
                      <a:pt x="590" y="9629"/>
                    </a:cubicBezTo>
                    <a:lnTo>
                      <a:pt x="0" y="6938"/>
                    </a:lnTo>
                    <a:lnTo>
                      <a:pt x="743" y="3332"/>
                    </a:lnTo>
                    <a:lnTo>
                      <a:pt x="1495" y="2410"/>
                    </a:lnTo>
                    <a:lnTo>
                      <a:pt x="3462"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66" name="Shape 330">
                <a:extLst>
                  <a:ext uri="{FF2B5EF4-FFF2-40B4-BE49-F238E27FC236}">
                    <a16:creationId xmlns:a16="http://schemas.microsoft.com/office/drawing/2014/main" id="{C0B099F8-F49C-40EE-8037-437F530BFA61}"/>
                  </a:ext>
                </a:extLst>
              </p:cNvPr>
              <p:cNvSpPr/>
              <p:nvPr/>
            </p:nvSpPr>
            <p:spPr>
              <a:xfrm>
                <a:off x="14266136" y="4900992"/>
                <a:ext cx="656683" cy="770904"/>
              </a:xfrm>
              <a:custGeom>
                <a:avLst/>
                <a:gdLst/>
                <a:ahLst/>
                <a:cxnLst>
                  <a:cxn ang="0">
                    <a:pos x="wd2" y="hd2"/>
                  </a:cxn>
                  <a:cxn ang="5400000">
                    <a:pos x="wd2" y="hd2"/>
                  </a:cxn>
                  <a:cxn ang="10800000">
                    <a:pos x="wd2" y="hd2"/>
                  </a:cxn>
                  <a:cxn ang="16200000">
                    <a:pos x="wd2" y="hd2"/>
                  </a:cxn>
                </a:cxnLst>
                <a:rect l="0" t="0" r="r" b="b"/>
                <a:pathLst>
                  <a:path w="21600" h="21600" extrusionOk="0">
                    <a:moveTo>
                      <a:pt x="0" y="184"/>
                    </a:moveTo>
                    <a:lnTo>
                      <a:pt x="993" y="0"/>
                    </a:lnTo>
                    <a:lnTo>
                      <a:pt x="1986" y="598"/>
                    </a:lnTo>
                    <a:lnTo>
                      <a:pt x="2816" y="1157"/>
                    </a:lnTo>
                    <a:lnTo>
                      <a:pt x="4289" y="1420"/>
                    </a:lnTo>
                    <a:lnTo>
                      <a:pt x="5451" y="2210"/>
                    </a:lnTo>
                    <a:lnTo>
                      <a:pt x="5555" y="3015"/>
                    </a:lnTo>
                    <a:lnTo>
                      <a:pt x="6776" y="3171"/>
                    </a:lnTo>
                    <a:lnTo>
                      <a:pt x="7274" y="4172"/>
                    </a:lnTo>
                    <a:lnTo>
                      <a:pt x="7521" y="5067"/>
                    </a:lnTo>
                    <a:lnTo>
                      <a:pt x="8703" y="5646"/>
                    </a:lnTo>
                    <a:lnTo>
                      <a:pt x="10010" y="6313"/>
                    </a:lnTo>
                    <a:lnTo>
                      <a:pt x="11379" y="7204"/>
                    </a:lnTo>
                    <a:lnTo>
                      <a:pt x="13037" y="8026"/>
                    </a:lnTo>
                    <a:lnTo>
                      <a:pt x="14033" y="8799"/>
                    </a:lnTo>
                    <a:lnTo>
                      <a:pt x="14551" y="9185"/>
                    </a:lnTo>
                    <a:lnTo>
                      <a:pt x="15132" y="9746"/>
                    </a:lnTo>
                    <a:lnTo>
                      <a:pt x="15630" y="10424"/>
                    </a:lnTo>
                    <a:lnTo>
                      <a:pt x="15570" y="11405"/>
                    </a:lnTo>
                    <a:lnTo>
                      <a:pt x="15570" y="12087"/>
                    </a:lnTo>
                    <a:lnTo>
                      <a:pt x="16649" y="12471"/>
                    </a:lnTo>
                    <a:lnTo>
                      <a:pt x="17617" y="13079"/>
                    </a:lnTo>
                    <a:lnTo>
                      <a:pt x="17866" y="14746"/>
                    </a:lnTo>
                    <a:lnTo>
                      <a:pt x="19276" y="15306"/>
                    </a:lnTo>
                    <a:lnTo>
                      <a:pt x="20065" y="16197"/>
                    </a:lnTo>
                    <a:lnTo>
                      <a:pt x="20874" y="16512"/>
                    </a:lnTo>
                    <a:lnTo>
                      <a:pt x="21247" y="17881"/>
                    </a:lnTo>
                    <a:lnTo>
                      <a:pt x="21600" y="18880"/>
                    </a:lnTo>
                    <a:lnTo>
                      <a:pt x="20980" y="20073"/>
                    </a:lnTo>
                    <a:lnTo>
                      <a:pt x="19738" y="21284"/>
                    </a:lnTo>
                    <a:lnTo>
                      <a:pt x="18825" y="21600"/>
                    </a:lnTo>
                    <a:lnTo>
                      <a:pt x="17920" y="20918"/>
                    </a:lnTo>
                    <a:lnTo>
                      <a:pt x="16761" y="20657"/>
                    </a:lnTo>
                    <a:lnTo>
                      <a:pt x="16221" y="20130"/>
                    </a:lnTo>
                    <a:lnTo>
                      <a:pt x="15871" y="19375"/>
                    </a:lnTo>
                    <a:lnTo>
                      <a:pt x="14730" y="18518"/>
                    </a:lnTo>
                    <a:lnTo>
                      <a:pt x="12845" y="16958"/>
                    </a:lnTo>
                    <a:cubicBezTo>
                      <a:pt x="12017" y="16567"/>
                      <a:pt x="11468" y="15860"/>
                      <a:pt x="11372" y="15062"/>
                    </a:cubicBezTo>
                    <a:cubicBezTo>
                      <a:pt x="11299" y="14464"/>
                      <a:pt x="11495" y="13846"/>
                      <a:pt x="11270" y="13272"/>
                    </a:cubicBezTo>
                    <a:cubicBezTo>
                      <a:pt x="11040" y="12683"/>
                      <a:pt x="10437" y="12286"/>
                      <a:pt x="9880" y="11886"/>
                    </a:cubicBezTo>
                    <a:cubicBezTo>
                      <a:pt x="9302" y="11470"/>
                      <a:pt x="8755" y="11024"/>
                      <a:pt x="8241" y="10552"/>
                    </a:cubicBezTo>
                    <a:lnTo>
                      <a:pt x="7806" y="8674"/>
                    </a:lnTo>
                    <a:lnTo>
                      <a:pt x="6997" y="7096"/>
                    </a:lnTo>
                    <a:lnTo>
                      <a:pt x="5321" y="5752"/>
                    </a:lnTo>
                    <a:lnTo>
                      <a:pt x="3277" y="4023"/>
                    </a:lnTo>
                    <a:lnTo>
                      <a:pt x="2077" y="3410"/>
                    </a:lnTo>
                    <a:lnTo>
                      <a:pt x="505" y="1818"/>
                    </a:lnTo>
                    <a:lnTo>
                      <a:pt x="256" y="1168"/>
                    </a:lnTo>
                    <a:lnTo>
                      <a:pt x="0" y="184"/>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67" name="Shape 331">
                <a:extLst>
                  <a:ext uri="{FF2B5EF4-FFF2-40B4-BE49-F238E27FC236}">
                    <a16:creationId xmlns:a16="http://schemas.microsoft.com/office/drawing/2014/main" id="{69821DFA-5FA9-4BEF-B46A-58DAED63E573}"/>
                  </a:ext>
                </a:extLst>
              </p:cNvPr>
              <p:cNvSpPr/>
              <p:nvPr/>
            </p:nvSpPr>
            <p:spPr>
              <a:xfrm>
                <a:off x="13260404" y="4642525"/>
                <a:ext cx="141617" cy="213335"/>
              </a:xfrm>
              <a:custGeom>
                <a:avLst/>
                <a:gdLst/>
                <a:ahLst/>
                <a:cxnLst>
                  <a:cxn ang="0">
                    <a:pos x="wd2" y="hd2"/>
                  </a:cxn>
                  <a:cxn ang="5400000">
                    <a:pos x="wd2" y="hd2"/>
                  </a:cxn>
                  <a:cxn ang="10800000">
                    <a:pos x="wd2" y="hd2"/>
                  </a:cxn>
                  <a:cxn ang="16200000">
                    <a:pos x="wd2" y="hd2"/>
                  </a:cxn>
                </a:cxnLst>
                <a:rect l="0" t="0" r="r" b="b"/>
                <a:pathLst>
                  <a:path w="21600" h="21600" extrusionOk="0">
                    <a:moveTo>
                      <a:pt x="4600" y="0"/>
                    </a:moveTo>
                    <a:lnTo>
                      <a:pt x="8713" y="182"/>
                    </a:lnTo>
                    <a:lnTo>
                      <a:pt x="10921" y="4429"/>
                    </a:lnTo>
                    <a:lnTo>
                      <a:pt x="14685" y="8044"/>
                    </a:lnTo>
                    <a:lnTo>
                      <a:pt x="18425" y="9946"/>
                    </a:lnTo>
                    <a:lnTo>
                      <a:pt x="21600" y="14767"/>
                    </a:lnTo>
                    <a:lnTo>
                      <a:pt x="19964" y="17676"/>
                    </a:lnTo>
                    <a:lnTo>
                      <a:pt x="13230" y="21600"/>
                    </a:lnTo>
                    <a:lnTo>
                      <a:pt x="5665" y="20649"/>
                    </a:lnTo>
                    <a:lnTo>
                      <a:pt x="3657" y="18389"/>
                    </a:lnTo>
                    <a:lnTo>
                      <a:pt x="2585" y="13196"/>
                    </a:lnTo>
                    <a:lnTo>
                      <a:pt x="0" y="7869"/>
                    </a:lnTo>
                    <a:lnTo>
                      <a:pt x="285" y="4698"/>
                    </a:lnTo>
                    <a:lnTo>
                      <a:pt x="4600"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68" name="Shape 332">
                <a:extLst>
                  <a:ext uri="{FF2B5EF4-FFF2-40B4-BE49-F238E27FC236}">
                    <a16:creationId xmlns:a16="http://schemas.microsoft.com/office/drawing/2014/main" id="{2EC1FDB1-B31E-4D62-9679-E84C3088B3C7}"/>
                  </a:ext>
                </a:extLst>
              </p:cNvPr>
              <p:cNvSpPr/>
              <p:nvPr/>
            </p:nvSpPr>
            <p:spPr>
              <a:xfrm>
                <a:off x="12810165" y="4875539"/>
                <a:ext cx="37587" cy="46222"/>
              </a:xfrm>
              <a:custGeom>
                <a:avLst/>
                <a:gdLst/>
                <a:ahLst/>
                <a:cxnLst>
                  <a:cxn ang="0">
                    <a:pos x="wd2" y="hd2"/>
                  </a:cxn>
                  <a:cxn ang="5400000">
                    <a:pos x="wd2" y="hd2"/>
                  </a:cxn>
                  <a:cxn ang="10800000">
                    <a:pos x="wd2" y="hd2"/>
                  </a:cxn>
                  <a:cxn ang="16200000">
                    <a:pos x="wd2" y="hd2"/>
                  </a:cxn>
                </a:cxnLst>
                <a:rect l="0" t="0" r="r" b="b"/>
                <a:pathLst>
                  <a:path w="21600" h="21600" extrusionOk="0">
                    <a:moveTo>
                      <a:pt x="8606" y="3000"/>
                    </a:moveTo>
                    <a:lnTo>
                      <a:pt x="21600" y="0"/>
                    </a:lnTo>
                    <a:lnTo>
                      <a:pt x="18445" y="10511"/>
                    </a:lnTo>
                    <a:lnTo>
                      <a:pt x="15227" y="21600"/>
                    </a:lnTo>
                    <a:lnTo>
                      <a:pt x="0" y="20686"/>
                    </a:lnTo>
                    <a:lnTo>
                      <a:pt x="8606" y="300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69" name="Shape 333">
                <a:extLst>
                  <a:ext uri="{FF2B5EF4-FFF2-40B4-BE49-F238E27FC236}">
                    <a16:creationId xmlns:a16="http://schemas.microsoft.com/office/drawing/2014/main" id="{B5087622-C854-444A-B69B-072BE5CB21F2}"/>
                  </a:ext>
                </a:extLst>
              </p:cNvPr>
              <p:cNvSpPr/>
              <p:nvPr/>
            </p:nvSpPr>
            <p:spPr>
              <a:xfrm>
                <a:off x="12803918" y="4967461"/>
                <a:ext cx="40080" cy="37489"/>
              </a:xfrm>
              <a:custGeom>
                <a:avLst/>
                <a:gdLst/>
                <a:ahLst/>
                <a:cxnLst>
                  <a:cxn ang="0">
                    <a:pos x="wd2" y="hd2"/>
                  </a:cxn>
                  <a:cxn ang="5400000">
                    <a:pos x="wd2" y="hd2"/>
                  </a:cxn>
                  <a:cxn ang="10800000">
                    <a:pos x="wd2" y="hd2"/>
                  </a:cxn>
                  <a:cxn ang="16200000">
                    <a:pos x="wd2" y="hd2"/>
                  </a:cxn>
                </a:cxnLst>
                <a:rect l="0" t="0" r="r" b="b"/>
                <a:pathLst>
                  <a:path w="21600" h="21600" extrusionOk="0">
                    <a:moveTo>
                      <a:pt x="10494" y="0"/>
                    </a:moveTo>
                    <a:lnTo>
                      <a:pt x="0" y="8708"/>
                    </a:lnTo>
                    <a:lnTo>
                      <a:pt x="11400" y="21600"/>
                    </a:lnTo>
                    <a:lnTo>
                      <a:pt x="21600" y="9737"/>
                    </a:lnTo>
                    <a:lnTo>
                      <a:pt x="10494"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70" name="Shape 334">
                <a:extLst>
                  <a:ext uri="{FF2B5EF4-FFF2-40B4-BE49-F238E27FC236}">
                    <a16:creationId xmlns:a16="http://schemas.microsoft.com/office/drawing/2014/main" id="{8168E49B-9AC9-40E0-8E29-4D05BAD7476F}"/>
                  </a:ext>
                </a:extLst>
              </p:cNvPr>
              <p:cNvSpPr/>
              <p:nvPr/>
            </p:nvSpPr>
            <p:spPr>
              <a:xfrm>
                <a:off x="12762559" y="4817982"/>
                <a:ext cx="35040" cy="37875"/>
              </a:xfrm>
              <a:custGeom>
                <a:avLst/>
                <a:gdLst/>
                <a:ahLst/>
                <a:cxnLst>
                  <a:cxn ang="0">
                    <a:pos x="wd2" y="hd2"/>
                  </a:cxn>
                  <a:cxn ang="5400000">
                    <a:pos x="wd2" y="hd2"/>
                  </a:cxn>
                  <a:cxn ang="10800000">
                    <a:pos x="wd2" y="hd2"/>
                  </a:cxn>
                  <a:cxn ang="16200000">
                    <a:pos x="wd2" y="hd2"/>
                  </a:cxn>
                </a:cxnLst>
                <a:rect l="0" t="0" r="r" b="b"/>
                <a:pathLst>
                  <a:path w="21600" h="21600" extrusionOk="0">
                    <a:moveTo>
                      <a:pt x="11886" y="0"/>
                    </a:moveTo>
                    <a:lnTo>
                      <a:pt x="0" y="12052"/>
                    </a:lnTo>
                    <a:lnTo>
                      <a:pt x="10759" y="21600"/>
                    </a:lnTo>
                    <a:lnTo>
                      <a:pt x="21600" y="9540"/>
                    </a:lnTo>
                    <a:lnTo>
                      <a:pt x="11886"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71" name="Shape 335">
                <a:extLst>
                  <a:ext uri="{FF2B5EF4-FFF2-40B4-BE49-F238E27FC236}">
                    <a16:creationId xmlns:a16="http://schemas.microsoft.com/office/drawing/2014/main" id="{5BD181F7-E0FD-48B9-8A36-B88BC7B26FAF}"/>
                  </a:ext>
                </a:extLst>
              </p:cNvPr>
              <p:cNvSpPr/>
              <p:nvPr/>
            </p:nvSpPr>
            <p:spPr>
              <a:xfrm>
                <a:off x="11347832" y="3459999"/>
                <a:ext cx="41575" cy="57999"/>
              </a:xfrm>
              <a:custGeom>
                <a:avLst/>
                <a:gdLst/>
                <a:ahLst/>
                <a:cxnLst>
                  <a:cxn ang="0">
                    <a:pos x="wd2" y="hd2"/>
                  </a:cxn>
                  <a:cxn ang="5400000">
                    <a:pos x="wd2" y="hd2"/>
                  </a:cxn>
                  <a:cxn ang="10800000">
                    <a:pos x="wd2" y="hd2"/>
                  </a:cxn>
                  <a:cxn ang="16200000">
                    <a:pos x="wd2" y="hd2"/>
                  </a:cxn>
                </a:cxnLst>
                <a:rect l="0" t="0" r="r" b="b"/>
                <a:pathLst>
                  <a:path w="21600" h="21600" extrusionOk="0">
                    <a:moveTo>
                      <a:pt x="18226" y="0"/>
                    </a:moveTo>
                    <a:lnTo>
                      <a:pt x="0" y="6738"/>
                    </a:lnTo>
                    <a:lnTo>
                      <a:pt x="6059" y="21600"/>
                    </a:lnTo>
                    <a:lnTo>
                      <a:pt x="21600" y="18596"/>
                    </a:lnTo>
                    <a:lnTo>
                      <a:pt x="18226"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72" name="Shape 336">
                <a:extLst>
                  <a:ext uri="{FF2B5EF4-FFF2-40B4-BE49-F238E27FC236}">
                    <a16:creationId xmlns:a16="http://schemas.microsoft.com/office/drawing/2014/main" id="{29DC9519-1BE3-4CB7-BEB6-BF521A7C2808}"/>
                  </a:ext>
                </a:extLst>
              </p:cNvPr>
              <p:cNvSpPr/>
              <p:nvPr/>
            </p:nvSpPr>
            <p:spPr>
              <a:xfrm>
                <a:off x="10213086" y="2861941"/>
                <a:ext cx="125064" cy="82730"/>
              </a:xfrm>
              <a:custGeom>
                <a:avLst/>
                <a:gdLst/>
                <a:ahLst/>
                <a:cxnLst>
                  <a:cxn ang="0">
                    <a:pos x="wd2" y="hd2"/>
                  </a:cxn>
                  <a:cxn ang="5400000">
                    <a:pos x="wd2" y="hd2"/>
                  </a:cxn>
                  <a:cxn ang="10800000">
                    <a:pos x="wd2" y="hd2"/>
                  </a:cxn>
                  <a:cxn ang="16200000">
                    <a:pos x="wd2" y="hd2"/>
                  </a:cxn>
                </a:cxnLst>
                <a:rect l="0" t="0" r="r" b="b"/>
                <a:pathLst>
                  <a:path w="21600" h="21600" extrusionOk="0">
                    <a:moveTo>
                      <a:pt x="16119" y="0"/>
                    </a:moveTo>
                    <a:lnTo>
                      <a:pt x="12851" y="4376"/>
                    </a:lnTo>
                    <a:lnTo>
                      <a:pt x="8517" y="6430"/>
                    </a:lnTo>
                    <a:lnTo>
                      <a:pt x="671" y="5939"/>
                    </a:lnTo>
                    <a:lnTo>
                      <a:pt x="0" y="12809"/>
                    </a:lnTo>
                    <a:lnTo>
                      <a:pt x="3338" y="16202"/>
                    </a:lnTo>
                    <a:lnTo>
                      <a:pt x="10189" y="21600"/>
                    </a:lnTo>
                    <a:lnTo>
                      <a:pt x="13007" y="15425"/>
                    </a:lnTo>
                    <a:lnTo>
                      <a:pt x="16167" y="10356"/>
                    </a:lnTo>
                    <a:lnTo>
                      <a:pt x="19327" y="7105"/>
                    </a:lnTo>
                    <a:lnTo>
                      <a:pt x="21600" y="1381"/>
                    </a:lnTo>
                    <a:lnTo>
                      <a:pt x="16119"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73" name="Shape 337">
                <a:extLst>
                  <a:ext uri="{FF2B5EF4-FFF2-40B4-BE49-F238E27FC236}">
                    <a16:creationId xmlns:a16="http://schemas.microsoft.com/office/drawing/2014/main" id="{F07AFDFD-035B-428E-ABAD-61C5FC87A059}"/>
                  </a:ext>
                </a:extLst>
              </p:cNvPr>
              <p:cNvSpPr/>
              <p:nvPr/>
            </p:nvSpPr>
            <p:spPr>
              <a:xfrm>
                <a:off x="7782967" y="629926"/>
                <a:ext cx="3799728" cy="2213424"/>
              </a:xfrm>
              <a:custGeom>
                <a:avLst/>
                <a:gdLst/>
                <a:ahLst/>
                <a:cxnLst>
                  <a:cxn ang="0">
                    <a:pos x="wd2" y="hd2"/>
                  </a:cxn>
                  <a:cxn ang="5400000">
                    <a:pos x="wd2" y="hd2"/>
                  </a:cxn>
                  <a:cxn ang="10800000">
                    <a:pos x="wd2" y="hd2"/>
                  </a:cxn>
                  <a:cxn ang="16200000">
                    <a:pos x="wd2" y="hd2"/>
                  </a:cxn>
                </a:cxnLst>
                <a:rect l="0" t="0" r="r" b="b"/>
                <a:pathLst>
                  <a:path w="21600" h="21600" extrusionOk="0">
                    <a:moveTo>
                      <a:pt x="20807" y="1150"/>
                    </a:moveTo>
                    <a:lnTo>
                      <a:pt x="20140" y="892"/>
                    </a:lnTo>
                    <a:lnTo>
                      <a:pt x="19827" y="747"/>
                    </a:lnTo>
                    <a:lnTo>
                      <a:pt x="19506" y="542"/>
                    </a:lnTo>
                    <a:lnTo>
                      <a:pt x="19194" y="459"/>
                    </a:lnTo>
                    <a:lnTo>
                      <a:pt x="18976" y="267"/>
                    </a:lnTo>
                    <a:lnTo>
                      <a:pt x="18803" y="212"/>
                    </a:lnTo>
                    <a:lnTo>
                      <a:pt x="18690" y="293"/>
                    </a:lnTo>
                    <a:lnTo>
                      <a:pt x="18482" y="457"/>
                    </a:lnTo>
                    <a:lnTo>
                      <a:pt x="18589" y="626"/>
                    </a:lnTo>
                    <a:lnTo>
                      <a:pt x="18799" y="626"/>
                    </a:lnTo>
                    <a:lnTo>
                      <a:pt x="18944" y="749"/>
                    </a:lnTo>
                    <a:lnTo>
                      <a:pt x="19057" y="799"/>
                    </a:lnTo>
                    <a:lnTo>
                      <a:pt x="19162" y="663"/>
                    </a:lnTo>
                    <a:lnTo>
                      <a:pt x="19282" y="649"/>
                    </a:lnTo>
                    <a:lnTo>
                      <a:pt x="19425" y="814"/>
                    </a:lnTo>
                    <a:lnTo>
                      <a:pt x="19336" y="1164"/>
                    </a:lnTo>
                    <a:lnTo>
                      <a:pt x="19232" y="1314"/>
                    </a:lnTo>
                    <a:lnTo>
                      <a:pt x="19042" y="1149"/>
                    </a:lnTo>
                    <a:lnTo>
                      <a:pt x="18875" y="1149"/>
                    </a:lnTo>
                    <a:lnTo>
                      <a:pt x="18733" y="1250"/>
                    </a:lnTo>
                    <a:lnTo>
                      <a:pt x="18426" y="1346"/>
                    </a:lnTo>
                    <a:lnTo>
                      <a:pt x="18234" y="1428"/>
                    </a:lnTo>
                    <a:lnTo>
                      <a:pt x="18001" y="1483"/>
                    </a:lnTo>
                    <a:lnTo>
                      <a:pt x="17885" y="1455"/>
                    </a:lnTo>
                    <a:lnTo>
                      <a:pt x="17764" y="1282"/>
                    </a:lnTo>
                    <a:lnTo>
                      <a:pt x="17591" y="1204"/>
                    </a:lnTo>
                    <a:lnTo>
                      <a:pt x="17472" y="1218"/>
                    </a:lnTo>
                    <a:lnTo>
                      <a:pt x="17205" y="1314"/>
                    </a:lnTo>
                    <a:lnTo>
                      <a:pt x="16942" y="1479"/>
                    </a:lnTo>
                    <a:lnTo>
                      <a:pt x="16671" y="1671"/>
                    </a:lnTo>
                    <a:lnTo>
                      <a:pt x="16451" y="1882"/>
                    </a:lnTo>
                    <a:lnTo>
                      <a:pt x="16191" y="2147"/>
                    </a:lnTo>
                    <a:lnTo>
                      <a:pt x="16038" y="2203"/>
                    </a:lnTo>
                    <a:lnTo>
                      <a:pt x="15932" y="2029"/>
                    </a:lnTo>
                    <a:lnTo>
                      <a:pt x="15829" y="1988"/>
                    </a:lnTo>
                    <a:lnTo>
                      <a:pt x="15732" y="1892"/>
                    </a:lnTo>
                    <a:lnTo>
                      <a:pt x="15762" y="1710"/>
                    </a:lnTo>
                    <a:lnTo>
                      <a:pt x="15657" y="1417"/>
                    </a:lnTo>
                    <a:lnTo>
                      <a:pt x="15517" y="1390"/>
                    </a:lnTo>
                    <a:lnTo>
                      <a:pt x="15378" y="1390"/>
                    </a:lnTo>
                    <a:lnTo>
                      <a:pt x="15253" y="1481"/>
                    </a:lnTo>
                    <a:lnTo>
                      <a:pt x="15278" y="1641"/>
                    </a:lnTo>
                    <a:lnTo>
                      <a:pt x="15392" y="1819"/>
                    </a:lnTo>
                    <a:lnTo>
                      <a:pt x="15384" y="1998"/>
                    </a:lnTo>
                    <a:lnTo>
                      <a:pt x="15457" y="2135"/>
                    </a:lnTo>
                    <a:lnTo>
                      <a:pt x="15449" y="2313"/>
                    </a:lnTo>
                    <a:lnTo>
                      <a:pt x="15372" y="2418"/>
                    </a:lnTo>
                    <a:lnTo>
                      <a:pt x="15165" y="2528"/>
                    </a:lnTo>
                    <a:lnTo>
                      <a:pt x="14864" y="2652"/>
                    </a:lnTo>
                    <a:lnTo>
                      <a:pt x="14558" y="2802"/>
                    </a:lnTo>
                    <a:lnTo>
                      <a:pt x="14501" y="2964"/>
                    </a:lnTo>
                    <a:lnTo>
                      <a:pt x="14580" y="3129"/>
                    </a:lnTo>
                    <a:lnTo>
                      <a:pt x="14535" y="3260"/>
                    </a:lnTo>
                    <a:lnTo>
                      <a:pt x="14301" y="3357"/>
                    </a:lnTo>
                    <a:lnTo>
                      <a:pt x="14167" y="3571"/>
                    </a:lnTo>
                    <a:lnTo>
                      <a:pt x="14002" y="3383"/>
                    </a:lnTo>
                    <a:lnTo>
                      <a:pt x="13882" y="3233"/>
                    </a:lnTo>
                    <a:lnTo>
                      <a:pt x="13736" y="3151"/>
                    </a:lnTo>
                    <a:lnTo>
                      <a:pt x="13601" y="3165"/>
                    </a:lnTo>
                    <a:lnTo>
                      <a:pt x="13544" y="3303"/>
                    </a:lnTo>
                    <a:lnTo>
                      <a:pt x="13684" y="3412"/>
                    </a:lnTo>
                    <a:lnTo>
                      <a:pt x="13810" y="3412"/>
                    </a:lnTo>
                    <a:lnTo>
                      <a:pt x="13898" y="3509"/>
                    </a:lnTo>
                    <a:lnTo>
                      <a:pt x="13968" y="3600"/>
                    </a:lnTo>
                    <a:lnTo>
                      <a:pt x="14044" y="3723"/>
                    </a:lnTo>
                    <a:lnTo>
                      <a:pt x="13921" y="3938"/>
                    </a:lnTo>
                    <a:lnTo>
                      <a:pt x="13743" y="3952"/>
                    </a:lnTo>
                    <a:lnTo>
                      <a:pt x="13682" y="4102"/>
                    </a:lnTo>
                    <a:lnTo>
                      <a:pt x="13545" y="4125"/>
                    </a:lnTo>
                    <a:lnTo>
                      <a:pt x="13425" y="3918"/>
                    </a:lnTo>
                    <a:lnTo>
                      <a:pt x="13296" y="3768"/>
                    </a:lnTo>
                    <a:lnTo>
                      <a:pt x="13175" y="3714"/>
                    </a:lnTo>
                    <a:lnTo>
                      <a:pt x="13055" y="3663"/>
                    </a:lnTo>
                    <a:lnTo>
                      <a:pt x="12975" y="3430"/>
                    </a:lnTo>
                    <a:lnTo>
                      <a:pt x="12892" y="3238"/>
                    </a:lnTo>
                    <a:lnTo>
                      <a:pt x="12851" y="3047"/>
                    </a:lnTo>
                    <a:lnTo>
                      <a:pt x="12766" y="2877"/>
                    </a:lnTo>
                    <a:lnTo>
                      <a:pt x="12599" y="2739"/>
                    </a:lnTo>
                    <a:lnTo>
                      <a:pt x="12494" y="2631"/>
                    </a:lnTo>
                    <a:lnTo>
                      <a:pt x="12368" y="2420"/>
                    </a:lnTo>
                    <a:lnTo>
                      <a:pt x="12304" y="2245"/>
                    </a:lnTo>
                    <a:lnTo>
                      <a:pt x="12377" y="2017"/>
                    </a:lnTo>
                    <a:lnTo>
                      <a:pt x="12699" y="2003"/>
                    </a:lnTo>
                    <a:cubicBezTo>
                      <a:pt x="12738" y="2035"/>
                      <a:pt x="12777" y="2063"/>
                      <a:pt x="12817" y="2090"/>
                    </a:cubicBezTo>
                    <a:cubicBezTo>
                      <a:pt x="12952" y="2178"/>
                      <a:pt x="13094" y="2236"/>
                      <a:pt x="13239" y="2259"/>
                    </a:cubicBezTo>
                    <a:lnTo>
                      <a:pt x="13399" y="2479"/>
                    </a:lnTo>
                    <a:lnTo>
                      <a:pt x="13603" y="2506"/>
                    </a:lnTo>
                    <a:lnTo>
                      <a:pt x="13797" y="2506"/>
                    </a:lnTo>
                    <a:cubicBezTo>
                      <a:pt x="13873" y="2506"/>
                      <a:pt x="13949" y="2506"/>
                      <a:pt x="14025" y="2506"/>
                    </a:cubicBezTo>
                    <a:cubicBezTo>
                      <a:pt x="14058" y="2506"/>
                      <a:pt x="14090" y="2506"/>
                      <a:pt x="14122" y="2506"/>
                    </a:cubicBezTo>
                    <a:lnTo>
                      <a:pt x="14251" y="2356"/>
                    </a:lnTo>
                    <a:lnTo>
                      <a:pt x="14347" y="2302"/>
                    </a:lnTo>
                    <a:lnTo>
                      <a:pt x="14484" y="2237"/>
                    </a:lnTo>
                    <a:lnTo>
                      <a:pt x="14616" y="2210"/>
                    </a:lnTo>
                    <a:lnTo>
                      <a:pt x="14613" y="2040"/>
                    </a:lnTo>
                    <a:lnTo>
                      <a:pt x="14460" y="1889"/>
                    </a:lnTo>
                    <a:lnTo>
                      <a:pt x="14355" y="1605"/>
                    </a:lnTo>
                    <a:cubicBezTo>
                      <a:pt x="14271" y="1573"/>
                      <a:pt x="14188" y="1533"/>
                      <a:pt x="14107" y="1486"/>
                    </a:cubicBezTo>
                    <a:cubicBezTo>
                      <a:pt x="14008" y="1428"/>
                      <a:pt x="13911" y="1359"/>
                      <a:pt x="13817" y="1279"/>
                    </a:cubicBezTo>
                    <a:lnTo>
                      <a:pt x="13451" y="1078"/>
                    </a:lnTo>
                    <a:lnTo>
                      <a:pt x="13212" y="945"/>
                    </a:lnTo>
                    <a:lnTo>
                      <a:pt x="12842" y="766"/>
                    </a:lnTo>
                    <a:lnTo>
                      <a:pt x="12603" y="849"/>
                    </a:lnTo>
                    <a:lnTo>
                      <a:pt x="12436" y="968"/>
                    </a:lnTo>
                    <a:lnTo>
                      <a:pt x="12291" y="899"/>
                    </a:lnTo>
                    <a:lnTo>
                      <a:pt x="12112" y="639"/>
                    </a:lnTo>
                    <a:lnTo>
                      <a:pt x="11879" y="402"/>
                    </a:lnTo>
                    <a:lnTo>
                      <a:pt x="11669" y="320"/>
                    </a:lnTo>
                    <a:lnTo>
                      <a:pt x="11486" y="252"/>
                    </a:lnTo>
                    <a:lnTo>
                      <a:pt x="11279" y="156"/>
                    </a:lnTo>
                    <a:lnTo>
                      <a:pt x="11086" y="73"/>
                    </a:lnTo>
                    <a:lnTo>
                      <a:pt x="10931" y="18"/>
                    </a:lnTo>
                    <a:lnTo>
                      <a:pt x="10715" y="114"/>
                    </a:lnTo>
                    <a:lnTo>
                      <a:pt x="10556" y="192"/>
                    </a:lnTo>
                    <a:lnTo>
                      <a:pt x="10395" y="137"/>
                    </a:lnTo>
                    <a:lnTo>
                      <a:pt x="10285" y="82"/>
                    </a:lnTo>
                    <a:lnTo>
                      <a:pt x="10146" y="27"/>
                    </a:lnTo>
                    <a:lnTo>
                      <a:pt x="10010" y="0"/>
                    </a:lnTo>
                    <a:lnTo>
                      <a:pt x="9706" y="83"/>
                    </a:lnTo>
                    <a:lnTo>
                      <a:pt x="9387" y="184"/>
                    </a:lnTo>
                    <a:lnTo>
                      <a:pt x="8981" y="564"/>
                    </a:lnTo>
                    <a:lnTo>
                      <a:pt x="8797" y="728"/>
                    </a:lnTo>
                    <a:lnTo>
                      <a:pt x="8584" y="783"/>
                    </a:lnTo>
                    <a:lnTo>
                      <a:pt x="8320" y="915"/>
                    </a:lnTo>
                    <a:lnTo>
                      <a:pt x="8160" y="996"/>
                    </a:lnTo>
                    <a:lnTo>
                      <a:pt x="7967" y="1147"/>
                    </a:lnTo>
                    <a:lnTo>
                      <a:pt x="7886" y="1297"/>
                    </a:lnTo>
                    <a:lnTo>
                      <a:pt x="7888" y="1470"/>
                    </a:lnTo>
                    <a:lnTo>
                      <a:pt x="7855" y="1675"/>
                    </a:lnTo>
                    <a:lnTo>
                      <a:pt x="7776" y="1784"/>
                    </a:lnTo>
                    <a:lnTo>
                      <a:pt x="7655" y="1839"/>
                    </a:lnTo>
                    <a:lnTo>
                      <a:pt x="7530" y="1894"/>
                    </a:lnTo>
                    <a:lnTo>
                      <a:pt x="7376" y="2183"/>
                    </a:lnTo>
                    <a:lnTo>
                      <a:pt x="7276" y="2430"/>
                    </a:lnTo>
                    <a:lnTo>
                      <a:pt x="7123" y="2673"/>
                    </a:lnTo>
                    <a:lnTo>
                      <a:pt x="7099" y="2824"/>
                    </a:lnTo>
                    <a:lnTo>
                      <a:pt x="7051" y="3056"/>
                    </a:lnTo>
                    <a:lnTo>
                      <a:pt x="6924" y="3316"/>
                    </a:lnTo>
                    <a:lnTo>
                      <a:pt x="6795" y="3550"/>
                    </a:lnTo>
                    <a:lnTo>
                      <a:pt x="6610" y="3688"/>
                    </a:lnTo>
                    <a:lnTo>
                      <a:pt x="6375" y="3930"/>
                    </a:lnTo>
                    <a:lnTo>
                      <a:pt x="6295" y="4053"/>
                    </a:lnTo>
                    <a:lnTo>
                      <a:pt x="6207" y="4241"/>
                    </a:lnTo>
                    <a:lnTo>
                      <a:pt x="6072" y="4323"/>
                    </a:lnTo>
                    <a:lnTo>
                      <a:pt x="5796" y="4429"/>
                    </a:lnTo>
                    <a:lnTo>
                      <a:pt x="5615" y="4524"/>
                    </a:lnTo>
                    <a:lnTo>
                      <a:pt x="5511" y="4647"/>
                    </a:lnTo>
                    <a:lnTo>
                      <a:pt x="5386" y="4780"/>
                    </a:lnTo>
                    <a:lnTo>
                      <a:pt x="5249" y="4999"/>
                    </a:lnTo>
                    <a:lnTo>
                      <a:pt x="5158" y="5155"/>
                    </a:lnTo>
                    <a:lnTo>
                      <a:pt x="5088" y="5329"/>
                    </a:lnTo>
                    <a:lnTo>
                      <a:pt x="5065" y="5480"/>
                    </a:lnTo>
                    <a:lnTo>
                      <a:pt x="5065" y="5754"/>
                    </a:lnTo>
                    <a:lnTo>
                      <a:pt x="5089" y="5900"/>
                    </a:lnTo>
                    <a:lnTo>
                      <a:pt x="5118" y="6123"/>
                    </a:lnTo>
                    <a:lnTo>
                      <a:pt x="5094" y="6315"/>
                    </a:lnTo>
                    <a:lnTo>
                      <a:pt x="5118" y="6590"/>
                    </a:lnTo>
                    <a:lnTo>
                      <a:pt x="5312" y="6948"/>
                    </a:lnTo>
                    <a:lnTo>
                      <a:pt x="5497" y="7278"/>
                    </a:lnTo>
                    <a:lnTo>
                      <a:pt x="5698" y="7360"/>
                    </a:lnTo>
                    <a:lnTo>
                      <a:pt x="6010" y="7347"/>
                    </a:lnTo>
                    <a:lnTo>
                      <a:pt x="6179" y="7123"/>
                    </a:lnTo>
                    <a:lnTo>
                      <a:pt x="6421" y="6806"/>
                    </a:lnTo>
                    <a:lnTo>
                      <a:pt x="6673" y="6770"/>
                    </a:lnTo>
                    <a:lnTo>
                      <a:pt x="6722" y="7029"/>
                    </a:lnTo>
                    <a:lnTo>
                      <a:pt x="6859" y="7341"/>
                    </a:lnTo>
                    <a:lnTo>
                      <a:pt x="6923" y="7657"/>
                    </a:lnTo>
                    <a:lnTo>
                      <a:pt x="7026" y="7817"/>
                    </a:lnTo>
                    <a:lnTo>
                      <a:pt x="7026" y="8065"/>
                    </a:lnTo>
                    <a:lnTo>
                      <a:pt x="7034" y="8312"/>
                    </a:lnTo>
                    <a:lnTo>
                      <a:pt x="7120" y="8458"/>
                    </a:lnTo>
                    <a:lnTo>
                      <a:pt x="7192" y="8650"/>
                    </a:lnTo>
                    <a:lnTo>
                      <a:pt x="7493" y="8925"/>
                    </a:lnTo>
                    <a:lnTo>
                      <a:pt x="7581" y="8833"/>
                    </a:lnTo>
                    <a:lnTo>
                      <a:pt x="7850" y="8512"/>
                    </a:lnTo>
                    <a:lnTo>
                      <a:pt x="7962" y="8471"/>
                    </a:lnTo>
                    <a:lnTo>
                      <a:pt x="8086" y="8224"/>
                    </a:lnTo>
                    <a:lnTo>
                      <a:pt x="8142" y="7954"/>
                    </a:lnTo>
                    <a:lnTo>
                      <a:pt x="8118" y="7546"/>
                    </a:lnTo>
                    <a:lnTo>
                      <a:pt x="8183" y="7331"/>
                    </a:lnTo>
                    <a:lnTo>
                      <a:pt x="8408" y="7069"/>
                    </a:lnTo>
                    <a:lnTo>
                      <a:pt x="8596" y="6868"/>
                    </a:lnTo>
                    <a:lnTo>
                      <a:pt x="8782" y="6652"/>
                    </a:lnTo>
                    <a:lnTo>
                      <a:pt x="8870" y="6378"/>
                    </a:lnTo>
                    <a:lnTo>
                      <a:pt x="8870" y="6199"/>
                    </a:lnTo>
                    <a:lnTo>
                      <a:pt x="8675" y="6099"/>
                    </a:lnTo>
                    <a:lnTo>
                      <a:pt x="8400" y="5782"/>
                    </a:lnTo>
                    <a:cubicBezTo>
                      <a:pt x="8345" y="5725"/>
                      <a:pt x="8303" y="5638"/>
                      <a:pt x="8280" y="5535"/>
                    </a:cubicBezTo>
                    <a:cubicBezTo>
                      <a:pt x="8253" y="5415"/>
                      <a:pt x="8255" y="5284"/>
                      <a:pt x="8280" y="5163"/>
                    </a:cubicBezTo>
                    <a:cubicBezTo>
                      <a:pt x="8308" y="5024"/>
                      <a:pt x="8366" y="4907"/>
                      <a:pt x="8441" y="4834"/>
                    </a:cubicBezTo>
                    <a:cubicBezTo>
                      <a:pt x="8456" y="4723"/>
                      <a:pt x="8474" y="4613"/>
                      <a:pt x="8494" y="4505"/>
                    </a:cubicBezTo>
                    <a:cubicBezTo>
                      <a:pt x="8510" y="4424"/>
                      <a:pt x="8527" y="4342"/>
                      <a:pt x="8558" y="4276"/>
                    </a:cubicBezTo>
                    <a:cubicBezTo>
                      <a:pt x="8643" y="4100"/>
                      <a:pt x="8795" y="4075"/>
                      <a:pt x="8897" y="4221"/>
                    </a:cubicBezTo>
                    <a:cubicBezTo>
                      <a:pt x="8958" y="4155"/>
                      <a:pt x="9013" y="4077"/>
                      <a:pt x="9061" y="3987"/>
                    </a:cubicBezTo>
                    <a:cubicBezTo>
                      <a:pt x="9136" y="3848"/>
                      <a:pt x="9193" y="3684"/>
                      <a:pt x="9260" y="3534"/>
                    </a:cubicBezTo>
                    <a:cubicBezTo>
                      <a:pt x="9306" y="3430"/>
                      <a:pt x="9356" y="3332"/>
                      <a:pt x="9405" y="3232"/>
                    </a:cubicBezTo>
                    <a:cubicBezTo>
                      <a:pt x="9452" y="3137"/>
                      <a:pt x="9497" y="3041"/>
                      <a:pt x="9542" y="2943"/>
                    </a:cubicBezTo>
                    <a:lnTo>
                      <a:pt x="9832" y="2723"/>
                    </a:lnTo>
                    <a:lnTo>
                      <a:pt x="9993" y="2545"/>
                    </a:lnTo>
                    <a:lnTo>
                      <a:pt x="10111" y="2705"/>
                    </a:lnTo>
                    <a:lnTo>
                      <a:pt x="10183" y="2884"/>
                    </a:lnTo>
                    <a:lnTo>
                      <a:pt x="10183" y="3144"/>
                    </a:lnTo>
                    <a:lnTo>
                      <a:pt x="10098" y="3332"/>
                    </a:lnTo>
                    <a:lnTo>
                      <a:pt x="10098" y="3689"/>
                    </a:lnTo>
                    <a:lnTo>
                      <a:pt x="10082" y="3859"/>
                    </a:lnTo>
                    <a:lnTo>
                      <a:pt x="9930" y="3957"/>
                    </a:lnTo>
                    <a:lnTo>
                      <a:pt x="9906" y="4204"/>
                    </a:lnTo>
                    <a:lnTo>
                      <a:pt x="9849" y="4492"/>
                    </a:lnTo>
                    <a:lnTo>
                      <a:pt x="9683" y="4633"/>
                    </a:lnTo>
                    <a:lnTo>
                      <a:pt x="9586" y="4780"/>
                    </a:lnTo>
                    <a:lnTo>
                      <a:pt x="9482" y="5082"/>
                    </a:lnTo>
                    <a:lnTo>
                      <a:pt x="9514" y="5403"/>
                    </a:lnTo>
                    <a:lnTo>
                      <a:pt x="9716" y="5586"/>
                    </a:lnTo>
                    <a:cubicBezTo>
                      <a:pt x="9796" y="5549"/>
                      <a:pt x="9881" y="5586"/>
                      <a:pt x="9941" y="5682"/>
                    </a:cubicBezTo>
                    <a:cubicBezTo>
                      <a:pt x="9990" y="5760"/>
                      <a:pt x="10017" y="5871"/>
                      <a:pt x="10065" y="5951"/>
                    </a:cubicBezTo>
                    <a:cubicBezTo>
                      <a:pt x="10132" y="6062"/>
                      <a:pt x="10229" y="6103"/>
                      <a:pt x="10318" y="6056"/>
                    </a:cubicBezTo>
                    <a:lnTo>
                      <a:pt x="10508" y="6070"/>
                    </a:lnTo>
                    <a:lnTo>
                      <a:pt x="10731" y="6002"/>
                    </a:lnTo>
                    <a:lnTo>
                      <a:pt x="10946" y="5851"/>
                    </a:lnTo>
                    <a:lnTo>
                      <a:pt x="11105" y="5786"/>
                    </a:lnTo>
                    <a:lnTo>
                      <a:pt x="11391" y="5848"/>
                    </a:lnTo>
                    <a:lnTo>
                      <a:pt x="11503" y="6039"/>
                    </a:lnTo>
                    <a:lnTo>
                      <a:pt x="11785" y="6094"/>
                    </a:lnTo>
                    <a:lnTo>
                      <a:pt x="11854" y="6226"/>
                    </a:lnTo>
                    <a:lnTo>
                      <a:pt x="11801" y="6390"/>
                    </a:lnTo>
                    <a:lnTo>
                      <a:pt x="11600" y="6542"/>
                    </a:lnTo>
                    <a:lnTo>
                      <a:pt x="11427" y="6730"/>
                    </a:lnTo>
                    <a:lnTo>
                      <a:pt x="11242" y="6739"/>
                    </a:lnTo>
                    <a:lnTo>
                      <a:pt x="11084" y="6698"/>
                    </a:lnTo>
                    <a:lnTo>
                      <a:pt x="10942" y="6629"/>
                    </a:lnTo>
                    <a:lnTo>
                      <a:pt x="10752" y="6588"/>
                    </a:lnTo>
                    <a:lnTo>
                      <a:pt x="10578" y="6629"/>
                    </a:lnTo>
                    <a:lnTo>
                      <a:pt x="10435" y="6670"/>
                    </a:lnTo>
                    <a:lnTo>
                      <a:pt x="10291" y="6748"/>
                    </a:lnTo>
                    <a:lnTo>
                      <a:pt x="10218" y="6936"/>
                    </a:lnTo>
                    <a:lnTo>
                      <a:pt x="10315" y="7045"/>
                    </a:lnTo>
                    <a:lnTo>
                      <a:pt x="10580" y="7535"/>
                    </a:lnTo>
                    <a:lnTo>
                      <a:pt x="10580" y="7737"/>
                    </a:lnTo>
                    <a:lnTo>
                      <a:pt x="10500" y="7925"/>
                    </a:lnTo>
                    <a:lnTo>
                      <a:pt x="10333" y="8021"/>
                    </a:lnTo>
                    <a:lnTo>
                      <a:pt x="10285" y="8145"/>
                    </a:lnTo>
                    <a:lnTo>
                      <a:pt x="10181" y="8076"/>
                    </a:lnTo>
                    <a:lnTo>
                      <a:pt x="10133" y="7815"/>
                    </a:lnTo>
                    <a:lnTo>
                      <a:pt x="10012" y="7706"/>
                    </a:lnTo>
                    <a:lnTo>
                      <a:pt x="9771" y="7733"/>
                    </a:lnTo>
                    <a:lnTo>
                      <a:pt x="9701" y="7811"/>
                    </a:lnTo>
                    <a:lnTo>
                      <a:pt x="9701" y="8017"/>
                    </a:lnTo>
                    <a:lnTo>
                      <a:pt x="9581" y="8163"/>
                    </a:lnTo>
                    <a:lnTo>
                      <a:pt x="9597" y="8488"/>
                    </a:lnTo>
                    <a:lnTo>
                      <a:pt x="9637" y="8686"/>
                    </a:lnTo>
                    <a:lnTo>
                      <a:pt x="9693" y="8944"/>
                    </a:lnTo>
                    <a:lnTo>
                      <a:pt x="9588" y="9131"/>
                    </a:lnTo>
                    <a:lnTo>
                      <a:pt x="9435" y="9310"/>
                    </a:lnTo>
                    <a:lnTo>
                      <a:pt x="9298" y="9530"/>
                    </a:lnTo>
                    <a:lnTo>
                      <a:pt x="9180" y="9627"/>
                    </a:lnTo>
                    <a:lnTo>
                      <a:pt x="9092" y="9735"/>
                    </a:lnTo>
                    <a:lnTo>
                      <a:pt x="8983" y="9736"/>
                    </a:lnTo>
                    <a:cubicBezTo>
                      <a:pt x="8962" y="9703"/>
                      <a:pt x="8942" y="9671"/>
                      <a:pt x="8921" y="9640"/>
                    </a:cubicBezTo>
                    <a:cubicBezTo>
                      <a:pt x="8891" y="9595"/>
                      <a:pt x="8861" y="9551"/>
                      <a:pt x="8830" y="9508"/>
                    </a:cubicBezTo>
                    <a:lnTo>
                      <a:pt x="8564" y="9467"/>
                    </a:lnTo>
                    <a:lnTo>
                      <a:pt x="8300" y="9659"/>
                    </a:lnTo>
                    <a:lnTo>
                      <a:pt x="7986" y="9865"/>
                    </a:lnTo>
                    <a:lnTo>
                      <a:pt x="7905" y="9974"/>
                    </a:lnTo>
                    <a:lnTo>
                      <a:pt x="7739" y="10070"/>
                    </a:lnTo>
                    <a:lnTo>
                      <a:pt x="7634" y="10001"/>
                    </a:lnTo>
                    <a:lnTo>
                      <a:pt x="7465" y="9864"/>
                    </a:lnTo>
                    <a:lnTo>
                      <a:pt x="7314" y="9781"/>
                    </a:lnTo>
                    <a:lnTo>
                      <a:pt x="7226" y="9644"/>
                    </a:lnTo>
                    <a:lnTo>
                      <a:pt x="7149" y="9740"/>
                    </a:lnTo>
                    <a:lnTo>
                      <a:pt x="6975" y="9746"/>
                    </a:lnTo>
                    <a:lnTo>
                      <a:pt x="6769" y="9966"/>
                    </a:lnTo>
                    <a:lnTo>
                      <a:pt x="6586" y="9828"/>
                    </a:lnTo>
                    <a:lnTo>
                      <a:pt x="6498" y="9655"/>
                    </a:lnTo>
                    <a:lnTo>
                      <a:pt x="6359" y="9499"/>
                    </a:lnTo>
                    <a:lnTo>
                      <a:pt x="6246" y="9210"/>
                    </a:lnTo>
                    <a:lnTo>
                      <a:pt x="6332" y="9059"/>
                    </a:lnTo>
                    <a:lnTo>
                      <a:pt x="6468" y="9059"/>
                    </a:lnTo>
                    <a:lnTo>
                      <a:pt x="6436" y="9269"/>
                    </a:lnTo>
                    <a:lnTo>
                      <a:pt x="6594" y="9356"/>
                    </a:lnTo>
                    <a:lnTo>
                      <a:pt x="6642" y="9122"/>
                    </a:lnTo>
                    <a:lnTo>
                      <a:pt x="6779" y="9264"/>
                    </a:lnTo>
                    <a:lnTo>
                      <a:pt x="6939" y="9386"/>
                    </a:lnTo>
                    <a:lnTo>
                      <a:pt x="7020" y="9181"/>
                    </a:lnTo>
                    <a:lnTo>
                      <a:pt x="7095" y="8939"/>
                    </a:lnTo>
                    <a:lnTo>
                      <a:pt x="7009" y="8646"/>
                    </a:lnTo>
                    <a:lnTo>
                      <a:pt x="6883" y="8491"/>
                    </a:lnTo>
                    <a:lnTo>
                      <a:pt x="6741" y="8555"/>
                    </a:lnTo>
                    <a:lnTo>
                      <a:pt x="6645" y="8802"/>
                    </a:lnTo>
                    <a:lnTo>
                      <a:pt x="6668" y="8966"/>
                    </a:lnTo>
                    <a:lnTo>
                      <a:pt x="6572" y="8980"/>
                    </a:lnTo>
                    <a:lnTo>
                      <a:pt x="6524" y="8733"/>
                    </a:lnTo>
                    <a:lnTo>
                      <a:pt x="6425" y="8870"/>
                    </a:lnTo>
                    <a:lnTo>
                      <a:pt x="6282" y="8896"/>
                    </a:lnTo>
                    <a:lnTo>
                      <a:pt x="6298" y="8622"/>
                    </a:lnTo>
                    <a:lnTo>
                      <a:pt x="6338" y="8473"/>
                    </a:lnTo>
                    <a:lnTo>
                      <a:pt x="6394" y="8309"/>
                    </a:lnTo>
                    <a:lnTo>
                      <a:pt x="6394" y="7953"/>
                    </a:lnTo>
                    <a:lnTo>
                      <a:pt x="6380" y="7651"/>
                    </a:lnTo>
                    <a:lnTo>
                      <a:pt x="6254" y="7719"/>
                    </a:lnTo>
                    <a:lnTo>
                      <a:pt x="6189" y="7989"/>
                    </a:lnTo>
                    <a:lnTo>
                      <a:pt x="6096" y="8126"/>
                    </a:lnTo>
                    <a:lnTo>
                      <a:pt x="5932" y="8300"/>
                    </a:lnTo>
                    <a:lnTo>
                      <a:pt x="5836" y="8520"/>
                    </a:lnTo>
                    <a:lnTo>
                      <a:pt x="5819" y="8717"/>
                    </a:lnTo>
                    <a:lnTo>
                      <a:pt x="5921" y="8917"/>
                    </a:lnTo>
                    <a:lnTo>
                      <a:pt x="5974" y="9081"/>
                    </a:lnTo>
                    <a:lnTo>
                      <a:pt x="5934" y="9324"/>
                    </a:lnTo>
                    <a:lnTo>
                      <a:pt x="6004" y="9512"/>
                    </a:lnTo>
                    <a:lnTo>
                      <a:pt x="6235" y="9416"/>
                    </a:lnTo>
                    <a:lnTo>
                      <a:pt x="6253" y="9581"/>
                    </a:lnTo>
                    <a:lnTo>
                      <a:pt x="6088" y="9704"/>
                    </a:lnTo>
                    <a:lnTo>
                      <a:pt x="6016" y="9787"/>
                    </a:lnTo>
                    <a:lnTo>
                      <a:pt x="5983" y="10057"/>
                    </a:lnTo>
                    <a:lnTo>
                      <a:pt x="5865" y="10144"/>
                    </a:lnTo>
                    <a:lnTo>
                      <a:pt x="5664" y="10172"/>
                    </a:lnTo>
                    <a:lnTo>
                      <a:pt x="5506" y="10172"/>
                    </a:lnTo>
                    <a:lnTo>
                      <a:pt x="5370" y="10240"/>
                    </a:lnTo>
                    <a:lnTo>
                      <a:pt x="5273" y="10337"/>
                    </a:lnTo>
                    <a:lnTo>
                      <a:pt x="5101" y="10364"/>
                    </a:lnTo>
                    <a:lnTo>
                      <a:pt x="5002" y="10364"/>
                    </a:lnTo>
                    <a:lnTo>
                      <a:pt x="4982" y="10538"/>
                    </a:lnTo>
                    <a:lnTo>
                      <a:pt x="4867" y="10739"/>
                    </a:lnTo>
                    <a:lnTo>
                      <a:pt x="4738" y="10945"/>
                    </a:lnTo>
                    <a:lnTo>
                      <a:pt x="4563" y="11169"/>
                    </a:lnTo>
                    <a:lnTo>
                      <a:pt x="4385" y="11316"/>
                    </a:lnTo>
                    <a:lnTo>
                      <a:pt x="4328" y="11463"/>
                    </a:lnTo>
                    <a:lnTo>
                      <a:pt x="4152" y="11706"/>
                    </a:lnTo>
                    <a:lnTo>
                      <a:pt x="4065" y="11719"/>
                    </a:lnTo>
                    <a:lnTo>
                      <a:pt x="3934" y="11751"/>
                    </a:lnTo>
                    <a:lnTo>
                      <a:pt x="3849" y="11911"/>
                    </a:lnTo>
                    <a:lnTo>
                      <a:pt x="3781" y="12158"/>
                    </a:lnTo>
                    <a:lnTo>
                      <a:pt x="3725" y="12255"/>
                    </a:lnTo>
                    <a:lnTo>
                      <a:pt x="3603" y="12585"/>
                    </a:lnTo>
                    <a:lnTo>
                      <a:pt x="3316" y="12676"/>
                    </a:lnTo>
                    <a:lnTo>
                      <a:pt x="3265" y="12951"/>
                    </a:lnTo>
                    <a:lnTo>
                      <a:pt x="3134" y="12987"/>
                    </a:lnTo>
                    <a:lnTo>
                      <a:pt x="3035" y="12919"/>
                    </a:lnTo>
                    <a:lnTo>
                      <a:pt x="2939" y="12754"/>
                    </a:lnTo>
                    <a:cubicBezTo>
                      <a:pt x="2886" y="12812"/>
                      <a:pt x="2837" y="12876"/>
                      <a:pt x="2790" y="12947"/>
                    </a:cubicBezTo>
                    <a:cubicBezTo>
                      <a:pt x="2744" y="13015"/>
                      <a:pt x="2702" y="13088"/>
                      <a:pt x="2663" y="13166"/>
                    </a:cubicBezTo>
                    <a:lnTo>
                      <a:pt x="2511" y="13235"/>
                    </a:lnTo>
                    <a:lnTo>
                      <a:pt x="2334" y="13327"/>
                    </a:lnTo>
                    <a:lnTo>
                      <a:pt x="2256" y="13258"/>
                    </a:lnTo>
                    <a:lnTo>
                      <a:pt x="2079" y="13176"/>
                    </a:lnTo>
                    <a:lnTo>
                      <a:pt x="1886" y="13313"/>
                    </a:lnTo>
                    <a:lnTo>
                      <a:pt x="1701" y="13451"/>
                    </a:lnTo>
                    <a:lnTo>
                      <a:pt x="1776" y="13589"/>
                    </a:lnTo>
                    <a:lnTo>
                      <a:pt x="1890" y="13693"/>
                    </a:lnTo>
                    <a:lnTo>
                      <a:pt x="2105" y="13776"/>
                    </a:lnTo>
                    <a:lnTo>
                      <a:pt x="2379" y="13955"/>
                    </a:lnTo>
                    <a:lnTo>
                      <a:pt x="2554" y="14129"/>
                    </a:lnTo>
                    <a:lnTo>
                      <a:pt x="2659" y="14413"/>
                    </a:lnTo>
                    <a:lnTo>
                      <a:pt x="2704" y="14587"/>
                    </a:lnTo>
                    <a:lnTo>
                      <a:pt x="2768" y="14861"/>
                    </a:lnTo>
                    <a:lnTo>
                      <a:pt x="2792" y="15475"/>
                    </a:lnTo>
                    <a:lnTo>
                      <a:pt x="2771" y="15814"/>
                    </a:lnTo>
                    <a:cubicBezTo>
                      <a:pt x="2745" y="15996"/>
                      <a:pt x="2708" y="16172"/>
                      <a:pt x="2661" y="16341"/>
                    </a:cubicBezTo>
                    <a:cubicBezTo>
                      <a:pt x="2629" y="16460"/>
                      <a:pt x="2591" y="16574"/>
                      <a:pt x="2549" y="16684"/>
                    </a:cubicBezTo>
                    <a:lnTo>
                      <a:pt x="2342" y="16817"/>
                    </a:lnTo>
                    <a:lnTo>
                      <a:pt x="2030" y="16830"/>
                    </a:lnTo>
                    <a:lnTo>
                      <a:pt x="1856" y="16830"/>
                    </a:lnTo>
                    <a:lnTo>
                      <a:pt x="1549" y="16804"/>
                    </a:lnTo>
                    <a:lnTo>
                      <a:pt x="1329" y="16707"/>
                    </a:lnTo>
                    <a:lnTo>
                      <a:pt x="970" y="16537"/>
                    </a:lnTo>
                    <a:lnTo>
                      <a:pt x="739" y="16469"/>
                    </a:lnTo>
                    <a:lnTo>
                      <a:pt x="478" y="16547"/>
                    </a:lnTo>
                    <a:lnTo>
                      <a:pt x="293" y="16647"/>
                    </a:lnTo>
                    <a:lnTo>
                      <a:pt x="164" y="17042"/>
                    </a:lnTo>
                    <a:lnTo>
                      <a:pt x="199" y="17371"/>
                    </a:lnTo>
                    <a:lnTo>
                      <a:pt x="231" y="17765"/>
                    </a:lnTo>
                    <a:lnTo>
                      <a:pt x="199" y="18217"/>
                    </a:lnTo>
                    <a:lnTo>
                      <a:pt x="86" y="18602"/>
                    </a:lnTo>
                    <a:lnTo>
                      <a:pt x="24" y="19028"/>
                    </a:lnTo>
                    <a:lnTo>
                      <a:pt x="0" y="19390"/>
                    </a:lnTo>
                    <a:lnTo>
                      <a:pt x="32" y="19623"/>
                    </a:lnTo>
                    <a:lnTo>
                      <a:pt x="105" y="19880"/>
                    </a:lnTo>
                    <a:lnTo>
                      <a:pt x="97" y="20137"/>
                    </a:lnTo>
                    <a:lnTo>
                      <a:pt x="40" y="20343"/>
                    </a:lnTo>
                    <a:lnTo>
                      <a:pt x="81" y="20612"/>
                    </a:lnTo>
                    <a:lnTo>
                      <a:pt x="245" y="20708"/>
                    </a:lnTo>
                    <a:lnTo>
                      <a:pt x="417" y="20644"/>
                    </a:lnTo>
                    <a:lnTo>
                      <a:pt x="624" y="20794"/>
                    </a:lnTo>
                    <a:lnTo>
                      <a:pt x="693" y="20881"/>
                    </a:lnTo>
                    <a:lnTo>
                      <a:pt x="1007" y="21211"/>
                    </a:lnTo>
                    <a:lnTo>
                      <a:pt x="1064" y="21408"/>
                    </a:lnTo>
                    <a:lnTo>
                      <a:pt x="1160" y="21436"/>
                    </a:lnTo>
                    <a:lnTo>
                      <a:pt x="1241" y="21600"/>
                    </a:lnTo>
                    <a:lnTo>
                      <a:pt x="1286" y="21437"/>
                    </a:lnTo>
                    <a:lnTo>
                      <a:pt x="1286" y="21236"/>
                    </a:lnTo>
                    <a:lnTo>
                      <a:pt x="1358" y="21119"/>
                    </a:lnTo>
                    <a:lnTo>
                      <a:pt x="1562" y="21092"/>
                    </a:lnTo>
                    <a:lnTo>
                      <a:pt x="1667" y="21105"/>
                    </a:lnTo>
                    <a:cubicBezTo>
                      <a:pt x="1731" y="21119"/>
                      <a:pt x="1796" y="21128"/>
                      <a:pt x="1860" y="21133"/>
                    </a:cubicBezTo>
                    <a:cubicBezTo>
                      <a:pt x="1936" y="21139"/>
                      <a:pt x="2011" y="21139"/>
                      <a:pt x="2086" y="21133"/>
                    </a:cubicBezTo>
                    <a:lnTo>
                      <a:pt x="2247" y="21051"/>
                    </a:lnTo>
                    <a:lnTo>
                      <a:pt x="2333" y="20941"/>
                    </a:lnTo>
                    <a:lnTo>
                      <a:pt x="2422" y="20693"/>
                    </a:lnTo>
                    <a:lnTo>
                      <a:pt x="2519" y="20556"/>
                    </a:lnTo>
                    <a:lnTo>
                      <a:pt x="2655" y="20387"/>
                    </a:lnTo>
                    <a:lnTo>
                      <a:pt x="2784" y="20214"/>
                    </a:lnTo>
                    <a:lnTo>
                      <a:pt x="2897" y="20063"/>
                    </a:lnTo>
                    <a:lnTo>
                      <a:pt x="2921" y="19885"/>
                    </a:lnTo>
                    <a:lnTo>
                      <a:pt x="2921" y="19541"/>
                    </a:lnTo>
                    <a:lnTo>
                      <a:pt x="2969" y="19349"/>
                    </a:lnTo>
                    <a:lnTo>
                      <a:pt x="3039" y="19161"/>
                    </a:lnTo>
                    <a:lnTo>
                      <a:pt x="3241" y="18748"/>
                    </a:lnTo>
                    <a:lnTo>
                      <a:pt x="3257" y="18515"/>
                    </a:lnTo>
                    <a:cubicBezTo>
                      <a:pt x="3267" y="18464"/>
                      <a:pt x="3283" y="18417"/>
                      <a:pt x="3305" y="18379"/>
                    </a:cubicBezTo>
                    <a:cubicBezTo>
                      <a:pt x="3367" y="18269"/>
                      <a:pt x="3459" y="18240"/>
                      <a:pt x="3541" y="18187"/>
                    </a:cubicBezTo>
                    <a:cubicBezTo>
                      <a:pt x="3616" y="18139"/>
                      <a:pt x="3685" y="18071"/>
                      <a:pt x="3745" y="17985"/>
                    </a:cubicBezTo>
                    <a:lnTo>
                      <a:pt x="3923" y="17728"/>
                    </a:lnTo>
                    <a:lnTo>
                      <a:pt x="4081" y="17581"/>
                    </a:lnTo>
                    <a:lnTo>
                      <a:pt x="4167" y="17554"/>
                    </a:lnTo>
                    <a:lnTo>
                      <a:pt x="4059" y="17247"/>
                    </a:lnTo>
                    <a:lnTo>
                      <a:pt x="3955" y="17261"/>
                    </a:lnTo>
                    <a:lnTo>
                      <a:pt x="3938" y="16973"/>
                    </a:lnTo>
                    <a:lnTo>
                      <a:pt x="4118" y="16859"/>
                    </a:lnTo>
                    <a:lnTo>
                      <a:pt x="4354" y="16726"/>
                    </a:lnTo>
                    <a:lnTo>
                      <a:pt x="4432" y="16658"/>
                    </a:lnTo>
                    <a:lnTo>
                      <a:pt x="4620" y="16554"/>
                    </a:lnTo>
                    <a:lnTo>
                      <a:pt x="4738" y="16663"/>
                    </a:lnTo>
                    <a:lnTo>
                      <a:pt x="4945" y="16842"/>
                    </a:lnTo>
                    <a:lnTo>
                      <a:pt x="5057" y="16801"/>
                    </a:lnTo>
                    <a:lnTo>
                      <a:pt x="5270" y="16614"/>
                    </a:lnTo>
                    <a:cubicBezTo>
                      <a:pt x="5348" y="16588"/>
                      <a:pt x="5424" y="16547"/>
                      <a:pt x="5495" y="16490"/>
                    </a:cubicBezTo>
                    <a:cubicBezTo>
                      <a:pt x="5582" y="16422"/>
                      <a:pt x="5661" y="16332"/>
                      <a:pt x="5732" y="16224"/>
                    </a:cubicBezTo>
                    <a:lnTo>
                      <a:pt x="5896" y="16096"/>
                    </a:lnTo>
                    <a:lnTo>
                      <a:pt x="6009" y="16027"/>
                    </a:lnTo>
                    <a:lnTo>
                      <a:pt x="6185" y="15959"/>
                    </a:lnTo>
                    <a:lnTo>
                      <a:pt x="6336" y="16187"/>
                    </a:lnTo>
                    <a:lnTo>
                      <a:pt x="6513" y="16558"/>
                    </a:lnTo>
                    <a:lnTo>
                      <a:pt x="6478" y="16957"/>
                    </a:lnTo>
                    <a:lnTo>
                      <a:pt x="6566" y="17191"/>
                    </a:lnTo>
                    <a:cubicBezTo>
                      <a:pt x="6627" y="17266"/>
                      <a:pt x="6693" y="17327"/>
                      <a:pt x="6762" y="17374"/>
                    </a:cubicBezTo>
                    <a:cubicBezTo>
                      <a:pt x="6828" y="17418"/>
                      <a:pt x="6896" y="17449"/>
                      <a:pt x="6961" y="17493"/>
                    </a:cubicBezTo>
                    <a:cubicBezTo>
                      <a:pt x="7076" y="17571"/>
                      <a:pt x="7181" y="17688"/>
                      <a:pt x="7268" y="17837"/>
                    </a:cubicBezTo>
                    <a:lnTo>
                      <a:pt x="7381" y="17960"/>
                    </a:lnTo>
                    <a:lnTo>
                      <a:pt x="7502" y="18097"/>
                    </a:lnTo>
                    <a:lnTo>
                      <a:pt x="7652" y="18230"/>
                    </a:lnTo>
                    <a:lnTo>
                      <a:pt x="7765" y="18312"/>
                    </a:lnTo>
                    <a:lnTo>
                      <a:pt x="7950" y="18500"/>
                    </a:lnTo>
                    <a:lnTo>
                      <a:pt x="8004" y="18619"/>
                    </a:lnTo>
                    <a:lnTo>
                      <a:pt x="8122" y="18894"/>
                    </a:lnTo>
                    <a:lnTo>
                      <a:pt x="8273" y="19251"/>
                    </a:lnTo>
                    <a:lnTo>
                      <a:pt x="8399" y="19535"/>
                    </a:lnTo>
                    <a:lnTo>
                      <a:pt x="8203" y="19705"/>
                    </a:lnTo>
                    <a:lnTo>
                      <a:pt x="8232" y="19896"/>
                    </a:lnTo>
                    <a:lnTo>
                      <a:pt x="8184" y="20192"/>
                    </a:lnTo>
                    <a:lnTo>
                      <a:pt x="8313" y="20256"/>
                    </a:lnTo>
                    <a:lnTo>
                      <a:pt x="8369" y="20092"/>
                    </a:lnTo>
                    <a:lnTo>
                      <a:pt x="8471" y="19927"/>
                    </a:lnTo>
                    <a:lnTo>
                      <a:pt x="8584" y="19703"/>
                    </a:lnTo>
                    <a:lnTo>
                      <a:pt x="8621" y="19542"/>
                    </a:lnTo>
                    <a:lnTo>
                      <a:pt x="8570" y="19314"/>
                    </a:lnTo>
                    <a:lnTo>
                      <a:pt x="8522" y="19090"/>
                    </a:lnTo>
                    <a:lnTo>
                      <a:pt x="8493" y="18927"/>
                    </a:lnTo>
                    <a:lnTo>
                      <a:pt x="8573" y="18716"/>
                    </a:lnTo>
                    <a:lnTo>
                      <a:pt x="8735" y="18702"/>
                    </a:lnTo>
                    <a:lnTo>
                      <a:pt x="8831" y="18752"/>
                    </a:lnTo>
                    <a:lnTo>
                      <a:pt x="8888" y="18876"/>
                    </a:lnTo>
                    <a:lnTo>
                      <a:pt x="9070" y="18944"/>
                    </a:lnTo>
                    <a:lnTo>
                      <a:pt x="9159" y="18880"/>
                    </a:lnTo>
                    <a:lnTo>
                      <a:pt x="9054" y="18697"/>
                    </a:lnTo>
                    <a:lnTo>
                      <a:pt x="8898" y="18523"/>
                    </a:lnTo>
                    <a:lnTo>
                      <a:pt x="8594" y="18261"/>
                    </a:lnTo>
                    <a:lnTo>
                      <a:pt x="8368" y="18041"/>
                    </a:lnTo>
                    <a:lnTo>
                      <a:pt x="8097" y="17835"/>
                    </a:lnTo>
                    <a:lnTo>
                      <a:pt x="7917" y="17422"/>
                    </a:lnTo>
                    <a:lnTo>
                      <a:pt x="7716" y="17353"/>
                    </a:lnTo>
                    <a:lnTo>
                      <a:pt x="7485" y="16964"/>
                    </a:lnTo>
                    <a:lnTo>
                      <a:pt x="7541" y="16565"/>
                    </a:lnTo>
                    <a:lnTo>
                      <a:pt x="7398" y="16378"/>
                    </a:lnTo>
                    <a:lnTo>
                      <a:pt x="7222" y="16240"/>
                    </a:lnTo>
                    <a:lnTo>
                      <a:pt x="6975" y="15938"/>
                    </a:lnTo>
                    <a:lnTo>
                      <a:pt x="6974" y="15498"/>
                    </a:lnTo>
                    <a:lnTo>
                      <a:pt x="7213" y="15265"/>
                    </a:lnTo>
                    <a:lnTo>
                      <a:pt x="7388" y="15320"/>
                    </a:lnTo>
                    <a:lnTo>
                      <a:pt x="7527" y="15712"/>
                    </a:lnTo>
                    <a:lnTo>
                      <a:pt x="7790" y="15919"/>
                    </a:lnTo>
                    <a:cubicBezTo>
                      <a:pt x="7896" y="15936"/>
                      <a:pt x="7997" y="15992"/>
                      <a:pt x="8089" y="16084"/>
                    </a:cubicBezTo>
                    <a:cubicBezTo>
                      <a:pt x="8148" y="16143"/>
                      <a:pt x="8203" y="16217"/>
                      <a:pt x="8250" y="16304"/>
                    </a:cubicBezTo>
                    <a:lnTo>
                      <a:pt x="8390" y="16623"/>
                    </a:lnTo>
                    <a:lnTo>
                      <a:pt x="8497" y="16783"/>
                    </a:lnTo>
                    <a:lnTo>
                      <a:pt x="8659" y="16893"/>
                    </a:lnTo>
                    <a:cubicBezTo>
                      <a:pt x="8718" y="16911"/>
                      <a:pt x="8777" y="16939"/>
                      <a:pt x="8833" y="16975"/>
                    </a:cubicBezTo>
                    <a:cubicBezTo>
                      <a:pt x="8886" y="17009"/>
                      <a:pt x="8937" y="17050"/>
                      <a:pt x="8986" y="17098"/>
                    </a:cubicBezTo>
                    <a:lnTo>
                      <a:pt x="9201" y="17368"/>
                    </a:lnTo>
                    <a:lnTo>
                      <a:pt x="9367" y="17642"/>
                    </a:lnTo>
                    <a:lnTo>
                      <a:pt x="9448" y="18069"/>
                    </a:lnTo>
                    <a:lnTo>
                      <a:pt x="9472" y="18476"/>
                    </a:lnTo>
                    <a:lnTo>
                      <a:pt x="9480" y="18860"/>
                    </a:lnTo>
                    <a:lnTo>
                      <a:pt x="9606" y="19231"/>
                    </a:lnTo>
                    <a:lnTo>
                      <a:pt x="9708" y="19433"/>
                    </a:lnTo>
                    <a:lnTo>
                      <a:pt x="9931" y="19550"/>
                    </a:lnTo>
                    <a:lnTo>
                      <a:pt x="10097" y="19631"/>
                    </a:lnTo>
                    <a:lnTo>
                      <a:pt x="10223" y="19645"/>
                    </a:lnTo>
                    <a:lnTo>
                      <a:pt x="10379" y="19791"/>
                    </a:lnTo>
                    <a:lnTo>
                      <a:pt x="10473" y="19924"/>
                    </a:lnTo>
                    <a:lnTo>
                      <a:pt x="10384" y="20183"/>
                    </a:lnTo>
                    <a:lnTo>
                      <a:pt x="10159" y="20128"/>
                    </a:lnTo>
                    <a:lnTo>
                      <a:pt x="10073" y="20243"/>
                    </a:lnTo>
                    <a:lnTo>
                      <a:pt x="10193" y="20472"/>
                    </a:lnTo>
                    <a:lnTo>
                      <a:pt x="10266" y="20815"/>
                    </a:lnTo>
                    <a:cubicBezTo>
                      <a:pt x="10273" y="20912"/>
                      <a:pt x="10304" y="20999"/>
                      <a:pt x="10352" y="21053"/>
                    </a:cubicBezTo>
                    <a:cubicBezTo>
                      <a:pt x="10384" y="21090"/>
                      <a:pt x="10423" y="21109"/>
                      <a:pt x="10462" y="21108"/>
                    </a:cubicBezTo>
                    <a:lnTo>
                      <a:pt x="10696" y="20998"/>
                    </a:lnTo>
                    <a:lnTo>
                      <a:pt x="10712" y="20701"/>
                    </a:lnTo>
                    <a:cubicBezTo>
                      <a:pt x="10707" y="20596"/>
                      <a:pt x="10707" y="20491"/>
                      <a:pt x="10712" y="20387"/>
                    </a:cubicBezTo>
                    <a:cubicBezTo>
                      <a:pt x="10716" y="20296"/>
                      <a:pt x="10724" y="20206"/>
                      <a:pt x="10736" y="20117"/>
                    </a:cubicBezTo>
                    <a:cubicBezTo>
                      <a:pt x="10735" y="20034"/>
                      <a:pt x="10727" y="19953"/>
                      <a:pt x="10712" y="19874"/>
                    </a:cubicBezTo>
                    <a:cubicBezTo>
                      <a:pt x="10684" y="19724"/>
                      <a:pt x="10633" y="19589"/>
                      <a:pt x="10564" y="19484"/>
                    </a:cubicBezTo>
                    <a:lnTo>
                      <a:pt x="10443" y="19117"/>
                    </a:lnTo>
                    <a:cubicBezTo>
                      <a:pt x="10405" y="19035"/>
                      <a:pt x="10398" y="18922"/>
                      <a:pt x="10427" y="18829"/>
                    </a:cubicBezTo>
                    <a:cubicBezTo>
                      <a:pt x="10451" y="18751"/>
                      <a:pt x="10497" y="18700"/>
                      <a:pt x="10548" y="18692"/>
                    </a:cubicBezTo>
                    <a:lnTo>
                      <a:pt x="10680" y="18705"/>
                    </a:lnTo>
                    <a:lnTo>
                      <a:pt x="10811" y="18765"/>
                    </a:lnTo>
                    <a:lnTo>
                      <a:pt x="10929" y="18911"/>
                    </a:lnTo>
                    <a:lnTo>
                      <a:pt x="10953" y="18597"/>
                    </a:lnTo>
                    <a:lnTo>
                      <a:pt x="11025" y="18391"/>
                    </a:lnTo>
                    <a:lnTo>
                      <a:pt x="11310" y="18336"/>
                    </a:lnTo>
                    <a:lnTo>
                      <a:pt x="11533" y="18336"/>
                    </a:lnTo>
                    <a:lnTo>
                      <a:pt x="11766" y="18570"/>
                    </a:lnTo>
                    <a:lnTo>
                      <a:pt x="11991" y="18469"/>
                    </a:lnTo>
                    <a:lnTo>
                      <a:pt x="12104" y="18400"/>
                    </a:lnTo>
                    <a:lnTo>
                      <a:pt x="12392" y="18317"/>
                    </a:lnTo>
                    <a:lnTo>
                      <a:pt x="12469" y="18171"/>
                    </a:lnTo>
                    <a:cubicBezTo>
                      <a:pt x="12441" y="18118"/>
                      <a:pt x="12413" y="18066"/>
                      <a:pt x="12383" y="18015"/>
                    </a:cubicBezTo>
                    <a:cubicBezTo>
                      <a:pt x="12320" y="17907"/>
                      <a:pt x="12252" y="17806"/>
                      <a:pt x="12181" y="17713"/>
                    </a:cubicBezTo>
                    <a:cubicBezTo>
                      <a:pt x="12169" y="17590"/>
                      <a:pt x="12166" y="17465"/>
                      <a:pt x="12173" y="17342"/>
                    </a:cubicBezTo>
                    <a:cubicBezTo>
                      <a:pt x="12182" y="17201"/>
                      <a:pt x="12204" y="17063"/>
                      <a:pt x="12238" y="16934"/>
                    </a:cubicBezTo>
                    <a:lnTo>
                      <a:pt x="12262" y="16700"/>
                    </a:lnTo>
                    <a:lnTo>
                      <a:pt x="12383" y="16233"/>
                    </a:lnTo>
                    <a:lnTo>
                      <a:pt x="12447" y="15904"/>
                    </a:lnTo>
                    <a:lnTo>
                      <a:pt x="12552" y="15455"/>
                    </a:lnTo>
                    <a:lnTo>
                      <a:pt x="12671" y="15194"/>
                    </a:lnTo>
                    <a:lnTo>
                      <a:pt x="12888" y="14822"/>
                    </a:lnTo>
                    <a:lnTo>
                      <a:pt x="13179" y="14607"/>
                    </a:lnTo>
                    <a:lnTo>
                      <a:pt x="13407" y="14414"/>
                    </a:lnTo>
                    <a:lnTo>
                      <a:pt x="13485" y="14588"/>
                    </a:lnTo>
                    <a:lnTo>
                      <a:pt x="13485" y="14898"/>
                    </a:lnTo>
                    <a:lnTo>
                      <a:pt x="13692" y="14926"/>
                    </a:lnTo>
                    <a:lnTo>
                      <a:pt x="13794" y="15008"/>
                    </a:lnTo>
                    <a:lnTo>
                      <a:pt x="13842" y="15254"/>
                    </a:lnTo>
                    <a:lnTo>
                      <a:pt x="13659" y="15264"/>
                    </a:lnTo>
                    <a:lnTo>
                      <a:pt x="13643" y="15414"/>
                    </a:lnTo>
                    <a:lnTo>
                      <a:pt x="13845" y="15703"/>
                    </a:lnTo>
                    <a:lnTo>
                      <a:pt x="13960" y="15946"/>
                    </a:lnTo>
                    <a:lnTo>
                      <a:pt x="14162" y="15979"/>
                    </a:lnTo>
                    <a:lnTo>
                      <a:pt x="14250" y="15857"/>
                    </a:lnTo>
                    <a:lnTo>
                      <a:pt x="14403" y="15678"/>
                    </a:lnTo>
                    <a:lnTo>
                      <a:pt x="14752" y="15546"/>
                    </a:lnTo>
                    <a:lnTo>
                      <a:pt x="14728" y="15315"/>
                    </a:lnTo>
                    <a:lnTo>
                      <a:pt x="14639" y="15250"/>
                    </a:lnTo>
                    <a:lnTo>
                      <a:pt x="14489" y="15305"/>
                    </a:lnTo>
                    <a:cubicBezTo>
                      <a:pt x="14437" y="15251"/>
                      <a:pt x="14386" y="15193"/>
                      <a:pt x="14336" y="15132"/>
                    </a:cubicBezTo>
                    <a:cubicBezTo>
                      <a:pt x="14301" y="15088"/>
                      <a:pt x="14266" y="15042"/>
                      <a:pt x="14232" y="14994"/>
                    </a:cubicBezTo>
                    <a:lnTo>
                      <a:pt x="14288" y="14817"/>
                    </a:lnTo>
                    <a:lnTo>
                      <a:pt x="14447" y="14721"/>
                    </a:lnTo>
                    <a:lnTo>
                      <a:pt x="14613" y="14569"/>
                    </a:lnTo>
                    <a:lnTo>
                      <a:pt x="14824" y="14382"/>
                    </a:lnTo>
                    <a:lnTo>
                      <a:pt x="14966" y="14231"/>
                    </a:lnTo>
                    <a:lnTo>
                      <a:pt x="15155" y="14089"/>
                    </a:lnTo>
                    <a:lnTo>
                      <a:pt x="15299" y="14048"/>
                    </a:lnTo>
                    <a:lnTo>
                      <a:pt x="15474" y="14204"/>
                    </a:lnTo>
                    <a:lnTo>
                      <a:pt x="15391" y="14386"/>
                    </a:lnTo>
                    <a:lnTo>
                      <a:pt x="15273" y="14666"/>
                    </a:lnTo>
                    <a:lnTo>
                      <a:pt x="15265" y="14990"/>
                    </a:lnTo>
                    <a:lnTo>
                      <a:pt x="15230" y="15325"/>
                    </a:lnTo>
                    <a:lnTo>
                      <a:pt x="15118" y="15517"/>
                    </a:lnTo>
                    <a:lnTo>
                      <a:pt x="15096" y="15705"/>
                    </a:lnTo>
                    <a:lnTo>
                      <a:pt x="15233" y="15800"/>
                    </a:lnTo>
                    <a:cubicBezTo>
                      <a:pt x="15284" y="15813"/>
                      <a:pt x="15335" y="15836"/>
                      <a:pt x="15383" y="15869"/>
                    </a:cubicBezTo>
                    <a:cubicBezTo>
                      <a:pt x="15456" y="15919"/>
                      <a:pt x="15524" y="15992"/>
                      <a:pt x="15582" y="16084"/>
                    </a:cubicBezTo>
                    <a:lnTo>
                      <a:pt x="15792" y="16341"/>
                    </a:lnTo>
                    <a:lnTo>
                      <a:pt x="16009" y="16409"/>
                    </a:lnTo>
                    <a:lnTo>
                      <a:pt x="16163" y="16684"/>
                    </a:lnTo>
                    <a:lnTo>
                      <a:pt x="16364" y="16863"/>
                    </a:lnTo>
                    <a:lnTo>
                      <a:pt x="16519" y="17063"/>
                    </a:lnTo>
                    <a:lnTo>
                      <a:pt x="16602" y="17384"/>
                    </a:lnTo>
                    <a:lnTo>
                      <a:pt x="16900" y="17421"/>
                    </a:lnTo>
                    <a:lnTo>
                      <a:pt x="17231" y="17499"/>
                    </a:lnTo>
                    <a:lnTo>
                      <a:pt x="17545" y="17705"/>
                    </a:lnTo>
                    <a:lnTo>
                      <a:pt x="17840" y="17980"/>
                    </a:lnTo>
                    <a:lnTo>
                      <a:pt x="18090" y="18259"/>
                    </a:lnTo>
                    <a:lnTo>
                      <a:pt x="18475" y="18575"/>
                    </a:lnTo>
                    <a:lnTo>
                      <a:pt x="18792" y="18777"/>
                    </a:lnTo>
                    <a:lnTo>
                      <a:pt x="19129" y="19050"/>
                    </a:lnTo>
                    <a:lnTo>
                      <a:pt x="19351" y="19182"/>
                    </a:lnTo>
                    <a:lnTo>
                      <a:pt x="19359" y="18839"/>
                    </a:lnTo>
                    <a:lnTo>
                      <a:pt x="19201" y="18353"/>
                    </a:lnTo>
                    <a:lnTo>
                      <a:pt x="19056" y="17804"/>
                    </a:lnTo>
                    <a:lnTo>
                      <a:pt x="18836" y="17575"/>
                    </a:lnTo>
                    <a:lnTo>
                      <a:pt x="18691" y="17287"/>
                    </a:lnTo>
                    <a:lnTo>
                      <a:pt x="18580" y="17027"/>
                    </a:lnTo>
                    <a:lnTo>
                      <a:pt x="18437" y="16793"/>
                    </a:lnTo>
                    <a:lnTo>
                      <a:pt x="18437" y="16531"/>
                    </a:lnTo>
                    <a:lnTo>
                      <a:pt x="18220" y="16330"/>
                    </a:lnTo>
                    <a:lnTo>
                      <a:pt x="18064" y="15973"/>
                    </a:lnTo>
                    <a:lnTo>
                      <a:pt x="18247" y="15607"/>
                    </a:lnTo>
                    <a:lnTo>
                      <a:pt x="18424" y="15318"/>
                    </a:lnTo>
                    <a:lnTo>
                      <a:pt x="18655" y="15304"/>
                    </a:lnTo>
                    <a:lnTo>
                      <a:pt x="18759" y="15057"/>
                    </a:lnTo>
                    <a:cubicBezTo>
                      <a:pt x="18777" y="14995"/>
                      <a:pt x="18799" y="14935"/>
                      <a:pt x="18824" y="14880"/>
                    </a:cubicBezTo>
                    <a:cubicBezTo>
                      <a:pt x="18871" y="14776"/>
                      <a:pt x="18929" y="14689"/>
                      <a:pt x="18996" y="14623"/>
                    </a:cubicBezTo>
                    <a:lnTo>
                      <a:pt x="19321" y="14418"/>
                    </a:lnTo>
                    <a:lnTo>
                      <a:pt x="19622" y="14295"/>
                    </a:lnTo>
                    <a:lnTo>
                      <a:pt x="19459" y="13998"/>
                    </a:lnTo>
                    <a:lnTo>
                      <a:pt x="19352" y="13728"/>
                    </a:lnTo>
                    <a:lnTo>
                      <a:pt x="19263" y="13311"/>
                    </a:lnTo>
                    <a:lnTo>
                      <a:pt x="19263" y="12674"/>
                    </a:lnTo>
                    <a:lnTo>
                      <a:pt x="19094" y="12413"/>
                    </a:lnTo>
                    <a:lnTo>
                      <a:pt x="18905" y="12303"/>
                    </a:lnTo>
                    <a:lnTo>
                      <a:pt x="18825" y="11587"/>
                    </a:lnTo>
                    <a:lnTo>
                      <a:pt x="18825" y="11300"/>
                    </a:lnTo>
                    <a:lnTo>
                      <a:pt x="19026" y="11176"/>
                    </a:lnTo>
                    <a:lnTo>
                      <a:pt x="19153" y="11204"/>
                    </a:lnTo>
                    <a:lnTo>
                      <a:pt x="19685" y="11492"/>
                    </a:lnTo>
                    <a:lnTo>
                      <a:pt x="19916" y="11286"/>
                    </a:lnTo>
                    <a:lnTo>
                      <a:pt x="20085" y="11176"/>
                    </a:lnTo>
                    <a:lnTo>
                      <a:pt x="20330" y="11204"/>
                    </a:lnTo>
                    <a:lnTo>
                      <a:pt x="20504" y="11392"/>
                    </a:lnTo>
                    <a:lnTo>
                      <a:pt x="20892" y="11571"/>
                    </a:lnTo>
                    <a:lnTo>
                      <a:pt x="21279" y="11763"/>
                    </a:lnTo>
                    <a:lnTo>
                      <a:pt x="21416" y="11557"/>
                    </a:lnTo>
                    <a:lnTo>
                      <a:pt x="21488" y="11250"/>
                    </a:lnTo>
                    <a:lnTo>
                      <a:pt x="21480" y="10939"/>
                    </a:lnTo>
                    <a:lnTo>
                      <a:pt x="21585" y="10788"/>
                    </a:lnTo>
                    <a:lnTo>
                      <a:pt x="21472" y="10615"/>
                    </a:lnTo>
                    <a:lnTo>
                      <a:pt x="21445" y="10409"/>
                    </a:lnTo>
                    <a:lnTo>
                      <a:pt x="21539" y="10161"/>
                    </a:lnTo>
                    <a:lnTo>
                      <a:pt x="21600" y="9773"/>
                    </a:lnTo>
                    <a:lnTo>
                      <a:pt x="21449" y="9398"/>
                    </a:lnTo>
                    <a:lnTo>
                      <a:pt x="21248" y="9192"/>
                    </a:lnTo>
                    <a:lnTo>
                      <a:pt x="21117" y="9270"/>
                    </a:lnTo>
                    <a:lnTo>
                      <a:pt x="21077" y="9513"/>
                    </a:lnTo>
                    <a:lnTo>
                      <a:pt x="21021" y="9718"/>
                    </a:lnTo>
                    <a:lnTo>
                      <a:pt x="20909" y="9814"/>
                    </a:lnTo>
                    <a:lnTo>
                      <a:pt x="20756" y="9882"/>
                    </a:lnTo>
                    <a:lnTo>
                      <a:pt x="20592" y="9662"/>
                    </a:lnTo>
                    <a:lnTo>
                      <a:pt x="20385" y="9355"/>
                    </a:lnTo>
                    <a:lnTo>
                      <a:pt x="20422" y="9122"/>
                    </a:lnTo>
                    <a:lnTo>
                      <a:pt x="20264" y="8894"/>
                    </a:lnTo>
                    <a:lnTo>
                      <a:pt x="20434" y="8637"/>
                    </a:lnTo>
                    <a:lnTo>
                      <a:pt x="20710" y="8587"/>
                    </a:lnTo>
                    <a:lnTo>
                      <a:pt x="20858" y="8416"/>
                    </a:lnTo>
                    <a:lnTo>
                      <a:pt x="20898" y="8128"/>
                    </a:lnTo>
                    <a:lnTo>
                      <a:pt x="20858" y="7798"/>
                    </a:lnTo>
                    <a:lnTo>
                      <a:pt x="20732" y="7675"/>
                    </a:lnTo>
                    <a:lnTo>
                      <a:pt x="20644" y="7355"/>
                    </a:lnTo>
                    <a:lnTo>
                      <a:pt x="20491" y="7121"/>
                    </a:lnTo>
                    <a:lnTo>
                      <a:pt x="20507" y="6709"/>
                    </a:lnTo>
                    <a:lnTo>
                      <a:pt x="20499" y="6365"/>
                    </a:lnTo>
                    <a:lnTo>
                      <a:pt x="20459" y="5985"/>
                    </a:lnTo>
                    <a:lnTo>
                      <a:pt x="20451" y="5531"/>
                    </a:lnTo>
                    <a:lnTo>
                      <a:pt x="20370" y="5106"/>
                    </a:lnTo>
                    <a:lnTo>
                      <a:pt x="20231" y="4810"/>
                    </a:lnTo>
                    <a:lnTo>
                      <a:pt x="20145" y="4182"/>
                    </a:lnTo>
                    <a:lnTo>
                      <a:pt x="20065" y="3716"/>
                    </a:lnTo>
                    <a:lnTo>
                      <a:pt x="19979" y="3404"/>
                    </a:lnTo>
                    <a:lnTo>
                      <a:pt x="19963" y="3062"/>
                    </a:lnTo>
                    <a:lnTo>
                      <a:pt x="20091" y="2842"/>
                    </a:lnTo>
                    <a:lnTo>
                      <a:pt x="20317" y="2737"/>
                    </a:lnTo>
                    <a:lnTo>
                      <a:pt x="20570" y="2546"/>
                    </a:lnTo>
                    <a:lnTo>
                      <a:pt x="20683" y="2340"/>
                    </a:lnTo>
                    <a:lnTo>
                      <a:pt x="20965" y="2162"/>
                    </a:lnTo>
                    <a:lnTo>
                      <a:pt x="21059" y="2043"/>
                    </a:lnTo>
                    <a:lnTo>
                      <a:pt x="21076" y="1814"/>
                    </a:lnTo>
                    <a:lnTo>
                      <a:pt x="21092" y="1581"/>
                    </a:lnTo>
                    <a:lnTo>
                      <a:pt x="20928" y="1371"/>
                    </a:lnTo>
                    <a:lnTo>
                      <a:pt x="20807" y="115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74" name="Shape 338">
                <a:extLst>
                  <a:ext uri="{FF2B5EF4-FFF2-40B4-BE49-F238E27FC236}">
                    <a16:creationId xmlns:a16="http://schemas.microsoft.com/office/drawing/2014/main" id="{ACE3C532-B1FF-49A9-A617-0F3DDC153BB6}"/>
                  </a:ext>
                </a:extLst>
              </p:cNvPr>
              <p:cNvSpPr/>
              <p:nvPr/>
            </p:nvSpPr>
            <p:spPr>
              <a:xfrm>
                <a:off x="10792894" y="333619"/>
                <a:ext cx="574061" cy="334396"/>
              </a:xfrm>
              <a:custGeom>
                <a:avLst/>
                <a:gdLst/>
                <a:ahLst/>
                <a:cxnLst>
                  <a:cxn ang="0">
                    <a:pos x="wd2" y="hd2"/>
                  </a:cxn>
                  <a:cxn ang="5400000">
                    <a:pos x="wd2" y="hd2"/>
                  </a:cxn>
                  <a:cxn ang="10800000">
                    <a:pos x="wd2" y="hd2"/>
                  </a:cxn>
                  <a:cxn ang="16200000">
                    <a:pos x="wd2" y="hd2"/>
                  </a:cxn>
                </a:cxnLst>
                <a:rect l="0" t="0" r="r" b="b"/>
                <a:pathLst>
                  <a:path w="21600" h="21600" extrusionOk="0">
                    <a:moveTo>
                      <a:pt x="4445" y="7866"/>
                    </a:moveTo>
                    <a:lnTo>
                      <a:pt x="3880" y="8515"/>
                    </a:lnTo>
                    <a:lnTo>
                      <a:pt x="2778" y="8369"/>
                    </a:lnTo>
                    <a:lnTo>
                      <a:pt x="2178" y="9461"/>
                    </a:lnTo>
                    <a:lnTo>
                      <a:pt x="3120" y="10277"/>
                    </a:lnTo>
                    <a:lnTo>
                      <a:pt x="3156" y="12185"/>
                    </a:lnTo>
                    <a:lnTo>
                      <a:pt x="2430" y="12337"/>
                    </a:lnTo>
                    <a:lnTo>
                      <a:pt x="1278" y="11885"/>
                    </a:lnTo>
                    <a:lnTo>
                      <a:pt x="769" y="12613"/>
                    </a:lnTo>
                    <a:lnTo>
                      <a:pt x="566" y="13516"/>
                    </a:lnTo>
                    <a:lnTo>
                      <a:pt x="1354" y="13873"/>
                    </a:lnTo>
                    <a:lnTo>
                      <a:pt x="1463" y="14966"/>
                    </a:lnTo>
                    <a:lnTo>
                      <a:pt x="698" y="15754"/>
                    </a:lnTo>
                    <a:lnTo>
                      <a:pt x="273" y="16479"/>
                    </a:lnTo>
                    <a:lnTo>
                      <a:pt x="0" y="18023"/>
                    </a:lnTo>
                    <a:lnTo>
                      <a:pt x="841" y="18266"/>
                    </a:lnTo>
                    <a:lnTo>
                      <a:pt x="2336" y="18448"/>
                    </a:lnTo>
                    <a:lnTo>
                      <a:pt x="3297" y="19783"/>
                    </a:lnTo>
                    <a:lnTo>
                      <a:pt x="3987" y="20416"/>
                    </a:lnTo>
                    <a:lnTo>
                      <a:pt x="5126" y="21509"/>
                    </a:lnTo>
                    <a:lnTo>
                      <a:pt x="6761" y="21418"/>
                    </a:lnTo>
                    <a:lnTo>
                      <a:pt x="8539" y="21600"/>
                    </a:lnTo>
                    <a:lnTo>
                      <a:pt x="8021" y="19297"/>
                    </a:lnTo>
                    <a:lnTo>
                      <a:pt x="6548" y="18235"/>
                    </a:lnTo>
                    <a:lnTo>
                      <a:pt x="6499" y="15428"/>
                    </a:lnTo>
                    <a:lnTo>
                      <a:pt x="6997" y="13668"/>
                    </a:lnTo>
                    <a:lnTo>
                      <a:pt x="8012" y="10664"/>
                    </a:lnTo>
                    <a:lnTo>
                      <a:pt x="8386" y="8570"/>
                    </a:lnTo>
                    <a:lnTo>
                      <a:pt x="9594" y="6965"/>
                    </a:lnTo>
                    <a:lnTo>
                      <a:pt x="10818" y="7328"/>
                    </a:lnTo>
                    <a:lnTo>
                      <a:pt x="12132" y="6430"/>
                    </a:lnTo>
                    <a:lnTo>
                      <a:pt x="13272" y="5308"/>
                    </a:lnTo>
                    <a:lnTo>
                      <a:pt x="14533" y="4941"/>
                    </a:lnTo>
                    <a:lnTo>
                      <a:pt x="16291" y="4582"/>
                    </a:lnTo>
                    <a:cubicBezTo>
                      <a:pt x="16608" y="4821"/>
                      <a:pt x="16969" y="4821"/>
                      <a:pt x="17286" y="4583"/>
                    </a:cubicBezTo>
                    <a:cubicBezTo>
                      <a:pt x="17607" y="4341"/>
                      <a:pt x="17852" y="3877"/>
                      <a:pt x="17960" y="3308"/>
                    </a:cubicBezTo>
                    <a:lnTo>
                      <a:pt x="19113" y="3551"/>
                    </a:lnTo>
                    <a:lnTo>
                      <a:pt x="19985" y="3581"/>
                    </a:lnTo>
                    <a:lnTo>
                      <a:pt x="20338" y="2523"/>
                    </a:lnTo>
                    <a:lnTo>
                      <a:pt x="21351" y="2592"/>
                    </a:lnTo>
                    <a:lnTo>
                      <a:pt x="21600" y="1704"/>
                    </a:lnTo>
                    <a:lnTo>
                      <a:pt x="20641" y="1406"/>
                    </a:lnTo>
                    <a:lnTo>
                      <a:pt x="20071" y="705"/>
                    </a:lnTo>
                    <a:lnTo>
                      <a:pt x="18972" y="0"/>
                    </a:lnTo>
                    <a:lnTo>
                      <a:pt x="18514" y="430"/>
                    </a:lnTo>
                    <a:lnTo>
                      <a:pt x="18354" y="1523"/>
                    </a:lnTo>
                    <a:lnTo>
                      <a:pt x="17731" y="802"/>
                    </a:lnTo>
                    <a:lnTo>
                      <a:pt x="16469" y="984"/>
                    </a:lnTo>
                    <a:lnTo>
                      <a:pt x="15528" y="1617"/>
                    </a:lnTo>
                    <a:lnTo>
                      <a:pt x="14947" y="2494"/>
                    </a:lnTo>
                    <a:lnTo>
                      <a:pt x="13721" y="2312"/>
                    </a:lnTo>
                    <a:lnTo>
                      <a:pt x="11020" y="2130"/>
                    </a:lnTo>
                    <a:lnTo>
                      <a:pt x="9792" y="2039"/>
                    </a:lnTo>
                    <a:lnTo>
                      <a:pt x="8352" y="2392"/>
                    </a:lnTo>
                    <a:lnTo>
                      <a:pt x="7818" y="3025"/>
                    </a:lnTo>
                    <a:lnTo>
                      <a:pt x="6699" y="4565"/>
                    </a:lnTo>
                    <a:lnTo>
                      <a:pt x="5633" y="4656"/>
                    </a:lnTo>
                    <a:lnTo>
                      <a:pt x="4834" y="5829"/>
                    </a:lnTo>
                    <a:lnTo>
                      <a:pt x="4445" y="7866"/>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75" name="Shape 339">
                <a:extLst>
                  <a:ext uri="{FF2B5EF4-FFF2-40B4-BE49-F238E27FC236}">
                    <a16:creationId xmlns:a16="http://schemas.microsoft.com/office/drawing/2014/main" id="{2E3BDD73-09F2-4EDD-902B-9C3E0D0A753E}"/>
                  </a:ext>
                </a:extLst>
              </p:cNvPr>
              <p:cNvSpPr/>
              <p:nvPr/>
            </p:nvSpPr>
            <p:spPr>
              <a:xfrm>
                <a:off x="8925826" y="146564"/>
                <a:ext cx="666340" cy="254843"/>
              </a:xfrm>
              <a:custGeom>
                <a:avLst/>
                <a:gdLst/>
                <a:ahLst/>
                <a:cxnLst>
                  <a:cxn ang="0">
                    <a:pos x="wd2" y="hd2"/>
                  </a:cxn>
                  <a:cxn ang="5400000">
                    <a:pos x="wd2" y="hd2"/>
                  </a:cxn>
                  <a:cxn ang="10800000">
                    <a:pos x="wd2" y="hd2"/>
                  </a:cxn>
                  <a:cxn ang="16200000">
                    <a:pos x="wd2" y="hd2"/>
                  </a:cxn>
                </a:cxnLst>
                <a:rect l="0" t="0" r="r" b="b"/>
                <a:pathLst>
                  <a:path w="21600" h="21600" extrusionOk="0">
                    <a:moveTo>
                      <a:pt x="21036" y="2810"/>
                    </a:moveTo>
                    <a:lnTo>
                      <a:pt x="18126" y="2696"/>
                    </a:lnTo>
                    <a:lnTo>
                      <a:pt x="15876" y="2514"/>
                    </a:lnTo>
                    <a:lnTo>
                      <a:pt x="14560" y="2399"/>
                    </a:lnTo>
                    <a:lnTo>
                      <a:pt x="13964" y="607"/>
                    </a:lnTo>
                    <a:lnTo>
                      <a:pt x="13265" y="0"/>
                    </a:lnTo>
                    <a:lnTo>
                      <a:pt x="13209" y="2844"/>
                    </a:lnTo>
                    <a:lnTo>
                      <a:pt x="12490" y="2839"/>
                    </a:lnTo>
                    <a:lnTo>
                      <a:pt x="12105" y="3909"/>
                    </a:lnTo>
                    <a:lnTo>
                      <a:pt x="12121" y="6612"/>
                    </a:lnTo>
                    <a:lnTo>
                      <a:pt x="11757" y="7673"/>
                    </a:lnTo>
                    <a:lnTo>
                      <a:pt x="11102" y="6284"/>
                    </a:lnTo>
                    <a:lnTo>
                      <a:pt x="11237" y="3700"/>
                    </a:lnTo>
                    <a:lnTo>
                      <a:pt x="10419" y="2546"/>
                    </a:lnTo>
                    <a:lnTo>
                      <a:pt x="9953" y="4134"/>
                    </a:lnTo>
                    <a:lnTo>
                      <a:pt x="9148" y="5886"/>
                    </a:lnTo>
                    <a:lnTo>
                      <a:pt x="7705" y="5408"/>
                    </a:lnTo>
                    <a:lnTo>
                      <a:pt x="6697" y="5288"/>
                    </a:lnTo>
                    <a:lnTo>
                      <a:pt x="6009" y="4218"/>
                    </a:lnTo>
                    <a:lnTo>
                      <a:pt x="5379" y="3745"/>
                    </a:lnTo>
                    <a:lnTo>
                      <a:pt x="2617" y="4347"/>
                    </a:lnTo>
                    <a:lnTo>
                      <a:pt x="1144" y="3636"/>
                    </a:lnTo>
                    <a:lnTo>
                      <a:pt x="135" y="4591"/>
                    </a:lnTo>
                    <a:lnTo>
                      <a:pt x="0" y="6851"/>
                    </a:lnTo>
                    <a:lnTo>
                      <a:pt x="1109" y="8265"/>
                    </a:lnTo>
                    <a:lnTo>
                      <a:pt x="1858" y="9728"/>
                    </a:lnTo>
                    <a:lnTo>
                      <a:pt x="2773" y="10918"/>
                    </a:lnTo>
                    <a:lnTo>
                      <a:pt x="3798" y="10560"/>
                    </a:lnTo>
                    <a:lnTo>
                      <a:pt x="4488" y="11864"/>
                    </a:lnTo>
                    <a:lnTo>
                      <a:pt x="5238" y="12297"/>
                    </a:lnTo>
                    <a:lnTo>
                      <a:pt x="5238" y="9037"/>
                    </a:lnTo>
                    <a:lnTo>
                      <a:pt x="6816" y="8599"/>
                    </a:lnTo>
                    <a:lnTo>
                      <a:pt x="6769" y="11506"/>
                    </a:lnTo>
                    <a:lnTo>
                      <a:pt x="6906" y="13288"/>
                    </a:lnTo>
                    <a:lnTo>
                      <a:pt x="4182" y="13367"/>
                    </a:lnTo>
                    <a:lnTo>
                      <a:pt x="4105" y="14562"/>
                    </a:lnTo>
                    <a:lnTo>
                      <a:pt x="4611" y="15358"/>
                    </a:lnTo>
                    <a:lnTo>
                      <a:pt x="5606" y="16747"/>
                    </a:lnTo>
                    <a:lnTo>
                      <a:pt x="7302" y="19415"/>
                    </a:lnTo>
                    <a:lnTo>
                      <a:pt x="8040" y="21600"/>
                    </a:lnTo>
                    <a:lnTo>
                      <a:pt x="8822" y="21485"/>
                    </a:lnTo>
                    <a:lnTo>
                      <a:pt x="9465" y="18116"/>
                    </a:lnTo>
                    <a:lnTo>
                      <a:pt x="9649" y="15258"/>
                    </a:lnTo>
                    <a:lnTo>
                      <a:pt x="10369" y="13745"/>
                    </a:lnTo>
                    <a:lnTo>
                      <a:pt x="11287" y="14343"/>
                    </a:lnTo>
                    <a:lnTo>
                      <a:pt x="11640" y="11993"/>
                    </a:lnTo>
                    <a:lnTo>
                      <a:pt x="11640" y="9136"/>
                    </a:lnTo>
                    <a:lnTo>
                      <a:pt x="13126" y="8703"/>
                    </a:lnTo>
                    <a:lnTo>
                      <a:pt x="14029" y="10490"/>
                    </a:lnTo>
                    <a:lnTo>
                      <a:pt x="14715" y="12003"/>
                    </a:lnTo>
                    <a:lnTo>
                      <a:pt x="14303" y="13193"/>
                    </a:lnTo>
                    <a:lnTo>
                      <a:pt x="13891" y="14507"/>
                    </a:lnTo>
                    <a:lnTo>
                      <a:pt x="14441" y="16856"/>
                    </a:lnTo>
                    <a:lnTo>
                      <a:pt x="15346" y="16264"/>
                    </a:lnTo>
                    <a:lnTo>
                      <a:pt x="15759" y="14472"/>
                    </a:lnTo>
                    <a:lnTo>
                      <a:pt x="16864" y="14472"/>
                    </a:lnTo>
                    <a:lnTo>
                      <a:pt x="17370" y="15303"/>
                    </a:lnTo>
                    <a:lnTo>
                      <a:pt x="17732" y="17409"/>
                    </a:lnTo>
                    <a:lnTo>
                      <a:pt x="18407" y="16692"/>
                    </a:lnTo>
                    <a:lnTo>
                      <a:pt x="19503" y="15398"/>
                    </a:lnTo>
                    <a:lnTo>
                      <a:pt x="18539" y="14208"/>
                    </a:lnTo>
                    <a:lnTo>
                      <a:pt x="18004" y="13969"/>
                    </a:lnTo>
                    <a:lnTo>
                      <a:pt x="17870" y="12460"/>
                    </a:lnTo>
                    <a:lnTo>
                      <a:pt x="17136" y="11630"/>
                    </a:lnTo>
                    <a:lnTo>
                      <a:pt x="15759" y="11037"/>
                    </a:lnTo>
                    <a:lnTo>
                      <a:pt x="14891" y="9608"/>
                    </a:lnTo>
                    <a:lnTo>
                      <a:pt x="14017" y="8334"/>
                    </a:lnTo>
                    <a:lnTo>
                      <a:pt x="13655" y="7742"/>
                    </a:lnTo>
                    <a:lnTo>
                      <a:pt x="13563" y="5253"/>
                    </a:lnTo>
                    <a:lnTo>
                      <a:pt x="14253" y="4895"/>
                    </a:lnTo>
                    <a:lnTo>
                      <a:pt x="14864" y="7105"/>
                    </a:lnTo>
                    <a:lnTo>
                      <a:pt x="16948" y="7941"/>
                    </a:lnTo>
                    <a:lnTo>
                      <a:pt x="18002" y="8891"/>
                    </a:lnTo>
                    <a:lnTo>
                      <a:pt x="19472" y="7458"/>
                    </a:lnTo>
                    <a:lnTo>
                      <a:pt x="20699" y="6542"/>
                    </a:lnTo>
                    <a:lnTo>
                      <a:pt x="21374" y="4805"/>
                    </a:lnTo>
                    <a:lnTo>
                      <a:pt x="21600" y="3028"/>
                    </a:lnTo>
                    <a:lnTo>
                      <a:pt x="21036" y="281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76" name="Shape 340">
                <a:extLst>
                  <a:ext uri="{FF2B5EF4-FFF2-40B4-BE49-F238E27FC236}">
                    <a16:creationId xmlns:a16="http://schemas.microsoft.com/office/drawing/2014/main" id="{877BEAB3-81C5-4EB3-A1C2-5C13511D6116}"/>
                  </a:ext>
                </a:extLst>
              </p:cNvPr>
              <p:cNvSpPr/>
              <p:nvPr/>
            </p:nvSpPr>
            <p:spPr>
              <a:xfrm>
                <a:off x="7338455" y="896888"/>
                <a:ext cx="425498" cy="174264"/>
              </a:xfrm>
              <a:custGeom>
                <a:avLst/>
                <a:gdLst/>
                <a:ahLst/>
                <a:cxnLst>
                  <a:cxn ang="0">
                    <a:pos x="wd2" y="hd2"/>
                  </a:cxn>
                  <a:cxn ang="5400000">
                    <a:pos x="wd2" y="hd2"/>
                  </a:cxn>
                  <a:cxn ang="10800000">
                    <a:pos x="wd2" y="hd2"/>
                  </a:cxn>
                  <a:cxn ang="16200000">
                    <a:pos x="wd2" y="hd2"/>
                  </a:cxn>
                </a:cxnLst>
                <a:rect l="0" t="0" r="r" b="b"/>
                <a:pathLst>
                  <a:path w="21600" h="21600" extrusionOk="0">
                    <a:moveTo>
                      <a:pt x="17441" y="270"/>
                    </a:moveTo>
                    <a:lnTo>
                      <a:pt x="15742" y="0"/>
                    </a:lnTo>
                    <a:lnTo>
                      <a:pt x="14405" y="1481"/>
                    </a:lnTo>
                    <a:lnTo>
                      <a:pt x="12187" y="4101"/>
                    </a:lnTo>
                    <a:lnTo>
                      <a:pt x="10897" y="4101"/>
                    </a:lnTo>
                    <a:lnTo>
                      <a:pt x="8628" y="1546"/>
                    </a:lnTo>
                    <a:lnTo>
                      <a:pt x="6724" y="2070"/>
                    </a:lnTo>
                    <a:lnTo>
                      <a:pt x="5296" y="4167"/>
                    </a:lnTo>
                    <a:lnTo>
                      <a:pt x="1948" y="7428"/>
                    </a:lnTo>
                    <a:lnTo>
                      <a:pt x="1232" y="7428"/>
                    </a:lnTo>
                    <a:lnTo>
                      <a:pt x="0" y="9510"/>
                    </a:lnTo>
                    <a:lnTo>
                      <a:pt x="92" y="13288"/>
                    </a:lnTo>
                    <a:lnTo>
                      <a:pt x="773" y="15544"/>
                    </a:lnTo>
                    <a:lnTo>
                      <a:pt x="2067" y="12989"/>
                    </a:lnTo>
                    <a:lnTo>
                      <a:pt x="3646" y="15959"/>
                    </a:lnTo>
                    <a:cubicBezTo>
                      <a:pt x="4278" y="16734"/>
                      <a:pt x="4893" y="17587"/>
                      <a:pt x="5489" y="18514"/>
                    </a:cubicBezTo>
                    <a:cubicBezTo>
                      <a:pt x="6102" y="19467"/>
                      <a:pt x="6694" y="20497"/>
                      <a:pt x="7263" y="21600"/>
                    </a:cubicBezTo>
                    <a:lnTo>
                      <a:pt x="8821" y="21600"/>
                    </a:lnTo>
                    <a:lnTo>
                      <a:pt x="10787" y="16890"/>
                    </a:lnTo>
                    <a:lnTo>
                      <a:pt x="12583" y="16890"/>
                    </a:lnTo>
                    <a:lnTo>
                      <a:pt x="15533" y="16716"/>
                    </a:lnTo>
                    <a:lnTo>
                      <a:pt x="17142" y="13513"/>
                    </a:lnTo>
                    <a:lnTo>
                      <a:pt x="18721" y="10914"/>
                    </a:lnTo>
                    <a:lnTo>
                      <a:pt x="20955" y="10041"/>
                    </a:lnTo>
                    <a:lnTo>
                      <a:pt x="21600" y="8323"/>
                    </a:lnTo>
                    <a:lnTo>
                      <a:pt x="20688" y="4902"/>
                    </a:lnTo>
                    <a:lnTo>
                      <a:pt x="19658" y="3045"/>
                    </a:lnTo>
                    <a:lnTo>
                      <a:pt x="18823" y="1655"/>
                    </a:lnTo>
                    <a:lnTo>
                      <a:pt x="17441" y="27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77" name="Shape 341">
                <a:extLst>
                  <a:ext uri="{FF2B5EF4-FFF2-40B4-BE49-F238E27FC236}">
                    <a16:creationId xmlns:a16="http://schemas.microsoft.com/office/drawing/2014/main" id="{D537F4A1-09DF-4C84-9E60-1430A03E43C5}"/>
                  </a:ext>
                </a:extLst>
              </p:cNvPr>
              <p:cNvSpPr/>
              <p:nvPr/>
            </p:nvSpPr>
            <p:spPr>
              <a:xfrm>
                <a:off x="8080294" y="658524"/>
                <a:ext cx="76816" cy="37293"/>
              </a:xfrm>
              <a:custGeom>
                <a:avLst/>
                <a:gdLst/>
                <a:ahLst/>
                <a:cxnLst>
                  <a:cxn ang="0">
                    <a:pos x="wd2" y="hd2"/>
                  </a:cxn>
                  <a:cxn ang="5400000">
                    <a:pos x="wd2" y="hd2"/>
                  </a:cxn>
                  <a:cxn ang="10800000">
                    <a:pos x="wd2" y="hd2"/>
                  </a:cxn>
                  <a:cxn ang="16200000">
                    <a:pos x="wd2" y="hd2"/>
                  </a:cxn>
                </a:cxnLst>
                <a:rect l="0" t="0" r="r" b="b"/>
                <a:pathLst>
                  <a:path w="21600" h="21600" extrusionOk="0">
                    <a:moveTo>
                      <a:pt x="15176" y="0"/>
                    </a:moveTo>
                    <a:lnTo>
                      <a:pt x="10983" y="4657"/>
                    </a:lnTo>
                    <a:lnTo>
                      <a:pt x="5919" y="4185"/>
                    </a:lnTo>
                    <a:lnTo>
                      <a:pt x="0" y="5818"/>
                    </a:lnTo>
                    <a:lnTo>
                      <a:pt x="17" y="18606"/>
                    </a:lnTo>
                    <a:lnTo>
                      <a:pt x="11091" y="21600"/>
                    </a:lnTo>
                    <a:lnTo>
                      <a:pt x="21600" y="16735"/>
                    </a:lnTo>
                    <a:lnTo>
                      <a:pt x="21483" y="2347"/>
                    </a:lnTo>
                    <a:lnTo>
                      <a:pt x="15176"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78" name="Shape 342">
                <a:extLst>
                  <a:ext uri="{FF2B5EF4-FFF2-40B4-BE49-F238E27FC236}">
                    <a16:creationId xmlns:a16="http://schemas.microsoft.com/office/drawing/2014/main" id="{5477DA23-1951-42FF-A7D6-E9F0FC5FFFDE}"/>
                  </a:ext>
                </a:extLst>
              </p:cNvPr>
              <p:cNvSpPr/>
              <p:nvPr/>
            </p:nvSpPr>
            <p:spPr>
              <a:xfrm>
                <a:off x="8101795" y="1098706"/>
                <a:ext cx="65432" cy="42781"/>
              </a:xfrm>
              <a:custGeom>
                <a:avLst/>
                <a:gdLst/>
                <a:ahLst/>
                <a:cxnLst>
                  <a:cxn ang="0">
                    <a:pos x="wd2" y="hd2"/>
                  </a:cxn>
                  <a:cxn ang="5400000">
                    <a:pos x="wd2" y="hd2"/>
                  </a:cxn>
                  <a:cxn ang="10800000">
                    <a:pos x="wd2" y="hd2"/>
                  </a:cxn>
                  <a:cxn ang="16200000">
                    <a:pos x="wd2" y="hd2"/>
                  </a:cxn>
                </a:cxnLst>
                <a:rect l="0" t="0" r="r" b="b"/>
                <a:pathLst>
                  <a:path w="21600" h="21600" extrusionOk="0">
                    <a:moveTo>
                      <a:pt x="9779" y="0"/>
                    </a:moveTo>
                    <a:lnTo>
                      <a:pt x="0" y="1898"/>
                    </a:lnTo>
                    <a:lnTo>
                      <a:pt x="497" y="14515"/>
                    </a:lnTo>
                    <a:lnTo>
                      <a:pt x="10043" y="15938"/>
                    </a:lnTo>
                    <a:lnTo>
                      <a:pt x="21600" y="21600"/>
                    </a:lnTo>
                    <a:lnTo>
                      <a:pt x="18457" y="5083"/>
                    </a:lnTo>
                    <a:lnTo>
                      <a:pt x="9779"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79" name="Shape 343">
                <a:extLst>
                  <a:ext uri="{FF2B5EF4-FFF2-40B4-BE49-F238E27FC236}">
                    <a16:creationId xmlns:a16="http://schemas.microsoft.com/office/drawing/2014/main" id="{2C38BC81-17DE-4036-9A6E-672F1C4CD1B8}"/>
                  </a:ext>
                </a:extLst>
              </p:cNvPr>
              <p:cNvSpPr/>
              <p:nvPr/>
            </p:nvSpPr>
            <p:spPr>
              <a:xfrm>
                <a:off x="8109168" y="1146109"/>
                <a:ext cx="39713" cy="30437"/>
              </a:xfrm>
              <a:custGeom>
                <a:avLst/>
                <a:gdLst/>
                <a:ahLst/>
                <a:cxnLst>
                  <a:cxn ang="0">
                    <a:pos x="wd2" y="hd2"/>
                  </a:cxn>
                  <a:cxn ang="5400000">
                    <a:pos x="wd2" y="hd2"/>
                  </a:cxn>
                  <a:cxn ang="10800000">
                    <a:pos x="wd2" y="hd2"/>
                  </a:cxn>
                  <a:cxn ang="16200000">
                    <a:pos x="wd2" y="hd2"/>
                  </a:cxn>
                </a:cxnLst>
                <a:rect l="0" t="0" r="r" b="b"/>
                <a:pathLst>
                  <a:path w="21600" h="21600" extrusionOk="0">
                    <a:moveTo>
                      <a:pt x="12170" y="2345"/>
                    </a:moveTo>
                    <a:lnTo>
                      <a:pt x="2749" y="0"/>
                    </a:lnTo>
                    <a:lnTo>
                      <a:pt x="0" y="17437"/>
                    </a:lnTo>
                    <a:lnTo>
                      <a:pt x="16227" y="21600"/>
                    </a:lnTo>
                    <a:lnTo>
                      <a:pt x="21600" y="10871"/>
                    </a:lnTo>
                    <a:lnTo>
                      <a:pt x="12170" y="2345"/>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80" name="Shape 344">
                <a:extLst>
                  <a:ext uri="{FF2B5EF4-FFF2-40B4-BE49-F238E27FC236}">
                    <a16:creationId xmlns:a16="http://schemas.microsoft.com/office/drawing/2014/main" id="{7927D6C5-EBD2-4742-A8A1-B0D269614867}"/>
                  </a:ext>
                </a:extLst>
              </p:cNvPr>
              <p:cNvSpPr/>
              <p:nvPr/>
            </p:nvSpPr>
            <p:spPr>
              <a:xfrm>
                <a:off x="7822927" y="1568181"/>
                <a:ext cx="263245" cy="254671"/>
              </a:xfrm>
              <a:custGeom>
                <a:avLst/>
                <a:gdLst/>
                <a:ahLst/>
                <a:cxnLst>
                  <a:cxn ang="0">
                    <a:pos x="wd2" y="hd2"/>
                  </a:cxn>
                  <a:cxn ang="5400000">
                    <a:pos x="wd2" y="hd2"/>
                  </a:cxn>
                  <a:cxn ang="10800000">
                    <a:pos x="wd2" y="hd2"/>
                  </a:cxn>
                  <a:cxn ang="16200000">
                    <a:pos x="wd2" y="hd2"/>
                  </a:cxn>
                </a:cxnLst>
                <a:rect l="0" t="0" r="r" b="b"/>
                <a:pathLst>
                  <a:path w="21600" h="21600" extrusionOk="0">
                    <a:moveTo>
                      <a:pt x="15382" y="115"/>
                    </a:moveTo>
                    <a:lnTo>
                      <a:pt x="11359" y="0"/>
                    </a:lnTo>
                    <a:lnTo>
                      <a:pt x="9153" y="2568"/>
                    </a:lnTo>
                    <a:lnTo>
                      <a:pt x="6986" y="4361"/>
                    </a:lnTo>
                    <a:lnTo>
                      <a:pt x="4456" y="4002"/>
                    </a:lnTo>
                    <a:lnTo>
                      <a:pt x="1440" y="5073"/>
                    </a:lnTo>
                    <a:lnTo>
                      <a:pt x="1800" y="7574"/>
                    </a:lnTo>
                    <a:lnTo>
                      <a:pt x="3652" y="8406"/>
                    </a:lnTo>
                    <a:lnTo>
                      <a:pt x="4457" y="9915"/>
                    </a:lnTo>
                    <a:lnTo>
                      <a:pt x="3642" y="11583"/>
                    </a:lnTo>
                    <a:lnTo>
                      <a:pt x="2953" y="12535"/>
                    </a:lnTo>
                    <a:lnTo>
                      <a:pt x="2371" y="14995"/>
                    </a:lnTo>
                    <a:lnTo>
                      <a:pt x="42" y="15588"/>
                    </a:lnTo>
                    <a:lnTo>
                      <a:pt x="0" y="17102"/>
                    </a:lnTo>
                    <a:lnTo>
                      <a:pt x="974" y="18138"/>
                    </a:lnTo>
                    <a:lnTo>
                      <a:pt x="1672" y="20768"/>
                    </a:lnTo>
                    <a:lnTo>
                      <a:pt x="3483" y="21600"/>
                    </a:lnTo>
                    <a:lnTo>
                      <a:pt x="5773" y="20165"/>
                    </a:lnTo>
                    <a:lnTo>
                      <a:pt x="8334" y="18253"/>
                    </a:lnTo>
                    <a:lnTo>
                      <a:pt x="10697" y="17097"/>
                    </a:lnTo>
                    <a:cubicBezTo>
                      <a:pt x="11878" y="17476"/>
                      <a:pt x="13148" y="17434"/>
                      <a:pt x="14302" y="16978"/>
                    </a:cubicBezTo>
                    <a:cubicBezTo>
                      <a:pt x="14998" y="16703"/>
                      <a:pt x="15630" y="16284"/>
                      <a:pt x="16161" y="15748"/>
                    </a:cubicBezTo>
                    <a:cubicBezTo>
                      <a:pt x="16616" y="15267"/>
                      <a:pt x="16972" y="14698"/>
                      <a:pt x="17209" y="14074"/>
                    </a:cubicBezTo>
                    <a:cubicBezTo>
                      <a:pt x="17751" y="12641"/>
                      <a:pt x="17639" y="11035"/>
                      <a:pt x="16903" y="9696"/>
                    </a:cubicBezTo>
                    <a:lnTo>
                      <a:pt x="17252" y="7434"/>
                    </a:lnTo>
                    <a:lnTo>
                      <a:pt x="18650" y="5686"/>
                    </a:lnTo>
                    <a:lnTo>
                      <a:pt x="20358" y="4730"/>
                    </a:lnTo>
                    <a:lnTo>
                      <a:pt x="21600" y="2658"/>
                    </a:lnTo>
                    <a:lnTo>
                      <a:pt x="19703" y="870"/>
                    </a:lnTo>
                    <a:lnTo>
                      <a:pt x="16922" y="162"/>
                    </a:lnTo>
                    <a:lnTo>
                      <a:pt x="15382" y="115"/>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81" name="Shape 345">
                <a:extLst>
                  <a:ext uri="{FF2B5EF4-FFF2-40B4-BE49-F238E27FC236}">
                    <a16:creationId xmlns:a16="http://schemas.microsoft.com/office/drawing/2014/main" id="{8C2CB507-6A82-4DA4-BB7F-CA8BA83F98A9}"/>
                  </a:ext>
                </a:extLst>
              </p:cNvPr>
              <p:cNvSpPr/>
              <p:nvPr/>
            </p:nvSpPr>
            <p:spPr>
              <a:xfrm>
                <a:off x="8065885" y="1387853"/>
                <a:ext cx="384928" cy="505334"/>
              </a:xfrm>
              <a:custGeom>
                <a:avLst/>
                <a:gdLst/>
                <a:ahLst/>
                <a:cxnLst>
                  <a:cxn ang="0">
                    <a:pos x="wd2" y="hd2"/>
                  </a:cxn>
                  <a:cxn ang="5400000">
                    <a:pos x="wd2" y="hd2"/>
                  </a:cxn>
                  <a:cxn ang="10800000">
                    <a:pos x="wd2" y="hd2"/>
                  </a:cxn>
                  <a:cxn ang="16200000">
                    <a:pos x="wd2" y="hd2"/>
                  </a:cxn>
                </a:cxnLst>
                <a:rect l="0" t="0" r="r" b="b"/>
                <a:pathLst>
                  <a:path w="21600" h="21600" extrusionOk="0">
                    <a:moveTo>
                      <a:pt x="6288" y="0"/>
                    </a:moveTo>
                    <a:lnTo>
                      <a:pt x="5027" y="806"/>
                    </a:lnTo>
                    <a:lnTo>
                      <a:pt x="3705" y="828"/>
                    </a:lnTo>
                    <a:lnTo>
                      <a:pt x="3047" y="1789"/>
                    </a:lnTo>
                    <a:lnTo>
                      <a:pt x="3106" y="2665"/>
                    </a:lnTo>
                    <a:lnTo>
                      <a:pt x="2104" y="3622"/>
                    </a:lnTo>
                    <a:lnTo>
                      <a:pt x="2256" y="4561"/>
                    </a:lnTo>
                    <a:lnTo>
                      <a:pt x="3288" y="5341"/>
                    </a:lnTo>
                    <a:lnTo>
                      <a:pt x="4241" y="6303"/>
                    </a:lnTo>
                    <a:lnTo>
                      <a:pt x="3288" y="6900"/>
                    </a:lnTo>
                    <a:lnTo>
                      <a:pt x="3129" y="7663"/>
                    </a:lnTo>
                    <a:cubicBezTo>
                      <a:pt x="3378" y="7883"/>
                      <a:pt x="3663" y="8077"/>
                      <a:pt x="3979" y="8241"/>
                    </a:cubicBezTo>
                    <a:cubicBezTo>
                      <a:pt x="4404" y="8461"/>
                      <a:pt x="4878" y="8624"/>
                      <a:pt x="5379" y="8720"/>
                    </a:cubicBezTo>
                    <a:lnTo>
                      <a:pt x="6013" y="7816"/>
                    </a:lnTo>
                    <a:lnTo>
                      <a:pt x="7340" y="7877"/>
                    </a:lnTo>
                    <a:lnTo>
                      <a:pt x="8475" y="8655"/>
                    </a:lnTo>
                    <a:lnTo>
                      <a:pt x="8475" y="9799"/>
                    </a:lnTo>
                    <a:cubicBezTo>
                      <a:pt x="8649" y="10161"/>
                      <a:pt x="8756" y="10540"/>
                      <a:pt x="8794" y="10924"/>
                    </a:cubicBezTo>
                    <a:cubicBezTo>
                      <a:pt x="8852" y="11516"/>
                      <a:pt x="8744" y="12110"/>
                      <a:pt x="8478" y="12668"/>
                    </a:cubicBezTo>
                    <a:lnTo>
                      <a:pt x="6756" y="12970"/>
                    </a:lnTo>
                    <a:lnTo>
                      <a:pt x="5830" y="13030"/>
                    </a:lnTo>
                    <a:lnTo>
                      <a:pt x="3796" y="13504"/>
                    </a:lnTo>
                    <a:lnTo>
                      <a:pt x="3975" y="14368"/>
                    </a:lnTo>
                    <a:lnTo>
                      <a:pt x="4901" y="14529"/>
                    </a:lnTo>
                    <a:lnTo>
                      <a:pt x="4662" y="15465"/>
                    </a:lnTo>
                    <a:lnTo>
                      <a:pt x="3020" y="15884"/>
                    </a:lnTo>
                    <a:lnTo>
                      <a:pt x="2091" y="16123"/>
                    </a:lnTo>
                    <a:lnTo>
                      <a:pt x="3022" y="16841"/>
                    </a:lnTo>
                    <a:lnTo>
                      <a:pt x="4564" y="17538"/>
                    </a:lnTo>
                    <a:lnTo>
                      <a:pt x="5725" y="17538"/>
                    </a:lnTo>
                    <a:lnTo>
                      <a:pt x="8134" y="17880"/>
                    </a:lnTo>
                    <a:lnTo>
                      <a:pt x="8426" y="18623"/>
                    </a:lnTo>
                    <a:lnTo>
                      <a:pt x="7232" y="19258"/>
                    </a:lnTo>
                    <a:lnTo>
                      <a:pt x="4232" y="19559"/>
                    </a:lnTo>
                    <a:lnTo>
                      <a:pt x="2642" y="20099"/>
                    </a:lnTo>
                    <a:lnTo>
                      <a:pt x="735" y="20340"/>
                    </a:lnTo>
                    <a:lnTo>
                      <a:pt x="0" y="21060"/>
                    </a:lnTo>
                    <a:lnTo>
                      <a:pt x="502" y="21600"/>
                    </a:lnTo>
                    <a:lnTo>
                      <a:pt x="2782" y="21359"/>
                    </a:lnTo>
                    <a:cubicBezTo>
                      <a:pt x="3310" y="21133"/>
                      <a:pt x="3861" y="20938"/>
                      <a:pt x="4428" y="20777"/>
                    </a:cubicBezTo>
                    <a:cubicBezTo>
                      <a:pt x="5234" y="20547"/>
                      <a:pt x="6071" y="20386"/>
                      <a:pt x="6924" y="20295"/>
                    </a:cubicBezTo>
                    <a:lnTo>
                      <a:pt x="8622" y="20174"/>
                    </a:lnTo>
                    <a:lnTo>
                      <a:pt x="11277" y="19873"/>
                    </a:lnTo>
                    <a:lnTo>
                      <a:pt x="12657" y="19753"/>
                    </a:lnTo>
                    <a:lnTo>
                      <a:pt x="14884" y="19050"/>
                    </a:lnTo>
                    <a:lnTo>
                      <a:pt x="16583" y="19391"/>
                    </a:lnTo>
                    <a:lnTo>
                      <a:pt x="19689" y="19030"/>
                    </a:lnTo>
                    <a:lnTo>
                      <a:pt x="18335" y="18548"/>
                    </a:lnTo>
                    <a:lnTo>
                      <a:pt x="16662" y="17767"/>
                    </a:lnTo>
                    <a:lnTo>
                      <a:pt x="21520" y="16502"/>
                    </a:lnTo>
                    <a:lnTo>
                      <a:pt x="21600" y="15842"/>
                    </a:lnTo>
                    <a:lnTo>
                      <a:pt x="21042" y="14238"/>
                    </a:lnTo>
                    <a:lnTo>
                      <a:pt x="19695" y="14120"/>
                    </a:lnTo>
                    <a:lnTo>
                      <a:pt x="18773" y="15157"/>
                    </a:lnTo>
                    <a:lnTo>
                      <a:pt x="16954" y="14916"/>
                    </a:lnTo>
                    <a:cubicBezTo>
                      <a:pt x="16658" y="14546"/>
                      <a:pt x="16446" y="14141"/>
                      <a:pt x="16327" y="13718"/>
                    </a:cubicBezTo>
                    <a:cubicBezTo>
                      <a:pt x="16175" y="13182"/>
                      <a:pt x="16175" y="12628"/>
                      <a:pt x="16327" y="12092"/>
                    </a:cubicBezTo>
                    <a:cubicBezTo>
                      <a:pt x="16208" y="11609"/>
                      <a:pt x="15994" y="11142"/>
                      <a:pt x="15690" y="10709"/>
                    </a:cubicBezTo>
                    <a:cubicBezTo>
                      <a:pt x="15360" y="10238"/>
                      <a:pt x="14929" y="9811"/>
                      <a:pt x="14416" y="9446"/>
                    </a:cubicBezTo>
                    <a:lnTo>
                      <a:pt x="13327" y="7779"/>
                    </a:lnTo>
                    <a:lnTo>
                      <a:pt x="10543" y="6097"/>
                    </a:lnTo>
                    <a:lnTo>
                      <a:pt x="8818" y="6097"/>
                    </a:lnTo>
                    <a:lnTo>
                      <a:pt x="7603" y="5799"/>
                    </a:lnTo>
                    <a:cubicBezTo>
                      <a:pt x="7249" y="5554"/>
                      <a:pt x="7071" y="5196"/>
                      <a:pt x="7125" y="4835"/>
                    </a:cubicBezTo>
                    <a:cubicBezTo>
                      <a:pt x="7216" y="4226"/>
                      <a:pt x="7901" y="3767"/>
                      <a:pt x="8711" y="3773"/>
                    </a:cubicBezTo>
                    <a:lnTo>
                      <a:pt x="10301" y="2689"/>
                    </a:lnTo>
                    <a:lnTo>
                      <a:pt x="8469" y="2151"/>
                    </a:lnTo>
                    <a:lnTo>
                      <a:pt x="6346" y="1730"/>
                    </a:lnTo>
                    <a:lnTo>
                      <a:pt x="6979" y="1072"/>
                    </a:lnTo>
                    <a:lnTo>
                      <a:pt x="7431" y="111"/>
                    </a:lnTo>
                    <a:lnTo>
                      <a:pt x="6288"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82" name="Shape 346">
                <a:extLst>
                  <a:ext uri="{FF2B5EF4-FFF2-40B4-BE49-F238E27FC236}">
                    <a16:creationId xmlns:a16="http://schemas.microsoft.com/office/drawing/2014/main" id="{69FB98B1-5319-435D-8A89-7987FA8BFFC2}"/>
                  </a:ext>
                </a:extLst>
              </p:cNvPr>
              <p:cNvSpPr/>
              <p:nvPr/>
            </p:nvSpPr>
            <p:spPr>
              <a:xfrm>
                <a:off x="8126260" y="1610745"/>
                <a:ext cx="30437" cy="39349"/>
              </a:xfrm>
              <a:custGeom>
                <a:avLst/>
                <a:gdLst/>
                <a:ahLst/>
                <a:cxnLst>
                  <a:cxn ang="0">
                    <a:pos x="wd2" y="hd2"/>
                  </a:cxn>
                  <a:cxn ang="5400000">
                    <a:pos x="wd2" y="hd2"/>
                  </a:cxn>
                  <a:cxn ang="10800000">
                    <a:pos x="wd2" y="hd2"/>
                  </a:cxn>
                  <a:cxn ang="16200000">
                    <a:pos x="wd2" y="hd2"/>
                  </a:cxn>
                </a:cxnLst>
                <a:rect l="0" t="0" r="r" b="b"/>
                <a:pathLst>
                  <a:path w="21600" h="21600" extrusionOk="0">
                    <a:moveTo>
                      <a:pt x="4405" y="858"/>
                    </a:moveTo>
                    <a:lnTo>
                      <a:pt x="0" y="8854"/>
                    </a:lnTo>
                    <a:lnTo>
                      <a:pt x="5633" y="18505"/>
                    </a:lnTo>
                    <a:lnTo>
                      <a:pt x="16548" y="21600"/>
                    </a:lnTo>
                    <a:lnTo>
                      <a:pt x="21600" y="10060"/>
                    </a:lnTo>
                    <a:lnTo>
                      <a:pt x="18861" y="0"/>
                    </a:lnTo>
                    <a:lnTo>
                      <a:pt x="4405" y="858"/>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83" name="Shape 347">
                <a:extLst>
                  <a:ext uri="{FF2B5EF4-FFF2-40B4-BE49-F238E27FC236}">
                    <a16:creationId xmlns:a16="http://schemas.microsoft.com/office/drawing/2014/main" id="{20122715-8632-4496-A2BD-CF51D0205955}"/>
                  </a:ext>
                </a:extLst>
              </p:cNvPr>
              <p:cNvSpPr/>
              <p:nvPr/>
            </p:nvSpPr>
            <p:spPr>
              <a:xfrm>
                <a:off x="8166486" y="1923493"/>
                <a:ext cx="33048" cy="30437"/>
              </a:xfrm>
              <a:custGeom>
                <a:avLst/>
                <a:gdLst/>
                <a:ahLst/>
                <a:cxnLst>
                  <a:cxn ang="0">
                    <a:pos x="wd2" y="hd2"/>
                  </a:cxn>
                  <a:cxn ang="5400000">
                    <a:pos x="wd2" y="hd2"/>
                  </a:cxn>
                  <a:cxn ang="10800000">
                    <a:pos x="wd2" y="hd2"/>
                  </a:cxn>
                  <a:cxn ang="16200000">
                    <a:pos x="wd2" y="hd2"/>
                  </a:cxn>
                </a:cxnLst>
                <a:rect l="0" t="0" r="r" b="b"/>
                <a:pathLst>
                  <a:path w="21600" h="21600" extrusionOk="0">
                    <a:moveTo>
                      <a:pt x="13214" y="0"/>
                    </a:moveTo>
                    <a:lnTo>
                      <a:pt x="0" y="6137"/>
                    </a:lnTo>
                    <a:lnTo>
                      <a:pt x="4727" y="21600"/>
                    </a:lnTo>
                    <a:lnTo>
                      <a:pt x="21600" y="12940"/>
                    </a:lnTo>
                    <a:lnTo>
                      <a:pt x="13214"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84" name="Shape 348">
                <a:extLst>
                  <a:ext uri="{FF2B5EF4-FFF2-40B4-BE49-F238E27FC236}">
                    <a16:creationId xmlns:a16="http://schemas.microsoft.com/office/drawing/2014/main" id="{F481A5ED-F36C-4645-9EBD-9DC7B8DD8888}"/>
                  </a:ext>
                </a:extLst>
              </p:cNvPr>
              <p:cNvSpPr/>
              <p:nvPr/>
            </p:nvSpPr>
            <p:spPr>
              <a:xfrm>
                <a:off x="8213739" y="1933823"/>
                <a:ext cx="30437" cy="3043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4630" y="1789"/>
                    </a:lnTo>
                    <a:lnTo>
                      <a:pt x="0" y="17575"/>
                    </a:lnTo>
                    <a:lnTo>
                      <a:pt x="16425" y="21600"/>
                    </a:lnTo>
                    <a:lnTo>
                      <a:pt x="21600"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85" name="Shape 349">
                <a:extLst>
                  <a:ext uri="{FF2B5EF4-FFF2-40B4-BE49-F238E27FC236}">
                    <a16:creationId xmlns:a16="http://schemas.microsoft.com/office/drawing/2014/main" id="{B8108628-3F6F-41EF-B8FE-D0836F7DC595}"/>
                  </a:ext>
                </a:extLst>
              </p:cNvPr>
              <p:cNvSpPr/>
              <p:nvPr/>
            </p:nvSpPr>
            <p:spPr>
              <a:xfrm>
                <a:off x="8433969" y="2549012"/>
                <a:ext cx="73447" cy="85440"/>
              </a:xfrm>
              <a:custGeom>
                <a:avLst/>
                <a:gdLst/>
                <a:ahLst/>
                <a:cxnLst>
                  <a:cxn ang="0">
                    <a:pos x="wd2" y="hd2"/>
                  </a:cxn>
                  <a:cxn ang="5400000">
                    <a:pos x="wd2" y="hd2"/>
                  </a:cxn>
                  <a:cxn ang="10800000">
                    <a:pos x="wd2" y="hd2"/>
                  </a:cxn>
                  <a:cxn ang="16200000">
                    <a:pos x="wd2" y="hd2"/>
                  </a:cxn>
                </a:cxnLst>
                <a:rect l="0" t="0" r="r" b="b"/>
                <a:pathLst>
                  <a:path w="20245" h="21188" extrusionOk="0">
                    <a:moveTo>
                      <a:pt x="11664" y="4816"/>
                    </a:moveTo>
                    <a:lnTo>
                      <a:pt x="9025" y="9331"/>
                    </a:lnTo>
                    <a:lnTo>
                      <a:pt x="6223" y="14637"/>
                    </a:lnTo>
                    <a:lnTo>
                      <a:pt x="0" y="13938"/>
                    </a:lnTo>
                    <a:lnTo>
                      <a:pt x="635" y="18481"/>
                    </a:lnTo>
                    <a:lnTo>
                      <a:pt x="7824" y="19865"/>
                    </a:lnTo>
                    <a:cubicBezTo>
                      <a:pt x="10049" y="21332"/>
                      <a:pt x="12992" y="21600"/>
                      <a:pt x="15502" y="20564"/>
                    </a:cubicBezTo>
                    <a:cubicBezTo>
                      <a:pt x="19950" y="18729"/>
                      <a:pt x="21600" y="13831"/>
                      <a:pt x="19023" y="10107"/>
                    </a:cubicBezTo>
                    <a:lnTo>
                      <a:pt x="19415" y="0"/>
                    </a:lnTo>
                    <a:lnTo>
                      <a:pt x="11664" y="4816"/>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86" name="Shape 350">
                <a:extLst>
                  <a:ext uri="{FF2B5EF4-FFF2-40B4-BE49-F238E27FC236}">
                    <a16:creationId xmlns:a16="http://schemas.microsoft.com/office/drawing/2014/main" id="{59A6679F-BA50-4758-8EFD-0F93537906AD}"/>
                  </a:ext>
                </a:extLst>
              </p:cNvPr>
              <p:cNvSpPr/>
              <p:nvPr/>
            </p:nvSpPr>
            <p:spPr>
              <a:xfrm>
                <a:off x="8821229" y="2366183"/>
                <a:ext cx="60791" cy="97491"/>
              </a:xfrm>
              <a:custGeom>
                <a:avLst/>
                <a:gdLst/>
                <a:ahLst/>
                <a:cxnLst>
                  <a:cxn ang="0">
                    <a:pos x="wd2" y="hd2"/>
                  </a:cxn>
                  <a:cxn ang="5400000">
                    <a:pos x="wd2" y="hd2"/>
                  </a:cxn>
                  <a:cxn ang="10800000">
                    <a:pos x="wd2" y="hd2"/>
                  </a:cxn>
                  <a:cxn ang="16200000">
                    <a:pos x="wd2" y="hd2"/>
                  </a:cxn>
                </a:cxnLst>
                <a:rect l="0" t="0" r="r" b="b"/>
                <a:pathLst>
                  <a:path w="21600" h="21600" extrusionOk="0">
                    <a:moveTo>
                      <a:pt x="13661" y="1731"/>
                    </a:moveTo>
                    <a:lnTo>
                      <a:pt x="11853" y="5894"/>
                    </a:lnTo>
                    <a:lnTo>
                      <a:pt x="4206" y="5101"/>
                    </a:lnTo>
                    <a:lnTo>
                      <a:pt x="0" y="9460"/>
                    </a:lnTo>
                    <a:lnTo>
                      <a:pt x="168" y="14442"/>
                    </a:lnTo>
                    <a:cubicBezTo>
                      <a:pt x="2798" y="15061"/>
                      <a:pt x="5194" y="16010"/>
                      <a:pt x="7206" y="17228"/>
                    </a:cubicBezTo>
                    <a:cubicBezTo>
                      <a:pt x="9251" y="18466"/>
                      <a:pt x="10854" y="19955"/>
                      <a:pt x="11913" y="21600"/>
                    </a:cubicBezTo>
                    <a:lnTo>
                      <a:pt x="21600" y="20338"/>
                    </a:lnTo>
                    <a:lnTo>
                      <a:pt x="21600" y="12245"/>
                    </a:lnTo>
                    <a:lnTo>
                      <a:pt x="20591" y="5088"/>
                    </a:lnTo>
                    <a:lnTo>
                      <a:pt x="18069" y="0"/>
                    </a:lnTo>
                    <a:lnTo>
                      <a:pt x="13661" y="1731"/>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87" name="Shape 351">
                <a:extLst>
                  <a:ext uri="{FF2B5EF4-FFF2-40B4-BE49-F238E27FC236}">
                    <a16:creationId xmlns:a16="http://schemas.microsoft.com/office/drawing/2014/main" id="{F24FDF05-8FC9-48FB-B1E6-672BF46CD443}"/>
                  </a:ext>
                </a:extLst>
              </p:cNvPr>
              <p:cNvSpPr/>
              <p:nvPr/>
            </p:nvSpPr>
            <p:spPr>
              <a:xfrm>
                <a:off x="8797486" y="2499429"/>
                <a:ext cx="82471" cy="144132"/>
              </a:xfrm>
              <a:custGeom>
                <a:avLst/>
                <a:gdLst/>
                <a:ahLst/>
                <a:cxnLst>
                  <a:cxn ang="0">
                    <a:pos x="wd2" y="hd2"/>
                  </a:cxn>
                  <a:cxn ang="5400000">
                    <a:pos x="wd2" y="hd2"/>
                  </a:cxn>
                  <a:cxn ang="10800000">
                    <a:pos x="wd2" y="hd2"/>
                  </a:cxn>
                  <a:cxn ang="16200000">
                    <a:pos x="wd2" y="hd2"/>
                  </a:cxn>
                </a:cxnLst>
                <a:rect l="0" t="0" r="r" b="b"/>
                <a:pathLst>
                  <a:path w="21055" h="21324" extrusionOk="0">
                    <a:moveTo>
                      <a:pt x="8993" y="0"/>
                    </a:moveTo>
                    <a:lnTo>
                      <a:pt x="4720" y="2328"/>
                    </a:lnTo>
                    <a:lnTo>
                      <a:pt x="264" y="4061"/>
                    </a:lnTo>
                    <a:lnTo>
                      <a:pt x="0" y="7596"/>
                    </a:lnTo>
                    <a:lnTo>
                      <a:pt x="4908" y="9951"/>
                    </a:lnTo>
                    <a:lnTo>
                      <a:pt x="4908" y="14304"/>
                    </a:lnTo>
                    <a:lnTo>
                      <a:pt x="7308" y="16172"/>
                    </a:lnTo>
                    <a:lnTo>
                      <a:pt x="8380" y="19699"/>
                    </a:lnTo>
                    <a:cubicBezTo>
                      <a:pt x="8501" y="20496"/>
                      <a:pt x="9534" y="21148"/>
                      <a:pt x="10902" y="21289"/>
                    </a:cubicBezTo>
                    <a:cubicBezTo>
                      <a:pt x="13902" y="21600"/>
                      <a:pt x="16165" y="19752"/>
                      <a:pt x="14647" y="18231"/>
                    </a:cubicBezTo>
                    <a:lnTo>
                      <a:pt x="18270" y="17605"/>
                    </a:lnTo>
                    <a:cubicBezTo>
                      <a:pt x="19422" y="16417"/>
                      <a:pt x="20233" y="15129"/>
                      <a:pt x="20671" y="13792"/>
                    </a:cubicBezTo>
                    <a:cubicBezTo>
                      <a:pt x="21600" y="10953"/>
                      <a:pt x="20834" y="8017"/>
                      <a:pt x="18496" y="5460"/>
                    </a:cubicBezTo>
                    <a:lnTo>
                      <a:pt x="18149" y="907"/>
                    </a:lnTo>
                    <a:lnTo>
                      <a:pt x="8993"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88" name="Shape 352">
                <a:extLst>
                  <a:ext uri="{FF2B5EF4-FFF2-40B4-BE49-F238E27FC236}">
                    <a16:creationId xmlns:a16="http://schemas.microsoft.com/office/drawing/2014/main" id="{E7B966B4-9F6A-42CF-BA88-30F827BC76ED}"/>
                  </a:ext>
                </a:extLst>
              </p:cNvPr>
              <p:cNvSpPr/>
              <p:nvPr/>
            </p:nvSpPr>
            <p:spPr>
              <a:xfrm>
                <a:off x="9049069" y="2693563"/>
                <a:ext cx="162723" cy="87365"/>
              </a:xfrm>
              <a:custGeom>
                <a:avLst/>
                <a:gdLst/>
                <a:ahLst/>
                <a:cxnLst>
                  <a:cxn ang="0">
                    <a:pos x="wd2" y="hd2"/>
                  </a:cxn>
                  <a:cxn ang="5400000">
                    <a:pos x="wd2" y="hd2"/>
                  </a:cxn>
                  <a:cxn ang="10800000">
                    <a:pos x="wd2" y="hd2"/>
                  </a:cxn>
                  <a:cxn ang="16200000">
                    <a:pos x="wd2" y="hd2"/>
                  </a:cxn>
                </a:cxnLst>
                <a:rect l="0" t="0" r="r" b="b"/>
                <a:pathLst>
                  <a:path w="21600" h="21334" extrusionOk="0">
                    <a:moveTo>
                      <a:pt x="7882" y="0"/>
                    </a:moveTo>
                    <a:lnTo>
                      <a:pt x="5685" y="3441"/>
                    </a:lnTo>
                    <a:lnTo>
                      <a:pt x="1488" y="2877"/>
                    </a:lnTo>
                    <a:lnTo>
                      <a:pt x="0" y="5287"/>
                    </a:lnTo>
                    <a:lnTo>
                      <a:pt x="2117" y="8371"/>
                    </a:lnTo>
                    <a:lnTo>
                      <a:pt x="8892" y="11123"/>
                    </a:lnTo>
                    <a:lnTo>
                      <a:pt x="13224" y="15942"/>
                    </a:lnTo>
                    <a:lnTo>
                      <a:pt x="17549" y="21334"/>
                    </a:lnTo>
                    <a:lnTo>
                      <a:pt x="19418" y="15125"/>
                    </a:lnTo>
                    <a:lnTo>
                      <a:pt x="19418" y="11123"/>
                    </a:lnTo>
                    <a:lnTo>
                      <a:pt x="21600" y="5502"/>
                    </a:lnTo>
                    <a:cubicBezTo>
                      <a:pt x="21188" y="3626"/>
                      <a:pt x="20374" y="2139"/>
                      <a:pt x="19348" y="1386"/>
                    </a:cubicBezTo>
                    <a:cubicBezTo>
                      <a:pt x="17095" y="-266"/>
                      <a:pt x="14537" y="1740"/>
                      <a:pt x="13641" y="5861"/>
                    </a:cubicBezTo>
                    <a:lnTo>
                      <a:pt x="11263" y="1414"/>
                    </a:lnTo>
                    <a:lnTo>
                      <a:pt x="7882"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89" name="Shape 353">
                <a:extLst>
                  <a:ext uri="{FF2B5EF4-FFF2-40B4-BE49-F238E27FC236}">
                    <a16:creationId xmlns:a16="http://schemas.microsoft.com/office/drawing/2014/main" id="{C64B685C-80D8-4AE4-ADC2-139D34B88CBD}"/>
                  </a:ext>
                </a:extLst>
              </p:cNvPr>
              <p:cNvSpPr/>
              <p:nvPr/>
            </p:nvSpPr>
            <p:spPr>
              <a:xfrm>
                <a:off x="9126342" y="2830031"/>
                <a:ext cx="36061" cy="31566"/>
              </a:xfrm>
              <a:custGeom>
                <a:avLst/>
                <a:gdLst/>
                <a:ahLst/>
                <a:cxnLst>
                  <a:cxn ang="0">
                    <a:pos x="wd2" y="hd2"/>
                  </a:cxn>
                  <a:cxn ang="5400000">
                    <a:pos x="wd2" y="hd2"/>
                  </a:cxn>
                  <a:cxn ang="10800000">
                    <a:pos x="wd2" y="hd2"/>
                  </a:cxn>
                  <a:cxn ang="16200000">
                    <a:pos x="wd2" y="hd2"/>
                  </a:cxn>
                </a:cxnLst>
                <a:rect l="0" t="0" r="r" b="b"/>
                <a:pathLst>
                  <a:path w="21600" h="21600" extrusionOk="0">
                    <a:moveTo>
                      <a:pt x="15774" y="1048"/>
                    </a:moveTo>
                    <a:lnTo>
                      <a:pt x="1426" y="0"/>
                    </a:lnTo>
                    <a:lnTo>
                      <a:pt x="0" y="17702"/>
                    </a:lnTo>
                    <a:lnTo>
                      <a:pt x="21600" y="21600"/>
                    </a:lnTo>
                    <a:lnTo>
                      <a:pt x="15774" y="1048"/>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90" name="Shape 354">
                <a:extLst>
                  <a:ext uri="{FF2B5EF4-FFF2-40B4-BE49-F238E27FC236}">
                    <a16:creationId xmlns:a16="http://schemas.microsoft.com/office/drawing/2014/main" id="{E2BDAA48-DAFB-491C-BC83-8952B6E6508A}"/>
                  </a:ext>
                </a:extLst>
              </p:cNvPr>
              <p:cNvSpPr/>
              <p:nvPr/>
            </p:nvSpPr>
            <p:spPr>
              <a:xfrm>
                <a:off x="9685775" y="2860705"/>
                <a:ext cx="181083" cy="62659"/>
              </a:xfrm>
              <a:custGeom>
                <a:avLst/>
                <a:gdLst/>
                <a:ahLst/>
                <a:cxnLst>
                  <a:cxn ang="0">
                    <a:pos x="wd2" y="hd2"/>
                  </a:cxn>
                  <a:cxn ang="5400000">
                    <a:pos x="wd2" y="hd2"/>
                  </a:cxn>
                  <a:cxn ang="10800000">
                    <a:pos x="wd2" y="hd2"/>
                  </a:cxn>
                  <a:cxn ang="16200000">
                    <a:pos x="wd2" y="hd2"/>
                  </a:cxn>
                </a:cxnLst>
                <a:rect l="0" t="0" r="r" b="b"/>
                <a:pathLst>
                  <a:path w="21565" h="19779" extrusionOk="0">
                    <a:moveTo>
                      <a:pt x="12434" y="4397"/>
                    </a:moveTo>
                    <a:lnTo>
                      <a:pt x="7006" y="2044"/>
                    </a:lnTo>
                    <a:lnTo>
                      <a:pt x="3364" y="1828"/>
                    </a:lnTo>
                    <a:cubicBezTo>
                      <a:pt x="2241" y="-1757"/>
                      <a:pt x="29" y="279"/>
                      <a:pt x="0" y="4926"/>
                    </a:cubicBezTo>
                    <a:cubicBezTo>
                      <a:pt x="-35" y="10379"/>
                      <a:pt x="2718" y="12346"/>
                      <a:pt x="3736" y="7595"/>
                    </a:cubicBezTo>
                    <a:lnTo>
                      <a:pt x="6269" y="12491"/>
                    </a:lnTo>
                    <a:lnTo>
                      <a:pt x="8797" y="17829"/>
                    </a:lnTo>
                    <a:cubicBezTo>
                      <a:pt x="10237" y="18722"/>
                      <a:pt x="11702" y="19311"/>
                      <a:pt x="13178" y="19590"/>
                    </a:cubicBezTo>
                    <a:cubicBezTo>
                      <a:pt x="14509" y="19843"/>
                      <a:pt x="15846" y="19843"/>
                      <a:pt x="17178" y="19590"/>
                    </a:cubicBezTo>
                    <a:lnTo>
                      <a:pt x="21565" y="16031"/>
                    </a:lnTo>
                    <a:lnTo>
                      <a:pt x="21234" y="9358"/>
                    </a:lnTo>
                    <a:cubicBezTo>
                      <a:pt x="20150" y="10055"/>
                      <a:pt x="19031" y="10305"/>
                      <a:pt x="17917" y="10099"/>
                    </a:cubicBezTo>
                    <a:cubicBezTo>
                      <a:pt x="16919" y="9915"/>
                      <a:pt x="15935" y="9366"/>
                      <a:pt x="14995" y="8468"/>
                    </a:cubicBezTo>
                    <a:lnTo>
                      <a:pt x="12434" y="4397"/>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91" name="Shape 355">
                <a:extLst>
                  <a:ext uri="{FF2B5EF4-FFF2-40B4-BE49-F238E27FC236}">
                    <a16:creationId xmlns:a16="http://schemas.microsoft.com/office/drawing/2014/main" id="{4DB7DC69-F30E-46B8-B350-E6883E9AFE67}"/>
                  </a:ext>
                </a:extLst>
              </p:cNvPr>
              <p:cNvSpPr/>
              <p:nvPr/>
            </p:nvSpPr>
            <p:spPr>
              <a:xfrm>
                <a:off x="9365366" y="1235237"/>
                <a:ext cx="60274" cy="51259"/>
              </a:xfrm>
              <a:custGeom>
                <a:avLst/>
                <a:gdLst/>
                <a:ahLst/>
                <a:cxnLst>
                  <a:cxn ang="0">
                    <a:pos x="wd2" y="hd2"/>
                  </a:cxn>
                  <a:cxn ang="5400000">
                    <a:pos x="wd2" y="hd2"/>
                  </a:cxn>
                  <a:cxn ang="10800000">
                    <a:pos x="wd2" y="hd2"/>
                  </a:cxn>
                  <a:cxn ang="16200000">
                    <a:pos x="wd2" y="hd2"/>
                  </a:cxn>
                </a:cxnLst>
                <a:rect l="0" t="0" r="r" b="b"/>
                <a:pathLst>
                  <a:path w="20495" h="21600" extrusionOk="0">
                    <a:moveTo>
                      <a:pt x="13981" y="0"/>
                    </a:moveTo>
                    <a:lnTo>
                      <a:pt x="5719" y="857"/>
                    </a:lnTo>
                    <a:lnTo>
                      <a:pt x="0" y="11369"/>
                    </a:lnTo>
                    <a:lnTo>
                      <a:pt x="5962" y="17640"/>
                    </a:lnTo>
                    <a:lnTo>
                      <a:pt x="14301" y="21600"/>
                    </a:lnTo>
                    <a:cubicBezTo>
                      <a:pt x="17054" y="20527"/>
                      <a:pt x="19207" y="17865"/>
                      <a:pt x="20066" y="14472"/>
                    </a:cubicBezTo>
                    <a:cubicBezTo>
                      <a:pt x="21600" y="8411"/>
                      <a:pt x="18887" y="1959"/>
                      <a:pt x="13981" y="0"/>
                    </a:cubicBez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92" name="Shape 356">
                <a:extLst>
                  <a:ext uri="{FF2B5EF4-FFF2-40B4-BE49-F238E27FC236}">
                    <a16:creationId xmlns:a16="http://schemas.microsoft.com/office/drawing/2014/main" id="{4313E6F4-3EA8-468E-A580-F4D39B834361}"/>
                  </a:ext>
                </a:extLst>
              </p:cNvPr>
              <p:cNvSpPr/>
              <p:nvPr/>
            </p:nvSpPr>
            <p:spPr>
              <a:xfrm>
                <a:off x="15152985" y="6052647"/>
                <a:ext cx="2460123" cy="1879625"/>
              </a:xfrm>
              <a:custGeom>
                <a:avLst/>
                <a:gdLst/>
                <a:ahLst/>
                <a:cxnLst>
                  <a:cxn ang="0">
                    <a:pos x="wd2" y="hd2"/>
                  </a:cxn>
                  <a:cxn ang="5400000">
                    <a:pos x="wd2" y="hd2"/>
                  </a:cxn>
                  <a:cxn ang="10800000">
                    <a:pos x="wd2" y="hd2"/>
                  </a:cxn>
                  <a:cxn ang="16200000">
                    <a:pos x="wd2" y="hd2"/>
                  </a:cxn>
                </a:cxnLst>
                <a:rect l="0" t="0" r="r" b="b"/>
                <a:pathLst>
                  <a:path w="21600" h="21587" extrusionOk="0">
                    <a:moveTo>
                      <a:pt x="5954" y="5356"/>
                    </a:moveTo>
                    <a:lnTo>
                      <a:pt x="5796" y="5869"/>
                    </a:lnTo>
                    <a:lnTo>
                      <a:pt x="5503" y="6311"/>
                    </a:lnTo>
                    <a:lnTo>
                      <a:pt x="5365" y="6483"/>
                    </a:lnTo>
                    <a:lnTo>
                      <a:pt x="5082" y="6656"/>
                    </a:lnTo>
                    <a:lnTo>
                      <a:pt x="4719" y="6834"/>
                    </a:lnTo>
                    <a:lnTo>
                      <a:pt x="4278" y="6893"/>
                    </a:lnTo>
                    <a:lnTo>
                      <a:pt x="3867" y="6963"/>
                    </a:lnTo>
                    <a:lnTo>
                      <a:pt x="3605" y="7152"/>
                    </a:lnTo>
                    <a:lnTo>
                      <a:pt x="3201" y="7421"/>
                    </a:lnTo>
                    <a:lnTo>
                      <a:pt x="2840" y="7616"/>
                    </a:lnTo>
                    <a:lnTo>
                      <a:pt x="2159" y="7891"/>
                    </a:lnTo>
                    <a:lnTo>
                      <a:pt x="1627" y="8085"/>
                    </a:lnTo>
                    <a:lnTo>
                      <a:pt x="1116" y="8295"/>
                    </a:lnTo>
                    <a:lnTo>
                      <a:pt x="1025" y="8677"/>
                    </a:lnTo>
                    <a:lnTo>
                      <a:pt x="980" y="8983"/>
                    </a:lnTo>
                    <a:lnTo>
                      <a:pt x="880" y="9313"/>
                    </a:lnTo>
                    <a:lnTo>
                      <a:pt x="718" y="9572"/>
                    </a:lnTo>
                    <a:lnTo>
                      <a:pt x="742" y="9911"/>
                    </a:lnTo>
                    <a:lnTo>
                      <a:pt x="766" y="10200"/>
                    </a:lnTo>
                    <a:lnTo>
                      <a:pt x="887" y="10459"/>
                    </a:lnTo>
                    <a:lnTo>
                      <a:pt x="982" y="10658"/>
                    </a:lnTo>
                    <a:lnTo>
                      <a:pt x="945" y="10981"/>
                    </a:lnTo>
                    <a:lnTo>
                      <a:pt x="804" y="11271"/>
                    </a:lnTo>
                    <a:lnTo>
                      <a:pt x="643" y="11837"/>
                    </a:lnTo>
                    <a:lnTo>
                      <a:pt x="607" y="12409"/>
                    </a:lnTo>
                    <a:lnTo>
                      <a:pt x="619" y="12825"/>
                    </a:lnTo>
                    <a:lnTo>
                      <a:pt x="619" y="14159"/>
                    </a:lnTo>
                    <a:lnTo>
                      <a:pt x="657" y="14449"/>
                    </a:lnTo>
                    <a:lnTo>
                      <a:pt x="756" y="14821"/>
                    </a:lnTo>
                    <a:lnTo>
                      <a:pt x="756" y="15123"/>
                    </a:lnTo>
                    <a:lnTo>
                      <a:pt x="806" y="15510"/>
                    </a:lnTo>
                    <a:lnTo>
                      <a:pt x="856" y="15799"/>
                    </a:lnTo>
                    <a:lnTo>
                      <a:pt x="756" y="16171"/>
                    </a:lnTo>
                    <a:lnTo>
                      <a:pt x="620" y="16478"/>
                    </a:lnTo>
                    <a:lnTo>
                      <a:pt x="546" y="16734"/>
                    </a:lnTo>
                    <a:lnTo>
                      <a:pt x="484" y="17052"/>
                    </a:lnTo>
                    <a:lnTo>
                      <a:pt x="393" y="17251"/>
                    </a:lnTo>
                    <a:lnTo>
                      <a:pt x="218" y="17348"/>
                    </a:lnTo>
                    <a:lnTo>
                      <a:pt x="0" y="17440"/>
                    </a:lnTo>
                    <a:lnTo>
                      <a:pt x="75" y="17639"/>
                    </a:lnTo>
                    <a:lnTo>
                      <a:pt x="148" y="17822"/>
                    </a:lnTo>
                    <a:lnTo>
                      <a:pt x="409" y="18166"/>
                    </a:lnTo>
                    <a:lnTo>
                      <a:pt x="717" y="18165"/>
                    </a:lnTo>
                    <a:lnTo>
                      <a:pt x="954" y="18364"/>
                    </a:lnTo>
                    <a:lnTo>
                      <a:pt x="1202" y="18316"/>
                    </a:lnTo>
                    <a:lnTo>
                      <a:pt x="1439" y="18047"/>
                    </a:lnTo>
                    <a:lnTo>
                      <a:pt x="1767" y="17901"/>
                    </a:lnTo>
                    <a:lnTo>
                      <a:pt x="2169" y="17804"/>
                    </a:lnTo>
                    <a:lnTo>
                      <a:pt x="2597" y="17535"/>
                    </a:lnTo>
                    <a:lnTo>
                      <a:pt x="2792" y="17454"/>
                    </a:lnTo>
                    <a:lnTo>
                      <a:pt x="3078" y="17389"/>
                    </a:lnTo>
                    <a:lnTo>
                      <a:pt x="3572" y="17373"/>
                    </a:lnTo>
                    <a:lnTo>
                      <a:pt x="3783" y="17308"/>
                    </a:lnTo>
                    <a:lnTo>
                      <a:pt x="4016" y="17260"/>
                    </a:lnTo>
                    <a:lnTo>
                      <a:pt x="4277" y="17211"/>
                    </a:lnTo>
                    <a:cubicBezTo>
                      <a:pt x="4368" y="17227"/>
                      <a:pt x="4461" y="17227"/>
                      <a:pt x="4552" y="17211"/>
                    </a:cubicBezTo>
                    <a:cubicBezTo>
                      <a:pt x="4646" y="17194"/>
                      <a:pt x="4738" y="17159"/>
                      <a:pt x="4825" y="17108"/>
                    </a:cubicBezTo>
                    <a:lnTo>
                      <a:pt x="5149" y="16802"/>
                    </a:lnTo>
                    <a:lnTo>
                      <a:pt x="5410" y="16608"/>
                    </a:lnTo>
                    <a:lnTo>
                      <a:pt x="5793" y="16451"/>
                    </a:lnTo>
                    <a:lnTo>
                      <a:pt x="6066" y="16339"/>
                    </a:lnTo>
                    <a:lnTo>
                      <a:pt x="6419" y="16236"/>
                    </a:lnTo>
                    <a:lnTo>
                      <a:pt x="7073" y="16033"/>
                    </a:lnTo>
                    <a:lnTo>
                      <a:pt x="7555" y="15812"/>
                    </a:lnTo>
                    <a:lnTo>
                      <a:pt x="7812" y="15893"/>
                    </a:lnTo>
                    <a:lnTo>
                      <a:pt x="8156" y="15925"/>
                    </a:lnTo>
                    <a:lnTo>
                      <a:pt x="8413" y="15764"/>
                    </a:lnTo>
                    <a:cubicBezTo>
                      <a:pt x="8514" y="15721"/>
                      <a:pt x="8618" y="15693"/>
                      <a:pt x="8724" y="15683"/>
                    </a:cubicBezTo>
                    <a:cubicBezTo>
                      <a:pt x="8850" y="15670"/>
                      <a:pt x="8977" y="15680"/>
                      <a:pt x="9101" y="15714"/>
                    </a:cubicBezTo>
                    <a:lnTo>
                      <a:pt x="9309" y="15811"/>
                    </a:lnTo>
                    <a:lnTo>
                      <a:pt x="9665" y="16129"/>
                    </a:lnTo>
                    <a:lnTo>
                      <a:pt x="9802" y="16323"/>
                    </a:lnTo>
                    <a:lnTo>
                      <a:pt x="10014" y="16431"/>
                    </a:lnTo>
                    <a:cubicBezTo>
                      <a:pt x="10054" y="16535"/>
                      <a:pt x="10087" y="16643"/>
                      <a:pt x="10112" y="16754"/>
                    </a:cubicBezTo>
                    <a:cubicBezTo>
                      <a:pt x="10146" y="16901"/>
                      <a:pt x="10167" y="17052"/>
                      <a:pt x="10174" y="17205"/>
                    </a:cubicBezTo>
                    <a:lnTo>
                      <a:pt x="10302" y="17344"/>
                    </a:lnTo>
                    <a:lnTo>
                      <a:pt x="10401" y="17554"/>
                    </a:lnTo>
                    <a:lnTo>
                      <a:pt x="10451" y="17811"/>
                    </a:lnTo>
                    <a:lnTo>
                      <a:pt x="10476" y="18064"/>
                    </a:lnTo>
                    <a:lnTo>
                      <a:pt x="10688" y="18145"/>
                    </a:lnTo>
                    <a:lnTo>
                      <a:pt x="10787" y="17837"/>
                    </a:lnTo>
                    <a:lnTo>
                      <a:pt x="10899" y="17643"/>
                    </a:lnTo>
                    <a:lnTo>
                      <a:pt x="11281" y="17568"/>
                    </a:lnTo>
                    <a:lnTo>
                      <a:pt x="11514" y="17330"/>
                    </a:lnTo>
                    <a:lnTo>
                      <a:pt x="11659" y="16996"/>
                    </a:lnTo>
                    <a:lnTo>
                      <a:pt x="11759" y="16727"/>
                    </a:lnTo>
                    <a:lnTo>
                      <a:pt x="11983" y="16727"/>
                    </a:lnTo>
                    <a:lnTo>
                      <a:pt x="12102" y="16986"/>
                    </a:lnTo>
                    <a:lnTo>
                      <a:pt x="12069" y="17282"/>
                    </a:lnTo>
                    <a:lnTo>
                      <a:pt x="11874" y="17524"/>
                    </a:lnTo>
                    <a:lnTo>
                      <a:pt x="11654" y="17767"/>
                    </a:lnTo>
                    <a:lnTo>
                      <a:pt x="11510" y="17972"/>
                    </a:lnTo>
                    <a:lnTo>
                      <a:pt x="11473" y="18225"/>
                    </a:lnTo>
                    <a:lnTo>
                      <a:pt x="11274" y="18418"/>
                    </a:lnTo>
                    <a:lnTo>
                      <a:pt x="11125" y="18467"/>
                    </a:lnTo>
                    <a:lnTo>
                      <a:pt x="11188" y="18634"/>
                    </a:lnTo>
                    <a:lnTo>
                      <a:pt x="11336" y="18634"/>
                    </a:lnTo>
                    <a:lnTo>
                      <a:pt x="11507" y="18537"/>
                    </a:lnTo>
                    <a:lnTo>
                      <a:pt x="11648" y="18208"/>
                    </a:lnTo>
                    <a:lnTo>
                      <a:pt x="11859" y="17966"/>
                    </a:lnTo>
                    <a:lnTo>
                      <a:pt x="11982" y="17997"/>
                    </a:lnTo>
                    <a:lnTo>
                      <a:pt x="12028" y="18234"/>
                    </a:lnTo>
                    <a:lnTo>
                      <a:pt x="12003" y="18557"/>
                    </a:lnTo>
                    <a:lnTo>
                      <a:pt x="11990" y="18719"/>
                    </a:lnTo>
                    <a:lnTo>
                      <a:pt x="12143" y="18913"/>
                    </a:lnTo>
                    <a:lnTo>
                      <a:pt x="12243" y="19251"/>
                    </a:lnTo>
                    <a:lnTo>
                      <a:pt x="12130" y="19639"/>
                    </a:lnTo>
                    <a:lnTo>
                      <a:pt x="12031" y="19855"/>
                    </a:lnTo>
                    <a:lnTo>
                      <a:pt x="11944" y="20096"/>
                    </a:lnTo>
                    <a:lnTo>
                      <a:pt x="12193" y="20469"/>
                    </a:lnTo>
                    <a:lnTo>
                      <a:pt x="12600" y="20760"/>
                    </a:lnTo>
                    <a:lnTo>
                      <a:pt x="12912" y="21094"/>
                    </a:lnTo>
                    <a:lnTo>
                      <a:pt x="13119" y="21142"/>
                    </a:lnTo>
                    <a:lnTo>
                      <a:pt x="13372" y="21202"/>
                    </a:lnTo>
                    <a:cubicBezTo>
                      <a:pt x="13427" y="21195"/>
                      <a:pt x="13481" y="21173"/>
                      <a:pt x="13529" y="21138"/>
                    </a:cubicBezTo>
                    <a:cubicBezTo>
                      <a:pt x="13608" y="21080"/>
                      <a:pt x="13669" y="20988"/>
                      <a:pt x="13703" y="20879"/>
                    </a:cubicBezTo>
                    <a:lnTo>
                      <a:pt x="13911" y="20820"/>
                    </a:lnTo>
                    <a:lnTo>
                      <a:pt x="14131" y="20831"/>
                    </a:lnTo>
                    <a:lnTo>
                      <a:pt x="14366" y="21000"/>
                    </a:lnTo>
                    <a:lnTo>
                      <a:pt x="14503" y="21323"/>
                    </a:lnTo>
                    <a:cubicBezTo>
                      <a:pt x="14516" y="21451"/>
                      <a:pt x="14589" y="21554"/>
                      <a:pt x="14686" y="21581"/>
                    </a:cubicBezTo>
                    <a:cubicBezTo>
                      <a:pt x="14755" y="21600"/>
                      <a:pt x="14827" y="21576"/>
                      <a:pt x="14881" y="21516"/>
                    </a:cubicBezTo>
                    <a:lnTo>
                      <a:pt x="15117" y="21042"/>
                    </a:lnTo>
                    <a:cubicBezTo>
                      <a:pt x="15153" y="20962"/>
                      <a:pt x="15199" y="20891"/>
                      <a:pt x="15254" y="20832"/>
                    </a:cubicBezTo>
                    <a:cubicBezTo>
                      <a:pt x="15361" y="20715"/>
                      <a:pt x="15495" y="20649"/>
                      <a:pt x="15635" y="20643"/>
                    </a:cubicBezTo>
                    <a:lnTo>
                      <a:pt x="15896" y="20578"/>
                    </a:lnTo>
                    <a:lnTo>
                      <a:pt x="16108" y="20578"/>
                    </a:lnTo>
                    <a:lnTo>
                      <a:pt x="16320" y="20708"/>
                    </a:lnTo>
                    <a:cubicBezTo>
                      <a:pt x="16368" y="20765"/>
                      <a:pt x="16429" y="20799"/>
                      <a:pt x="16494" y="20805"/>
                    </a:cubicBezTo>
                    <a:cubicBezTo>
                      <a:pt x="16587" y="20814"/>
                      <a:pt x="16677" y="20766"/>
                      <a:pt x="16739" y="20676"/>
                    </a:cubicBezTo>
                    <a:lnTo>
                      <a:pt x="16988" y="20110"/>
                    </a:lnTo>
                    <a:lnTo>
                      <a:pt x="17250" y="19592"/>
                    </a:lnTo>
                    <a:cubicBezTo>
                      <a:pt x="17331" y="19471"/>
                      <a:pt x="17410" y="19347"/>
                      <a:pt x="17487" y="19220"/>
                    </a:cubicBezTo>
                    <a:cubicBezTo>
                      <a:pt x="17562" y="19095"/>
                      <a:pt x="17636" y="18967"/>
                      <a:pt x="17707" y="18837"/>
                    </a:cubicBezTo>
                    <a:lnTo>
                      <a:pt x="18063" y="18805"/>
                    </a:lnTo>
                    <a:lnTo>
                      <a:pt x="18151" y="18627"/>
                    </a:lnTo>
                    <a:lnTo>
                      <a:pt x="18358" y="18341"/>
                    </a:lnTo>
                    <a:lnTo>
                      <a:pt x="18454" y="18136"/>
                    </a:lnTo>
                    <a:lnTo>
                      <a:pt x="18691" y="17893"/>
                    </a:lnTo>
                    <a:cubicBezTo>
                      <a:pt x="18717" y="17817"/>
                      <a:pt x="18736" y="17738"/>
                      <a:pt x="18748" y="17656"/>
                    </a:cubicBezTo>
                    <a:cubicBezTo>
                      <a:pt x="18765" y="17543"/>
                      <a:pt x="18767" y="17423"/>
                      <a:pt x="18810" y="17321"/>
                    </a:cubicBezTo>
                    <a:cubicBezTo>
                      <a:pt x="18860" y="17203"/>
                      <a:pt x="18955" y="17129"/>
                      <a:pt x="19059" y="17127"/>
                    </a:cubicBezTo>
                    <a:lnTo>
                      <a:pt x="19413" y="16924"/>
                    </a:lnTo>
                    <a:lnTo>
                      <a:pt x="19787" y="16655"/>
                    </a:lnTo>
                    <a:lnTo>
                      <a:pt x="19874" y="16445"/>
                    </a:lnTo>
                    <a:lnTo>
                      <a:pt x="20023" y="16251"/>
                    </a:lnTo>
                    <a:lnTo>
                      <a:pt x="20285" y="15880"/>
                    </a:lnTo>
                    <a:lnTo>
                      <a:pt x="20451" y="15642"/>
                    </a:lnTo>
                    <a:lnTo>
                      <a:pt x="20476" y="15370"/>
                    </a:lnTo>
                    <a:cubicBezTo>
                      <a:pt x="20512" y="15250"/>
                      <a:pt x="20553" y="15133"/>
                      <a:pt x="20601" y="15020"/>
                    </a:cubicBezTo>
                    <a:cubicBezTo>
                      <a:pt x="20671" y="14852"/>
                      <a:pt x="20753" y="14693"/>
                      <a:pt x="20846" y="14545"/>
                    </a:cubicBezTo>
                    <a:cubicBezTo>
                      <a:pt x="20913" y="14433"/>
                      <a:pt x="20979" y="14320"/>
                      <a:pt x="21045" y="14206"/>
                    </a:cubicBezTo>
                    <a:cubicBezTo>
                      <a:pt x="21111" y="14091"/>
                      <a:pt x="21176" y="13976"/>
                      <a:pt x="21240" y="13860"/>
                    </a:cubicBezTo>
                    <a:cubicBezTo>
                      <a:pt x="21281" y="13719"/>
                      <a:pt x="21310" y="13572"/>
                      <a:pt x="21327" y="13423"/>
                    </a:cubicBezTo>
                    <a:cubicBezTo>
                      <a:pt x="21345" y="13266"/>
                      <a:pt x="21349" y="13107"/>
                      <a:pt x="21340" y="12948"/>
                    </a:cubicBezTo>
                    <a:lnTo>
                      <a:pt x="21550" y="12563"/>
                    </a:lnTo>
                    <a:cubicBezTo>
                      <a:pt x="21536" y="12461"/>
                      <a:pt x="21532" y="12358"/>
                      <a:pt x="21538" y="12255"/>
                    </a:cubicBezTo>
                    <a:cubicBezTo>
                      <a:pt x="21545" y="12135"/>
                      <a:pt x="21566" y="12016"/>
                      <a:pt x="21600" y="11904"/>
                    </a:cubicBezTo>
                    <a:lnTo>
                      <a:pt x="21600" y="11340"/>
                    </a:lnTo>
                    <a:lnTo>
                      <a:pt x="21538" y="11038"/>
                    </a:lnTo>
                    <a:lnTo>
                      <a:pt x="21389" y="10617"/>
                    </a:lnTo>
                    <a:lnTo>
                      <a:pt x="21281" y="10240"/>
                    </a:lnTo>
                    <a:lnTo>
                      <a:pt x="21028" y="9986"/>
                    </a:lnTo>
                    <a:lnTo>
                      <a:pt x="20791" y="9581"/>
                    </a:lnTo>
                    <a:lnTo>
                      <a:pt x="20733" y="9333"/>
                    </a:lnTo>
                    <a:lnTo>
                      <a:pt x="20397" y="8721"/>
                    </a:lnTo>
                    <a:lnTo>
                      <a:pt x="20297" y="8091"/>
                    </a:lnTo>
                    <a:lnTo>
                      <a:pt x="20106" y="7525"/>
                    </a:lnTo>
                    <a:lnTo>
                      <a:pt x="19820" y="6996"/>
                    </a:lnTo>
                    <a:lnTo>
                      <a:pt x="19620" y="6527"/>
                    </a:lnTo>
                    <a:lnTo>
                      <a:pt x="19210" y="6155"/>
                    </a:lnTo>
                    <a:lnTo>
                      <a:pt x="18886" y="5767"/>
                    </a:lnTo>
                    <a:cubicBezTo>
                      <a:pt x="18800" y="5685"/>
                      <a:pt x="18761" y="5544"/>
                      <a:pt x="18786" y="5410"/>
                    </a:cubicBezTo>
                    <a:cubicBezTo>
                      <a:pt x="18811" y="5280"/>
                      <a:pt x="18892" y="5181"/>
                      <a:pt x="18994" y="5157"/>
                    </a:cubicBezTo>
                    <a:lnTo>
                      <a:pt x="19055" y="4833"/>
                    </a:lnTo>
                    <a:lnTo>
                      <a:pt x="19055" y="4472"/>
                    </a:lnTo>
                    <a:lnTo>
                      <a:pt x="19217" y="4028"/>
                    </a:lnTo>
                    <a:lnTo>
                      <a:pt x="19027" y="3743"/>
                    </a:lnTo>
                    <a:lnTo>
                      <a:pt x="18969" y="3459"/>
                    </a:lnTo>
                    <a:lnTo>
                      <a:pt x="18936" y="3040"/>
                    </a:lnTo>
                    <a:lnTo>
                      <a:pt x="18737" y="2634"/>
                    </a:lnTo>
                    <a:lnTo>
                      <a:pt x="18500" y="2250"/>
                    </a:lnTo>
                    <a:lnTo>
                      <a:pt x="18264" y="1878"/>
                    </a:lnTo>
                    <a:cubicBezTo>
                      <a:pt x="18190" y="1776"/>
                      <a:pt x="18127" y="1662"/>
                      <a:pt x="18077" y="1539"/>
                    </a:cubicBezTo>
                    <a:cubicBezTo>
                      <a:pt x="17997" y="1344"/>
                      <a:pt x="17951" y="1129"/>
                      <a:pt x="17940" y="908"/>
                    </a:cubicBezTo>
                    <a:lnTo>
                      <a:pt x="17870" y="312"/>
                    </a:lnTo>
                    <a:lnTo>
                      <a:pt x="17679" y="0"/>
                    </a:lnTo>
                    <a:lnTo>
                      <a:pt x="17497" y="117"/>
                    </a:lnTo>
                    <a:lnTo>
                      <a:pt x="17298" y="441"/>
                    </a:lnTo>
                    <a:lnTo>
                      <a:pt x="17198" y="989"/>
                    </a:lnTo>
                    <a:lnTo>
                      <a:pt x="17173" y="1475"/>
                    </a:lnTo>
                    <a:lnTo>
                      <a:pt x="17090" y="1927"/>
                    </a:lnTo>
                    <a:lnTo>
                      <a:pt x="17016" y="2271"/>
                    </a:lnTo>
                    <a:lnTo>
                      <a:pt x="17003" y="2864"/>
                    </a:lnTo>
                    <a:lnTo>
                      <a:pt x="17016" y="3290"/>
                    </a:lnTo>
                    <a:cubicBezTo>
                      <a:pt x="16998" y="3361"/>
                      <a:pt x="16974" y="3430"/>
                      <a:pt x="16945" y="3495"/>
                    </a:cubicBezTo>
                    <a:cubicBezTo>
                      <a:pt x="16886" y="3627"/>
                      <a:pt x="16805" y="3742"/>
                      <a:pt x="16709" y="3829"/>
                    </a:cubicBezTo>
                    <a:lnTo>
                      <a:pt x="16476" y="4223"/>
                    </a:lnTo>
                    <a:lnTo>
                      <a:pt x="16090" y="4596"/>
                    </a:lnTo>
                    <a:lnTo>
                      <a:pt x="16028" y="4804"/>
                    </a:lnTo>
                    <a:lnTo>
                      <a:pt x="15868" y="4980"/>
                    </a:lnTo>
                    <a:lnTo>
                      <a:pt x="15471" y="4872"/>
                    </a:lnTo>
                    <a:lnTo>
                      <a:pt x="15263" y="4420"/>
                    </a:lnTo>
                    <a:lnTo>
                      <a:pt x="14941" y="4258"/>
                    </a:lnTo>
                    <a:lnTo>
                      <a:pt x="14663" y="4053"/>
                    </a:lnTo>
                    <a:lnTo>
                      <a:pt x="14476" y="3794"/>
                    </a:lnTo>
                    <a:lnTo>
                      <a:pt x="14089" y="3470"/>
                    </a:lnTo>
                    <a:lnTo>
                      <a:pt x="13749" y="3330"/>
                    </a:lnTo>
                    <a:lnTo>
                      <a:pt x="13637" y="2925"/>
                    </a:lnTo>
                    <a:lnTo>
                      <a:pt x="13637" y="2180"/>
                    </a:lnTo>
                    <a:lnTo>
                      <a:pt x="13757" y="1862"/>
                    </a:lnTo>
                    <a:lnTo>
                      <a:pt x="13894" y="1668"/>
                    </a:lnTo>
                    <a:lnTo>
                      <a:pt x="14093" y="1328"/>
                    </a:lnTo>
                    <a:lnTo>
                      <a:pt x="14301" y="1036"/>
                    </a:lnTo>
                    <a:lnTo>
                      <a:pt x="14077" y="799"/>
                    </a:lnTo>
                    <a:lnTo>
                      <a:pt x="13671" y="626"/>
                    </a:lnTo>
                    <a:lnTo>
                      <a:pt x="13551" y="529"/>
                    </a:lnTo>
                    <a:lnTo>
                      <a:pt x="12919" y="457"/>
                    </a:lnTo>
                    <a:lnTo>
                      <a:pt x="12492" y="155"/>
                    </a:lnTo>
                    <a:lnTo>
                      <a:pt x="12131" y="495"/>
                    </a:lnTo>
                    <a:lnTo>
                      <a:pt x="11861" y="716"/>
                    </a:lnTo>
                    <a:lnTo>
                      <a:pt x="11605" y="888"/>
                    </a:lnTo>
                    <a:lnTo>
                      <a:pt x="11058" y="1017"/>
                    </a:lnTo>
                    <a:lnTo>
                      <a:pt x="10851" y="1226"/>
                    </a:lnTo>
                    <a:lnTo>
                      <a:pt x="10702" y="1608"/>
                    </a:lnTo>
                    <a:lnTo>
                      <a:pt x="10603" y="1737"/>
                    </a:lnTo>
                    <a:lnTo>
                      <a:pt x="10416" y="1964"/>
                    </a:lnTo>
                    <a:lnTo>
                      <a:pt x="10428" y="2286"/>
                    </a:lnTo>
                    <a:lnTo>
                      <a:pt x="10594" y="2561"/>
                    </a:lnTo>
                    <a:lnTo>
                      <a:pt x="10478" y="2739"/>
                    </a:lnTo>
                    <a:lnTo>
                      <a:pt x="10159" y="3090"/>
                    </a:lnTo>
                    <a:cubicBezTo>
                      <a:pt x="10067" y="3086"/>
                      <a:pt x="9978" y="3052"/>
                      <a:pt x="9899" y="2993"/>
                    </a:cubicBezTo>
                    <a:cubicBezTo>
                      <a:pt x="9767" y="2894"/>
                      <a:pt x="9671" y="2731"/>
                      <a:pt x="9633" y="2540"/>
                    </a:cubicBezTo>
                    <a:lnTo>
                      <a:pt x="9197" y="2329"/>
                    </a:lnTo>
                    <a:cubicBezTo>
                      <a:pt x="9181" y="2199"/>
                      <a:pt x="9118" y="2087"/>
                      <a:pt x="9027" y="2027"/>
                    </a:cubicBezTo>
                    <a:cubicBezTo>
                      <a:pt x="8838" y="1903"/>
                      <a:pt x="8608" y="2025"/>
                      <a:pt x="8541" y="2286"/>
                    </a:cubicBezTo>
                    <a:lnTo>
                      <a:pt x="8250" y="2599"/>
                    </a:lnTo>
                    <a:cubicBezTo>
                      <a:pt x="8194" y="2686"/>
                      <a:pt x="8137" y="2772"/>
                      <a:pt x="8080" y="2857"/>
                    </a:cubicBezTo>
                    <a:cubicBezTo>
                      <a:pt x="7985" y="2999"/>
                      <a:pt x="7888" y="3139"/>
                      <a:pt x="7790" y="3277"/>
                    </a:cubicBezTo>
                    <a:lnTo>
                      <a:pt x="7467" y="3599"/>
                    </a:lnTo>
                    <a:lnTo>
                      <a:pt x="7293" y="3739"/>
                    </a:lnTo>
                    <a:lnTo>
                      <a:pt x="6986" y="3783"/>
                    </a:lnTo>
                    <a:lnTo>
                      <a:pt x="6987" y="4025"/>
                    </a:lnTo>
                    <a:lnTo>
                      <a:pt x="7057" y="4165"/>
                    </a:lnTo>
                    <a:lnTo>
                      <a:pt x="7119" y="4374"/>
                    </a:lnTo>
                    <a:lnTo>
                      <a:pt x="7007" y="4628"/>
                    </a:lnTo>
                    <a:cubicBezTo>
                      <a:pt x="7006" y="4750"/>
                      <a:pt x="6931" y="4851"/>
                      <a:pt x="6836" y="4854"/>
                    </a:cubicBezTo>
                    <a:cubicBezTo>
                      <a:pt x="6738" y="4858"/>
                      <a:pt x="6655" y="4756"/>
                      <a:pt x="6654" y="4628"/>
                    </a:cubicBezTo>
                    <a:lnTo>
                      <a:pt x="6421" y="4466"/>
                    </a:lnTo>
                    <a:lnTo>
                      <a:pt x="6280" y="4719"/>
                    </a:lnTo>
                    <a:lnTo>
                      <a:pt x="6160" y="4924"/>
                    </a:lnTo>
                    <a:lnTo>
                      <a:pt x="5954" y="5356"/>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93" name="Shape 357">
                <a:extLst>
                  <a:ext uri="{FF2B5EF4-FFF2-40B4-BE49-F238E27FC236}">
                    <a16:creationId xmlns:a16="http://schemas.microsoft.com/office/drawing/2014/main" id="{1A00CD6B-F371-435A-82DF-95D7A35F700D}"/>
                  </a:ext>
                </a:extLst>
              </p:cNvPr>
              <p:cNvSpPr/>
              <p:nvPr/>
            </p:nvSpPr>
            <p:spPr>
              <a:xfrm>
                <a:off x="16621862" y="8044565"/>
                <a:ext cx="230417" cy="190630"/>
              </a:xfrm>
              <a:custGeom>
                <a:avLst/>
                <a:gdLst/>
                <a:ahLst/>
                <a:cxnLst>
                  <a:cxn ang="0">
                    <a:pos x="wd2" y="hd2"/>
                  </a:cxn>
                  <a:cxn ang="5400000">
                    <a:pos x="wd2" y="hd2"/>
                  </a:cxn>
                  <a:cxn ang="10800000">
                    <a:pos x="wd2" y="hd2"/>
                  </a:cxn>
                  <a:cxn ang="16200000">
                    <a:pos x="wd2" y="hd2"/>
                  </a:cxn>
                </a:cxnLst>
                <a:rect l="0" t="0" r="r" b="b"/>
                <a:pathLst>
                  <a:path w="21600" h="21600" extrusionOk="0">
                    <a:moveTo>
                      <a:pt x="2734" y="1038"/>
                    </a:moveTo>
                    <a:lnTo>
                      <a:pt x="5578" y="0"/>
                    </a:lnTo>
                    <a:lnTo>
                      <a:pt x="6344" y="2077"/>
                    </a:lnTo>
                    <a:lnTo>
                      <a:pt x="8057" y="3507"/>
                    </a:lnTo>
                    <a:lnTo>
                      <a:pt x="11245" y="5736"/>
                    </a:lnTo>
                    <a:lnTo>
                      <a:pt x="13944" y="4944"/>
                    </a:lnTo>
                    <a:lnTo>
                      <a:pt x="15669" y="2555"/>
                    </a:lnTo>
                    <a:lnTo>
                      <a:pt x="17659" y="2290"/>
                    </a:lnTo>
                    <a:lnTo>
                      <a:pt x="20048" y="2290"/>
                    </a:lnTo>
                    <a:lnTo>
                      <a:pt x="21600" y="3886"/>
                    </a:lnTo>
                    <a:lnTo>
                      <a:pt x="21073" y="6102"/>
                    </a:lnTo>
                    <a:lnTo>
                      <a:pt x="19449" y="6901"/>
                    </a:lnTo>
                    <a:lnTo>
                      <a:pt x="18263" y="8165"/>
                    </a:lnTo>
                    <a:lnTo>
                      <a:pt x="18130" y="10554"/>
                    </a:lnTo>
                    <a:lnTo>
                      <a:pt x="16494" y="13003"/>
                    </a:lnTo>
                    <a:lnTo>
                      <a:pt x="14149" y="14540"/>
                    </a:lnTo>
                    <a:lnTo>
                      <a:pt x="10318" y="16118"/>
                    </a:lnTo>
                    <a:lnTo>
                      <a:pt x="8234" y="17714"/>
                    </a:lnTo>
                    <a:lnTo>
                      <a:pt x="6954" y="19365"/>
                    </a:lnTo>
                    <a:lnTo>
                      <a:pt x="6111" y="21121"/>
                    </a:lnTo>
                    <a:lnTo>
                      <a:pt x="4171" y="21600"/>
                    </a:lnTo>
                    <a:lnTo>
                      <a:pt x="3062" y="19311"/>
                    </a:lnTo>
                    <a:lnTo>
                      <a:pt x="1521" y="19311"/>
                    </a:lnTo>
                    <a:lnTo>
                      <a:pt x="0" y="19258"/>
                    </a:lnTo>
                    <a:lnTo>
                      <a:pt x="667" y="16130"/>
                    </a:lnTo>
                    <a:lnTo>
                      <a:pt x="2456" y="13422"/>
                    </a:lnTo>
                    <a:lnTo>
                      <a:pt x="2806" y="11838"/>
                    </a:lnTo>
                    <a:lnTo>
                      <a:pt x="2673" y="8557"/>
                    </a:lnTo>
                    <a:lnTo>
                      <a:pt x="2673" y="6056"/>
                    </a:lnTo>
                    <a:lnTo>
                      <a:pt x="2190" y="4678"/>
                    </a:lnTo>
                    <a:lnTo>
                      <a:pt x="2734" y="1038"/>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94" name="Shape 358">
                <a:extLst>
                  <a:ext uri="{FF2B5EF4-FFF2-40B4-BE49-F238E27FC236}">
                    <a16:creationId xmlns:a16="http://schemas.microsoft.com/office/drawing/2014/main" id="{C2649E1F-6B00-48D9-A793-B71FCAD5BCCF}"/>
                  </a:ext>
                </a:extLst>
              </p:cNvPr>
              <p:cNvSpPr/>
              <p:nvPr/>
            </p:nvSpPr>
            <p:spPr>
              <a:xfrm>
                <a:off x="17675496" y="8033294"/>
                <a:ext cx="626676" cy="391743"/>
              </a:xfrm>
              <a:custGeom>
                <a:avLst/>
                <a:gdLst/>
                <a:ahLst/>
                <a:cxnLst>
                  <a:cxn ang="0">
                    <a:pos x="wd2" y="hd2"/>
                  </a:cxn>
                  <a:cxn ang="5400000">
                    <a:pos x="wd2" y="hd2"/>
                  </a:cxn>
                  <a:cxn ang="10800000">
                    <a:pos x="wd2" y="hd2"/>
                  </a:cxn>
                  <a:cxn ang="16200000">
                    <a:pos x="wd2" y="hd2"/>
                  </a:cxn>
                </a:cxnLst>
                <a:rect l="0" t="0" r="r" b="b"/>
                <a:pathLst>
                  <a:path w="21600" h="21544" extrusionOk="0">
                    <a:moveTo>
                      <a:pt x="2147" y="16913"/>
                    </a:moveTo>
                    <a:lnTo>
                      <a:pt x="1380" y="17278"/>
                    </a:lnTo>
                    <a:lnTo>
                      <a:pt x="508" y="19015"/>
                    </a:lnTo>
                    <a:lnTo>
                      <a:pt x="0" y="20356"/>
                    </a:lnTo>
                    <a:lnTo>
                      <a:pt x="1241" y="21466"/>
                    </a:lnTo>
                    <a:lnTo>
                      <a:pt x="2749" y="21544"/>
                    </a:lnTo>
                    <a:lnTo>
                      <a:pt x="5044" y="21466"/>
                    </a:lnTo>
                    <a:lnTo>
                      <a:pt x="6332" y="20691"/>
                    </a:lnTo>
                    <a:lnTo>
                      <a:pt x="8044" y="18990"/>
                    </a:lnTo>
                    <a:lnTo>
                      <a:pt x="9316" y="17905"/>
                    </a:lnTo>
                    <a:lnTo>
                      <a:pt x="10246" y="16587"/>
                    </a:lnTo>
                    <a:lnTo>
                      <a:pt x="11501" y="14151"/>
                    </a:lnTo>
                    <a:cubicBezTo>
                      <a:pt x="11635" y="13828"/>
                      <a:pt x="11800" y="13540"/>
                      <a:pt x="11990" y="13298"/>
                    </a:cubicBezTo>
                    <a:cubicBezTo>
                      <a:pt x="12464" y="12694"/>
                      <a:pt x="13064" y="12399"/>
                      <a:pt x="13670" y="12472"/>
                    </a:cubicBezTo>
                    <a:lnTo>
                      <a:pt x="14548" y="12562"/>
                    </a:lnTo>
                    <a:lnTo>
                      <a:pt x="15233" y="12097"/>
                    </a:lnTo>
                    <a:lnTo>
                      <a:pt x="15961" y="11558"/>
                    </a:lnTo>
                    <a:lnTo>
                      <a:pt x="16010" y="10246"/>
                    </a:lnTo>
                    <a:lnTo>
                      <a:pt x="17004" y="9130"/>
                    </a:lnTo>
                    <a:lnTo>
                      <a:pt x="18541" y="7346"/>
                    </a:lnTo>
                    <a:lnTo>
                      <a:pt x="20577" y="6490"/>
                    </a:lnTo>
                    <a:lnTo>
                      <a:pt x="21600" y="5415"/>
                    </a:lnTo>
                    <a:lnTo>
                      <a:pt x="21600" y="4405"/>
                    </a:lnTo>
                    <a:lnTo>
                      <a:pt x="21306" y="2773"/>
                    </a:lnTo>
                    <a:lnTo>
                      <a:pt x="20866" y="1007"/>
                    </a:lnTo>
                    <a:cubicBezTo>
                      <a:pt x="20843" y="468"/>
                      <a:pt x="20572" y="40"/>
                      <a:pt x="20232" y="3"/>
                    </a:cubicBezTo>
                    <a:cubicBezTo>
                      <a:pt x="19700" y="-56"/>
                      <a:pt x="19304" y="769"/>
                      <a:pt x="19482" y="1565"/>
                    </a:cubicBezTo>
                    <a:lnTo>
                      <a:pt x="18669" y="2426"/>
                    </a:lnTo>
                    <a:lnTo>
                      <a:pt x="17564" y="3640"/>
                    </a:lnTo>
                    <a:lnTo>
                      <a:pt x="17108" y="4363"/>
                    </a:lnTo>
                    <a:cubicBezTo>
                      <a:pt x="16812" y="4575"/>
                      <a:pt x="16538" y="4853"/>
                      <a:pt x="16293" y="5190"/>
                    </a:cubicBezTo>
                    <a:cubicBezTo>
                      <a:pt x="15810" y="5854"/>
                      <a:pt x="15457" y="6721"/>
                      <a:pt x="14988" y="7408"/>
                    </a:cubicBezTo>
                    <a:cubicBezTo>
                      <a:pt x="14591" y="7991"/>
                      <a:pt x="14119" y="8431"/>
                      <a:pt x="13604" y="8700"/>
                    </a:cubicBezTo>
                    <a:lnTo>
                      <a:pt x="11698" y="9704"/>
                    </a:lnTo>
                    <a:lnTo>
                      <a:pt x="9302" y="11254"/>
                    </a:lnTo>
                    <a:cubicBezTo>
                      <a:pt x="8906" y="11491"/>
                      <a:pt x="8515" y="11748"/>
                      <a:pt x="8130" y="12026"/>
                    </a:cubicBezTo>
                    <a:cubicBezTo>
                      <a:pt x="7579" y="12424"/>
                      <a:pt x="7040" y="12864"/>
                      <a:pt x="6515" y="13344"/>
                    </a:cubicBezTo>
                    <a:cubicBezTo>
                      <a:pt x="6085" y="13632"/>
                      <a:pt x="5652" y="13908"/>
                      <a:pt x="5215" y="14170"/>
                    </a:cubicBezTo>
                    <a:cubicBezTo>
                      <a:pt x="4730" y="14462"/>
                      <a:pt x="4240" y="14738"/>
                      <a:pt x="3748" y="14997"/>
                    </a:cubicBezTo>
                    <a:lnTo>
                      <a:pt x="2147" y="16913"/>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95" name="Shape 359">
                <a:extLst>
                  <a:ext uri="{FF2B5EF4-FFF2-40B4-BE49-F238E27FC236}">
                    <a16:creationId xmlns:a16="http://schemas.microsoft.com/office/drawing/2014/main" id="{A2B7F315-946D-4DCD-AA0A-6020BEAC9E62}"/>
                  </a:ext>
                </a:extLst>
              </p:cNvPr>
              <p:cNvSpPr/>
              <p:nvPr/>
            </p:nvSpPr>
            <p:spPr>
              <a:xfrm>
                <a:off x="18388338" y="7643204"/>
                <a:ext cx="306557" cy="467149"/>
              </a:xfrm>
              <a:custGeom>
                <a:avLst/>
                <a:gdLst/>
                <a:ahLst/>
                <a:cxnLst>
                  <a:cxn ang="0">
                    <a:pos x="wd2" y="hd2"/>
                  </a:cxn>
                  <a:cxn ang="5400000">
                    <a:pos x="wd2" y="hd2"/>
                  </a:cxn>
                  <a:cxn ang="10800000">
                    <a:pos x="wd2" y="hd2"/>
                  </a:cxn>
                  <a:cxn ang="16200000">
                    <a:pos x="wd2" y="hd2"/>
                  </a:cxn>
                </a:cxnLst>
                <a:rect l="0" t="0" r="r" b="b"/>
                <a:pathLst>
                  <a:path w="21600" h="21600" extrusionOk="0">
                    <a:moveTo>
                      <a:pt x="13019" y="321"/>
                    </a:moveTo>
                    <a:lnTo>
                      <a:pt x="11636" y="0"/>
                    </a:lnTo>
                    <a:lnTo>
                      <a:pt x="11352" y="2568"/>
                    </a:lnTo>
                    <a:lnTo>
                      <a:pt x="11383" y="3806"/>
                    </a:lnTo>
                    <a:lnTo>
                      <a:pt x="12079" y="5151"/>
                    </a:lnTo>
                    <a:lnTo>
                      <a:pt x="12375" y="6967"/>
                    </a:lnTo>
                    <a:cubicBezTo>
                      <a:pt x="12672" y="7601"/>
                      <a:pt x="12637" y="8281"/>
                      <a:pt x="12275" y="8900"/>
                    </a:cubicBezTo>
                    <a:cubicBezTo>
                      <a:pt x="12047" y="9291"/>
                      <a:pt x="11695" y="9645"/>
                      <a:pt x="11242" y="9941"/>
                    </a:cubicBezTo>
                    <a:lnTo>
                      <a:pt x="10432" y="11157"/>
                    </a:lnTo>
                    <a:lnTo>
                      <a:pt x="7384" y="11982"/>
                    </a:lnTo>
                    <a:lnTo>
                      <a:pt x="4025" y="12743"/>
                    </a:lnTo>
                    <a:lnTo>
                      <a:pt x="2560" y="14347"/>
                    </a:lnTo>
                    <a:lnTo>
                      <a:pt x="2552" y="16107"/>
                    </a:lnTo>
                    <a:lnTo>
                      <a:pt x="3355" y="17541"/>
                    </a:lnTo>
                    <a:lnTo>
                      <a:pt x="1955" y="19191"/>
                    </a:lnTo>
                    <a:lnTo>
                      <a:pt x="116" y="19974"/>
                    </a:lnTo>
                    <a:lnTo>
                      <a:pt x="0" y="20821"/>
                    </a:lnTo>
                    <a:lnTo>
                      <a:pt x="1421" y="21600"/>
                    </a:lnTo>
                    <a:lnTo>
                      <a:pt x="3317" y="20948"/>
                    </a:lnTo>
                    <a:lnTo>
                      <a:pt x="5646" y="19126"/>
                    </a:lnTo>
                    <a:cubicBezTo>
                      <a:pt x="6124" y="18808"/>
                      <a:pt x="6661" y="18530"/>
                      <a:pt x="7246" y="18301"/>
                    </a:cubicBezTo>
                    <a:cubicBezTo>
                      <a:pt x="7999" y="18006"/>
                      <a:pt x="8821" y="17793"/>
                      <a:pt x="9679" y="17671"/>
                    </a:cubicBezTo>
                    <a:cubicBezTo>
                      <a:pt x="10238" y="17511"/>
                      <a:pt x="10792" y="17345"/>
                      <a:pt x="11342" y="17174"/>
                    </a:cubicBezTo>
                    <a:cubicBezTo>
                      <a:pt x="12241" y="16894"/>
                      <a:pt x="13139" y="16593"/>
                      <a:pt x="13842" y="16131"/>
                    </a:cubicBezTo>
                    <a:cubicBezTo>
                      <a:pt x="14311" y="15823"/>
                      <a:pt x="14674" y="15454"/>
                      <a:pt x="14908" y="15048"/>
                    </a:cubicBezTo>
                    <a:cubicBezTo>
                      <a:pt x="15071" y="14768"/>
                      <a:pt x="15345" y="14521"/>
                      <a:pt x="15704" y="14334"/>
                    </a:cubicBezTo>
                    <a:cubicBezTo>
                      <a:pt x="16529" y="13904"/>
                      <a:pt x="17653" y="13847"/>
                      <a:pt x="18567" y="13508"/>
                    </a:cubicBezTo>
                    <a:cubicBezTo>
                      <a:pt x="19153" y="13291"/>
                      <a:pt x="19628" y="12966"/>
                      <a:pt x="19933" y="12574"/>
                    </a:cubicBezTo>
                    <a:lnTo>
                      <a:pt x="21100" y="11358"/>
                    </a:lnTo>
                    <a:lnTo>
                      <a:pt x="21600" y="10578"/>
                    </a:lnTo>
                    <a:lnTo>
                      <a:pt x="19804" y="10386"/>
                    </a:lnTo>
                    <a:lnTo>
                      <a:pt x="18624" y="10060"/>
                    </a:lnTo>
                    <a:lnTo>
                      <a:pt x="17125" y="9017"/>
                    </a:lnTo>
                    <a:lnTo>
                      <a:pt x="14529" y="7584"/>
                    </a:lnTo>
                    <a:cubicBezTo>
                      <a:pt x="14314" y="7294"/>
                      <a:pt x="14124" y="6997"/>
                      <a:pt x="13962" y="6693"/>
                    </a:cubicBezTo>
                    <a:cubicBezTo>
                      <a:pt x="13643" y="6095"/>
                      <a:pt x="13431" y="5476"/>
                      <a:pt x="13329" y="4847"/>
                    </a:cubicBezTo>
                    <a:lnTo>
                      <a:pt x="14325" y="3524"/>
                    </a:lnTo>
                    <a:lnTo>
                      <a:pt x="14325" y="1808"/>
                    </a:lnTo>
                    <a:lnTo>
                      <a:pt x="13019" y="321"/>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96" name="Shape 360">
                <a:extLst>
                  <a:ext uri="{FF2B5EF4-FFF2-40B4-BE49-F238E27FC236}">
                    <a16:creationId xmlns:a16="http://schemas.microsoft.com/office/drawing/2014/main" id="{A7056954-A738-45B7-A965-BAD84702D3C9}"/>
                  </a:ext>
                </a:extLst>
              </p:cNvPr>
              <p:cNvSpPr/>
              <p:nvPr/>
            </p:nvSpPr>
            <p:spPr>
              <a:xfrm>
                <a:off x="18410482" y="7228486"/>
                <a:ext cx="30436" cy="52712"/>
              </a:xfrm>
              <a:custGeom>
                <a:avLst/>
                <a:gdLst/>
                <a:ahLst/>
                <a:cxnLst>
                  <a:cxn ang="0">
                    <a:pos x="wd2" y="hd2"/>
                  </a:cxn>
                  <a:cxn ang="5400000">
                    <a:pos x="wd2" y="hd2"/>
                  </a:cxn>
                  <a:cxn ang="10800000">
                    <a:pos x="wd2" y="hd2"/>
                  </a:cxn>
                  <a:cxn ang="16200000">
                    <a:pos x="wd2" y="hd2"/>
                  </a:cxn>
                </a:cxnLst>
                <a:rect l="0" t="0" r="r" b="b"/>
                <a:pathLst>
                  <a:path w="21600" h="21600" extrusionOk="0">
                    <a:moveTo>
                      <a:pt x="7518" y="240"/>
                    </a:moveTo>
                    <a:lnTo>
                      <a:pt x="21579" y="0"/>
                    </a:lnTo>
                    <a:lnTo>
                      <a:pt x="21600" y="11228"/>
                    </a:lnTo>
                    <a:lnTo>
                      <a:pt x="15549" y="21600"/>
                    </a:lnTo>
                    <a:lnTo>
                      <a:pt x="2290" y="19891"/>
                    </a:lnTo>
                    <a:lnTo>
                      <a:pt x="0" y="10674"/>
                    </a:lnTo>
                    <a:lnTo>
                      <a:pt x="7518" y="24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97" name="Shape 361">
                <a:extLst>
                  <a:ext uri="{FF2B5EF4-FFF2-40B4-BE49-F238E27FC236}">
                    <a16:creationId xmlns:a16="http://schemas.microsoft.com/office/drawing/2014/main" id="{1B37DEC4-DABA-4175-B220-AB808896056E}"/>
                  </a:ext>
                </a:extLst>
              </p:cNvPr>
              <p:cNvSpPr/>
              <p:nvPr/>
            </p:nvSpPr>
            <p:spPr>
              <a:xfrm>
                <a:off x="18344354" y="6567654"/>
                <a:ext cx="195351" cy="241773"/>
              </a:xfrm>
              <a:custGeom>
                <a:avLst/>
                <a:gdLst/>
                <a:ahLst/>
                <a:cxnLst>
                  <a:cxn ang="0">
                    <a:pos x="wd2" y="hd2"/>
                  </a:cxn>
                  <a:cxn ang="5400000">
                    <a:pos x="wd2" y="hd2"/>
                  </a:cxn>
                  <a:cxn ang="10800000">
                    <a:pos x="wd2" y="hd2"/>
                  </a:cxn>
                  <a:cxn ang="16200000">
                    <a:pos x="wd2" y="hd2"/>
                  </a:cxn>
                </a:cxnLst>
                <a:rect l="0" t="0" r="r" b="b"/>
                <a:pathLst>
                  <a:path w="21600" h="21600" extrusionOk="0">
                    <a:moveTo>
                      <a:pt x="2266" y="0"/>
                    </a:moveTo>
                    <a:lnTo>
                      <a:pt x="5698" y="3526"/>
                    </a:lnTo>
                    <a:lnTo>
                      <a:pt x="8576" y="7970"/>
                    </a:lnTo>
                    <a:lnTo>
                      <a:pt x="9046" y="10950"/>
                    </a:lnTo>
                    <a:lnTo>
                      <a:pt x="12812" y="12581"/>
                    </a:lnTo>
                    <a:lnTo>
                      <a:pt x="16578" y="14974"/>
                    </a:lnTo>
                    <a:lnTo>
                      <a:pt x="21600" y="18247"/>
                    </a:lnTo>
                    <a:lnTo>
                      <a:pt x="21286" y="21600"/>
                    </a:lnTo>
                    <a:lnTo>
                      <a:pt x="18775" y="21264"/>
                    </a:lnTo>
                    <a:lnTo>
                      <a:pt x="14754" y="16779"/>
                    </a:lnTo>
                    <a:lnTo>
                      <a:pt x="12093" y="15393"/>
                    </a:lnTo>
                    <a:cubicBezTo>
                      <a:pt x="11092" y="15033"/>
                      <a:pt x="10116" y="14628"/>
                      <a:pt x="9170" y="14182"/>
                    </a:cubicBezTo>
                    <a:cubicBezTo>
                      <a:pt x="8123" y="13687"/>
                      <a:pt x="7114" y="13142"/>
                      <a:pt x="6149" y="12550"/>
                    </a:cubicBezTo>
                    <a:lnTo>
                      <a:pt x="5208" y="9024"/>
                    </a:lnTo>
                    <a:lnTo>
                      <a:pt x="3272" y="6968"/>
                    </a:lnTo>
                    <a:lnTo>
                      <a:pt x="467" y="3584"/>
                    </a:lnTo>
                    <a:lnTo>
                      <a:pt x="0" y="1873"/>
                    </a:lnTo>
                    <a:lnTo>
                      <a:pt x="2266"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98" name="Shape 362">
                <a:extLst>
                  <a:ext uri="{FF2B5EF4-FFF2-40B4-BE49-F238E27FC236}">
                    <a16:creationId xmlns:a16="http://schemas.microsoft.com/office/drawing/2014/main" id="{78E5EFD0-66A1-4AD6-8AAD-0338AE38D5A3}"/>
                  </a:ext>
                </a:extLst>
              </p:cNvPr>
              <p:cNvSpPr/>
              <p:nvPr/>
            </p:nvSpPr>
            <p:spPr>
              <a:xfrm>
                <a:off x="18617626" y="6305091"/>
                <a:ext cx="69942" cy="117769"/>
              </a:xfrm>
              <a:custGeom>
                <a:avLst/>
                <a:gdLst/>
                <a:ahLst/>
                <a:cxnLst>
                  <a:cxn ang="0">
                    <a:pos x="wd2" y="hd2"/>
                  </a:cxn>
                  <a:cxn ang="5400000">
                    <a:pos x="wd2" y="hd2"/>
                  </a:cxn>
                  <a:cxn ang="10800000">
                    <a:pos x="wd2" y="hd2"/>
                  </a:cxn>
                  <a:cxn ang="16200000">
                    <a:pos x="wd2" y="hd2"/>
                  </a:cxn>
                </a:cxnLst>
                <a:rect l="0" t="0" r="r" b="b"/>
                <a:pathLst>
                  <a:path w="21600" h="21600" extrusionOk="0">
                    <a:moveTo>
                      <a:pt x="4384" y="0"/>
                    </a:moveTo>
                    <a:lnTo>
                      <a:pt x="0" y="6366"/>
                    </a:lnTo>
                    <a:lnTo>
                      <a:pt x="4998" y="11561"/>
                    </a:lnTo>
                    <a:lnTo>
                      <a:pt x="9054" y="12853"/>
                    </a:lnTo>
                    <a:lnTo>
                      <a:pt x="11974" y="16462"/>
                    </a:lnTo>
                    <a:lnTo>
                      <a:pt x="18532" y="21600"/>
                    </a:lnTo>
                    <a:lnTo>
                      <a:pt x="21600" y="18003"/>
                    </a:lnTo>
                    <a:lnTo>
                      <a:pt x="19408" y="13360"/>
                    </a:lnTo>
                    <a:lnTo>
                      <a:pt x="14184" y="10517"/>
                    </a:lnTo>
                    <a:lnTo>
                      <a:pt x="9965" y="6822"/>
                    </a:lnTo>
                    <a:lnTo>
                      <a:pt x="9528" y="3503"/>
                    </a:lnTo>
                    <a:lnTo>
                      <a:pt x="4384"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199" name="Shape 363">
                <a:extLst>
                  <a:ext uri="{FF2B5EF4-FFF2-40B4-BE49-F238E27FC236}">
                    <a16:creationId xmlns:a16="http://schemas.microsoft.com/office/drawing/2014/main" id="{9E2E58D0-DD18-4F62-A838-7FB9768F5BBD}"/>
                  </a:ext>
                </a:extLst>
              </p:cNvPr>
              <p:cNvSpPr/>
              <p:nvPr/>
            </p:nvSpPr>
            <p:spPr>
              <a:xfrm>
                <a:off x="17901984" y="5648664"/>
                <a:ext cx="85098" cy="119825"/>
              </a:xfrm>
              <a:custGeom>
                <a:avLst/>
                <a:gdLst/>
                <a:ahLst/>
                <a:cxnLst>
                  <a:cxn ang="0">
                    <a:pos x="wd2" y="hd2"/>
                  </a:cxn>
                  <a:cxn ang="5400000">
                    <a:pos x="wd2" y="hd2"/>
                  </a:cxn>
                  <a:cxn ang="10800000">
                    <a:pos x="wd2" y="hd2"/>
                  </a:cxn>
                  <a:cxn ang="16200000">
                    <a:pos x="wd2" y="hd2"/>
                  </a:cxn>
                </a:cxnLst>
                <a:rect l="0" t="0" r="r" b="b"/>
                <a:pathLst>
                  <a:path w="21600" h="21600" extrusionOk="0">
                    <a:moveTo>
                      <a:pt x="4335" y="0"/>
                    </a:moveTo>
                    <a:lnTo>
                      <a:pt x="8612" y="423"/>
                    </a:lnTo>
                    <a:lnTo>
                      <a:pt x="9548" y="10168"/>
                    </a:lnTo>
                    <a:lnTo>
                      <a:pt x="15069" y="14477"/>
                    </a:lnTo>
                    <a:lnTo>
                      <a:pt x="21600" y="16858"/>
                    </a:lnTo>
                    <a:lnTo>
                      <a:pt x="19199" y="21600"/>
                    </a:lnTo>
                    <a:lnTo>
                      <a:pt x="11398" y="20763"/>
                    </a:lnTo>
                    <a:lnTo>
                      <a:pt x="5755" y="17207"/>
                    </a:lnTo>
                    <a:lnTo>
                      <a:pt x="9" y="12157"/>
                    </a:lnTo>
                    <a:lnTo>
                      <a:pt x="0" y="6578"/>
                    </a:lnTo>
                    <a:lnTo>
                      <a:pt x="4335"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200" name="Shape 364">
                <a:extLst>
                  <a:ext uri="{FF2B5EF4-FFF2-40B4-BE49-F238E27FC236}">
                    <a16:creationId xmlns:a16="http://schemas.microsoft.com/office/drawing/2014/main" id="{B97141EC-4947-4103-BB0D-37858D26BC99}"/>
                  </a:ext>
                </a:extLst>
              </p:cNvPr>
              <p:cNvSpPr/>
              <p:nvPr/>
            </p:nvSpPr>
            <p:spPr>
              <a:xfrm>
                <a:off x="18014681" y="5740746"/>
                <a:ext cx="84839" cy="73470"/>
              </a:xfrm>
              <a:custGeom>
                <a:avLst/>
                <a:gdLst/>
                <a:ahLst/>
                <a:cxnLst>
                  <a:cxn ang="0">
                    <a:pos x="wd2" y="hd2"/>
                  </a:cxn>
                  <a:cxn ang="5400000">
                    <a:pos x="wd2" y="hd2"/>
                  </a:cxn>
                  <a:cxn ang="10800000">
                    <a:pos x="wd2" y="hd2"/>
                  </a:cxn>
                  <a:cxn ang="16200000">
                    <a:pos x="wd2" y="hd2"/>
                  </a:cxn>
                </a:cxnLst>
                <a:rect l="0" t="0" r="r" b="b"/>
                <a:pathLst>
                  <a:path w="21600" h="21600" extrusionOk="0">
                    <a:moveTo>
                      <a:pt x="7085" y="0"/>
                    </a:moveTo>
                    <a:lnTo>
                      <a:pt x="17293" y="9046"/>
                    </a:lnTo>
                    <a:lnTo>
                      <a:pt x="21600" y="14848"/>
                    </a:lnTo>
                    <a:lnTo>
                      <a:pt x="21013" y="21600"/>
                    </a:lnTo>
                    <a:lnTo>
                      <a:pt x="12837" y="18854"/>
                    </a:lnTo>
                    <a:lnTo>
                      <a:pt x="5986" y="12225"/>
                    </a:lnTo>
                    <a:lnTo>
                      <a:pt x="0" y="7390"/>
                    </a:lnTo>
                    <a:lnTo>
                      <a:pt x="7085"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201" name="Shape 365">
                <a:extLst>
                  <a:ext uri="{FF2B5EF4-FFF2-40B4-BE49-F238E27FC236}">
                    <a16:creationId xmlns:a16="http://schemas.microsoft.com/office/drawing/2014/main" id="{DDF10B43-E374-4979-9507-3177FABC01DD}"/>
                  </a:ext>
                </a:extLst>
              </p:cNvPr>
              <p:cNvSpPr/>
              <p:nvPr/>
            </p:nvSpPr>
            <p:spPr>
              <a:xfrm>
                <a:off x="18050222" y="5839870"/>
                <a:ext cx="69372" cy="72463"/>
              </a:xfrm>
              <a:custGeom>
                <a:avLst/>
                <a:gdLst/>
                <a:ahLst/>
                <a:cxnLst>
                  <a:cxn ang="0">
                    <a:pos x="wd2" y="hd2"/>
                  </a:cxn>
                  <a:cxn ang="5400000">
                    <a:pos x="wd2" y="hd2"/>
                  </a:cxn>
                  <a:cxn ang="10800000">
                    <a:pos x="wd2" y="hd2"/>
                  </a:cxn>
                  <a:cxn ang="16200000">
                    <a:pos x="wd2" y="hd2"/>
                  </a:cxn>
                </a:cxnLst>
                <a:rect l="0" t="0" r="r" b="b"/>
                <a:pathLst>
                  <a:path w="21600" h="21600" extrusionOk="0">
                    <a:moveTo>
                      <a:pt x="6399" y="0"/>
                    </a:moveTo>
                    <a:lnTo>
                      <a:pt x="12290" y="1855"/>
                    </a:lnTo>
                    <a:lnTo>
                      <a:pt x="12799" y="9871"/>
                    </a:lnTo>
                    <a:lnTo>
                      <a:pt x="15725" y="15036"/>
                    </a:lnTo>
                    <a:lnTo>
                      <a:pt x="21600" y="16577"/>
                    </a:lnTo>
                    <a:lnTo>
                      <a:pt x="18230" y="21600"/>
                    </a:lnTo>
                    <a:lnTo>
                      <a:pt x="12781" y="19919"/>
                    </a:lnTo>
                    <a:cubicBezTo>
                      <a:pt x="10763" y="19240"/>
                      <a:pt x="9023" y="17972"/>
                      <a:pt x="7808" y="16297"/>
                    </a:cubicBezTo>
                    <a:cubicBezTo>
                      <a:pt x="6475" y="14458"/>
                      <a:pt x="5850" y="12237"/>
                      <a:pt x="6040" y="10011"/>
                    </a:cubicBezTo>
                    <a:lnTo>
                      <a:pt x="0" y="5671"/>
                    </a:lnTo>
                    <a:lnTo>
                      <a:pt x="6399"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DCDEE0"/>
                    </a:solidFill>
                    <a:latin typeface="Calibri"/>
                    <a:ea typeface="Calibri"/>
                    <a:cs typeface="Calibri"/>
                    <a:sym typeface="Calibri"/>
                  </a:defRPr>
                </a:pPr>
                <a:endParaRPr sz="10100"/>
              </a:p>
            </p:txBody>
          </p:sp>
          <p:sp>
            <p:nvSpPr>
              <p:cNvPr id="202" name="Shape 366">
                <a:extLst>
                  <a:ext uri="{FF2B5EF4-FFF2-40B4-BE49-F238E27FC236}">
                    <a16:creationId xmlns:a16="http://schemas.microsoft.com/office/drawing/2014/main" id="{5A600F7A-D8F6-4558-BFBC-7E4E2BAF8BAF}"/>
                  </a:ext>
                </a:extLst>
              </p:cNvPr>
              <p:cNvSpPr/>
              <p:nvPr/>
            </p:nvSpPr>
            <p:spPr>
              <a:xfrm>
                <a:off x="18136209" y="5807218"/>
                <a:ext cx="86955" cy="78351"/>
              </a:xfrm>
              <a:custGeom>
                <a:avLst/>
                <a:gdLst/>
                <a:ahLst/>
                <a:cxnLst>
                  <a:cxn ang="0">
                    <a:pos x="wd2" y="hd2"/>
                  </a:cxn>
                  <a:cxn ang="5400000">
                    <a:pos x="wd2" y="hd2"/>
                  </a:cxn>
                  <a:cxn ang="10800000">
                    <a:pos x="wd2" y="hd2"/>
                  </a:cxn>
                  <a:cxn ang="16200000">
                    <a:pos x="wd2" y="hd2"/>
                  </a:cxn>
                </a:cxnLst>
                <a:rect l="0" t="0" r="r" b="b"/>
                <a:pathLst>
                  <a:path w="21600" h="21600" extrusionOk="0">
                    <a:moveTo>
                      <a:pt x="4105" y="0"/>
                    </a:moveTo>
                    <a:lnTo>
                      <a:pt x="8950" y="5326"/>
                    </a:lnTo>
                    <a:lnTo>
                      <a:pt x="16429" y="10105"/>
                    </a:lnTo>
                    <a:lnTo>
                      <a:pt x="21247" y="15787"/>
                    </a:lnTo>
                    <a:lnTo>
                      <a:pt x="21600" y="21227"/>
                    </a:lnTo>
                    <a:lnTo>
                      <a:pt x="14814" y="21600"/>
                    </a:lnTo>
                    <a:lnTo>
                      <a:pt x="10715" y="19268"/>
                    </a:lnTo>
                    <a:lnTo>
                      <a:pt x="6249" y="13959"/>
                    </a:lnTo>
                    <a:lnTo>
                      <a:pt x="3576" y="9700"/>
                    </a:lnTo>
                    <a:lnTo>
                      <a:pt x="25" y="6121"/>
                    </a:lnTo>
                    <a:lnTo>
                      <a:pt x="0" y="1589"/>
                    </a:lnTo>
                    <a:lnTo>
                      <a:pt x="4105"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203" name="Shape 367">
                <a:extLst>
                  <a:ext uri="{FF2B5EF4-FFF2-40B4-BE49-F238E27FC236}">
                    <a16:creationId xmlns:a16="http://schemas.microsoft.com/office/drawing/2014/main" id="{C3F03BFE-1083-455C-BFA6-B7BB0865B101}"/>
                  </a:ext>
                </a:extLst>
              </p:cNvPr>
              <p:cNvSpPr/>
              <p:nvPr/>
            </p:nvSpPr>
            <p:spPr>
              <a:xfrm>
                <a:off x="18181153" y="5927385"/>
                <a:ext cx="69718" cy="44511"/>
              </a:xfrm>
              <a:custGeom>
                <a:avLst/>
                <a:gdLst/>
                <a:ahLst/>
                <a:cxnLst>
                  <a:cxn ang="0">
                    <a:pos x="wd2" y="hd2"/>
                  </a:cxn>
                  <a:cxn ang="5400000">
                    <a:pos x="wd2" y="hd2"/>
                  </a:cxn>
                  <a:cxn ang="10800000">
                    <a:pos x="wd2" y="hd2"/>
                  </a:cxn>
                  <a:cxn ang="16200000">
                    <a:pos x="wd2" y="hd2"/>
                  </a:cxn>
                </a:cxnLst>
                <a:rect l="0" t="0" r="r" b="b"/>
                <a:pathLst>
                  <a:path w="21600" h="21600" extrusionOk="0">
                    <a:moveTo>
                      <a:pt x="8649" y="530"/>
                    </a:moveTo>
                    <a:lnTo>
                      <a:pt x="13099" y="8995"/>
                    </a:lnTo>
                    <a:lnTo>
                      <a:pt x="21600" y="8519"/>
                    </a:lnTo>
                    <a:lnTo>
                      <a:pt x="21600" y="17555"/>
                    </a:lnTo>
                    <a:lnTo>
                      <a:pt x="15901" y="21600"/>
                    </a:lnTo>
                    <a:lnTo>
                      <a:pt x="8481" y="18211"/>
                    </a:lnTo>
                    <a:lnTo>
                      <a:pt x="1799" y="7978"/>
                    </a:lnTo>
                    <a:lnTo>
                      <a:pt x="0" y="0"/>
                    </a:lnTo>
                    <a:lnTo>
                      <a:pt x="8649" y="53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DCDEE0"/>
                    </a:solidFill>
                    <a:latin typeface="Calibri"/>
                    <a:ea typeface="Calibri"/>
                    <a:cs typeface="Calibri"/>
                    <a:sym typeface="Calibri"/>
                  </a:defRPr>
                </a:pPr>
                <a:endParaRPr sz="10100"/>
              </a:p>
            </p:txBody>
          </p:sp>
          <p:sp>
            <p:nvSpPr>
              <p:cNvPr id="204" name="Shape 368">
                <a:extLst>
                  <a:ext uri="{FF2B5EF4-FFF2-40B4-BE49-F238E27FC236}">
                    <a16:creationId xmlns:a16="http://schemas.microsoft.com/office/drawing/2014/main" id="{E52AC6E3-D6BE-4ABC-881B-9FB5F1A38E91}"/>
                  </a:ext>
                </a:extLst>
              </p:cNvPr>
              <p:cNvSpPr/>
              <p:nvPr/>
            </p:nvSpPr>
            <p:spPr>
              <a:xfrm>
                <a:off x="18264416" y="5863245"/>
                <a:ext cx="51068" cy="100694"/>
              </a:xfrm>
              <a:custGeom>
                <a:avLst/>
                <a:gdLst/>
                <a:ahLst/>
                <a:cxnLst>
                  <a:cxn ang="0">
                    <a:pos x="wd2" y="hd2"/>
                  </a:cxn>
                  <a:cxn ang="5400000">
                    <a:pos x="wd2" y="hd2"/>
                  </a:cxn>
                  <a:cxn ang="10800000">
                    <a:pos x="wd2" y="hd2"/>
                  </a:cxn>
                  <a:cxn ang="16200000">
                    <a:pos x="wd2" y="hd2"/>
                  </a:cxn>
                </a:cxnLst>
                <a:rect l="0" t="0" r="r" b="b"/>
                <a:pathLst>
                  <a:path w="21600" h="21600" extrusionOk="0">
                    <a:moveTo>
                      <a:pt x="4203" y="0"/>
                    </a:moveTo>
                    <a:lnTo>
                      <a:pt x="0" y="4749"/>
                    </a:lnTo>
                    <a:lnTo>
                      <a:pt x="263" y="12857"/>
                    </a:lnTo>
                    <a:lnTo>
                      <a:pt x="8018" y="13953"/>
                    </a:lnTo>
                    <a:lnTo>
                      <a:pt x="8018" y="17984"/>
                    </a:lnTo>
                    <a:lnTo>
                      <a:pt x="13422" y="21600"/>
                    </a:lnTo>
                    <a:lnTo>
                      <a:pt x="21600" y="17064"/>
                    </a:lnTo>
                    <a:lnTo>
                      <a:pt x="14422" y="12038"/>
                    </a:lnTo>
                    <a:lnTo>
                      <a:pt x="7443" y="8221"/>
                    </a:lnTo>
                    <a:lnTo>
                      <a:pt x="4203"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205" name="Shape 369">
                <a:extLst>
                  <a:ext uri="{FF2B5EF4-FFF2-40B4-BE49-F238E27FC236}">
                    <a16:creationId xmlns:a16="http://schemas.microsoft.com/office/drawing/2014/main" id="{BC1B9921-39A0-45C4-8AD9-082024AE1996}"/>
                  </a:ext>
                </a:extLst>
              </p:cNvPr>
              <p:cNvSpPr/>
              <p:nvPr/>
            </p:nvSpPr>
            <p:spPr>
              <a:xfrm>
                <a:off x="18292213" y="5998074"/>
                <a:ext cx="45422" cy="3919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703" y="9868"/>
                    </a:lnTo>
                    <a:lnTo>
                      <a:pt x="12853" y="21600"/>
                    </a:lnTo>
                    <a:lnTo>
                      <a:pt x="21600" y="16680"/>
                    </a:lnTo>
                    <a:lnTo>
                      <a:pt x="12403" y="144"/>
                    </a:lnTo>
                    <a:lnTo>
                      <a:pt x="0"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206" name="Shape 370">
                <a:extLst>
                  <a:ext uri="{FF2B5EF4-FFF2-40B4-BE49-F238E27FC236}">
                    <a16:creationId xmlns:a16="http://schemas.microsoft.com/office/drawing/2014/main" id="{41E0A018-A0E7-4031-AC23-DB07C5C33D46}"/>
                  </a:ext>
                </a:extLst>
              </p:cNvPr>
              <p:cNvSpPr/>
              <p:nvPr/>
            </p:nvSpPr>
            <p:spPr>
              <a:xfrm>
                <a:off x="17704827" y="5458720"/>
                <a:ext cx="161918" cy="141761"/>
              </a:xfrm>
              <a:custGeom>
                <a:avLst/>
                <a:gdLst/>
                <a:ahLst/>
                <a:cxnLst>
                  <a:cxn ang="0">
                    <a:pos x="wd2" y="hd2"/>
                  </a:cxn>
                  <a:cxn ang="5400000">
                    <a:pos x="wd2" y="hd2"/>
                  </a:cxn>
                  <a:cxn ang="10800000">
                    <a:pos x="wd2" y="hd2"/>
                  </a:cxn>
                  <a:cxn ang="16200000">
                    <a:pos x="wd2" y="hd2"/>
                  </a:cxn>
                </a:cxnLst>
                <a:rect l="0" t="0" r="r" b="b"/>
                <a:pathLst>
                  <a:path w="21600" h="21600" extrusionOk="0">
                    <a:moveTo>
                      <a:pt x="560" y="0"/>
                    </a:moveTo>
                    <a:lnTo>
                      <a:pt x="0" y="2479"/>
                    </a:lnTo>
                    <a:lnTo>
                      <a:pt x="4688" y="4518"/>
                    </a:lnTo>
                    <a:lnTo>
                      <a:pt x="9042" y="7739"/>
                    </a:lnTo>
                    <a:lnTo>
                      <a:pt x="12639" y="11175"/>
                    </a:lnTo>
                    <a:lnTo>
                      <a:pt x="16173" y="15327"/>
                    </a:lnTo>
                    <a:lnTo>
                      <a:pt x="17687" y="21385"/>
                    </a:lnTo>
                    <a:lnTo>
                      <a:pt x="21600" y="21600"/>
                    </a:lnTo>
                    <a:lnTo>
                      <a:pt x="19336" y="12589"/>
                    </a:lnTo>
                    <a:lnTo>
                      <a:pt x="12733" y="8079"/>
                    </a:lnTo>
                    <a:lnTo>
                      <a:pt x="7069" y="2791"/>
                    </a:lnTo>
                    <a:lnTo>
                      <a:pt x="3732" y="804"/>
                    </a:lnTo>
                    <a:lnTo>
                      <a:pt x="560"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207" name="Shape 371">
                <a:extLst>
                  <a:ext uri="{FF2B5EF4-FFF2-40B4-BE49-F238E27FC236}">
                    <a16:creationId xmlns:a16="http://schemas.microsoft.com/office/drawing/2014/main" id="{47866FD1-5764-4E99-927F-07278C0DD13E}"/>
                  </a:ext>
                </a:extLst>
              </p:cNvPr>
              <p:cNvSpPr/>
              <p:nvPr/>
            </p:nvSpPr>
            <p:spPr>
              <a:xfrm>
                <a:off x="17594642" y="5563037"/>
                <a:ext cx="214722" cy="172392"/>
              </a:xfrm>
              <a:custGeom>
                <a:avLst/>
                <a:gdLst/>
                <a:ahLst/>
                <a:cxnLst>
                  <a:cxn ang="0">
                    <a:pos x="wd2" y="hd2"/>
                  </a:cxn>
                  <a:cxn ang="5400000">
                    <a:pos x="wd2" y="hd2"/>
                  </a:cxn>
                  <a:cxn ang="10800000">
                    <a:pos x="wd2" y="hd2"/>
                  </a:cxn>
                  <a:cxn ang="16200000">
                    <a:pos x="wd2" y="hd2"/>
                  </a:cxn>
                </a:cxnLst>
                <a:rect l="0" t="0" r="r" b="b"/>
                <a:pathLst>
                  <a:path w="21600" h="21600" extrusionOk="0">
                    <a:moveTo>
                      <a:pt x="18234" y="5118"/>
                    </a:moveTo>
                    <a:lnTo>
                      <a:pt x="15276" y="8929"/>
                    </a:lnTo>
                    <a:lnTo>
                      <a:pt x="12042" y="12689"/>
                    </a:lnTo>
                    <a:lnTo>
                      <a:pt x="9529" y="13918"/>
                    </a:lnTo>
                    <a:lnTo>
                      <a:pt x="6129" y="13388"/>
                    </a:lnTo>
                    <a:lnTo>
                      <a:pt x="4458" y="14970"/>
                    </a:lnTo>
                    <a:lnTo>
                      <a:pt x="2410" y="14970"/>
                    </a:lnTo>
                    <a:lnTo>
                      <a:pt x="0" y="15500"/>
                    </a:lnTo>
                    <a:lnTo>
                      <a:pt x="1862" y="17604"/>
                    </a:lnTo>
                    <a:lnTo>
                      <a:pt x="4420" y="17781"/>
                    </a:lnTo>
                    <a:lnTo>
                      <a:pt x="6466" y="21431"/>
                    </a:lnTo>
                    <a:lnTo>
                      <a:pt x="8263" y="21600"/>
                    </a:lnTo>
                    <a:lnTo>
                      <a:pt x="9828" y="19488"/>
                    </a:lnTo>
                    <a:lnTo>
                      <a:pt x="11671" y="17906"/>
                    </a:lnTo>
                    <a:lnTo>
                      <a:pt x="15657" y="16508"/>
                    </a:lnTo>
                    <a:lnTo>
                      <a:pt x="18364" y="13167"/>
                    </a:lnTo>
                    <a:lnTo>
                      <a:pt x="19934" y="9988"/>
                    </a:lnTo>
                    <a:lnTo>
                      <a:pt x="21457" y="7288"/>
                    </a:lnTo>
                    <a:lnTo>
                      <a:pt x="21600" y="3285"/>
                    </a:lnTo>
                    <a:lnTo>
                      <a:pt x="19702" y="0"/>
                    </a:lnTo>
                    <a:lnTo>
                      <a:pt x="19131" y="2158"/>
                    </a:lnTo>
                    <a:lnTo>
                      <a:pt x="18234" y="5118"/>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208" name="Shape 372">
                <a:extLst>
                  <a:ext uri="{FF2B5EF4-FFF2-40B4-BE49-F238E27FC236}">
                    <a16:creationId xmlns:a16="http://schemas.microsoft.com/office/drawing/2014/main" id="{856A05B6-1457-49AF-A016-F20360D22AC9}"/>
                  </a:ext>
                </a:extLst>
              </p:cNvPr>
              <p:cNvSpPr/>
              <p:nvPr/>
            </p:nvSpPr>
            <p:spPr>
              <a:xfrm>
                <a:off x="16495159" y="5317559"/>
                <a:ext cx="1223756" cy="723200"/>
              </a:xfrm>
              <a:custGeom>
                <a:avLst/>
                <a:gdLst/>
                <a:ahLst/>
                <a:cxnLst>
                  <a:cxn ang="0">
                    <a:pos x="wd2" y="hd2"/>
                  </a:cxn>
                  <a:cxn ang="5400000">
                    <a:pos x="wd2" y="hd2"/>
                  </a:cxn>
                  <a:cxn ang="10800000">
                    <a:pos x="wd2" y="hd2"/>
                  </a:cxn>
                  <a:cxn ang="16200000">
                    <a:pos x="wd2" y="hd2"/>
                  </a:cxn>
                </a:cxnLst>
                <a:rect l="0" t="0" r="r" b="b"/>
                <a:pathLst>
                  <a:path w="21600" h="21600" extrusionOk="0">
                    <a:moveTo>
                      <a:pt x="339" y="1069"/>
                    </a:moveTo>
                    <a:lnTo>
                      <a:pt x="1040" y="903"/>
                    </a:lnTo>
                    <a:lnTo>
                      <a:pt x="1266" y="12"/>
                    </a:lnTo>
                    <a:lnTo>
                      <a:pt x="2016" y="0"/>
                    </a:lnTo>
                    <a:lnTo>
                      <a:pt x="2684" y="12"/>
                    </a:lnTo>
                    <a:lnTo>
                      <a:pt x="2808" y="1131"/>
                    </a:lnTo>
                    <a:lnTo>
                      <a:pt x="3150" y="1972"/>
                    </a:lnTo>
                    <a:lnTo>
                      <a:pt x="3342" y="2473"/>
                    </a:lnTo>
                    <a:lnTo>
                      <a:pt x="3192" y="3510"/>
                    </a:lnTo>
                    <a:lnTo>
                      <a:pt x="3218" y="4141"/>
                    </a:lnTo>
                    <a:lnTo>
                      <a:pt x="3692" y="4939"/>
                    </a:lnTo>
                    <a:lnTo>
                      <a:pt x="4067" y="5627"/>
                    </a:lnTo>
                    <a:lnTo>
                      <a:pt x="4526" y="6342"/>
                    </a:lnTo>
                    <a:cubicBezTo>
                      <a:pt x="4633" y="6179"/>
                      <a:pt x="4728" y="5996"/>
                      <a:pt x="4809" y="5795"/>
                    </a:cubicBezTo>
                    <a:cubicBezTo>
                      <a:pt x="4941" y="5469"/>
                      <a:pt x="5034" y="5102"/>
                      <a:pt x="5083" y="4716"/>
                    </a:cubicBezTo>
                    <a:lnTo>
                      <a:pt x="5451" y="4478"/>
                    </a:lnTo>
                    <a:lnTo>
                      <a:pt x="6119" y="3931"/>
                    </a:lnTo>
                    <a:lnTo>
                      <a:pt x="6668" y="3385"/>
                    </a:lnTo>
                    <a:lnTo>
                      <a:pt x="7068" y="2838"/>
                    </a:lnTo>
                    <a:lnTo>
                      <a:pt x="7444" y="2122"/>
                    </a:lnTo>
                    <a:lnTo>
                      <a:pt x="8137" y="2122"/>
                    </a:lnTo>
                    <a:cubicBezTo>
                      <a:pt x="8213" y="2262"/>
                      <a:pt x="8288" y="2402"/>
                      <a:pt x="8362" y="2543"/>
                    </a:cubicBezTo>
                    <a:cubicBezTo>
                      <a:pt x="8481" y="2766"/>
                      <a:pt x="8597" y="2991"/>
                      <a:pt x="8713" y="3217"/>
                    </a:cubicBezTo>
                    <a:lnTo>
                      <a:pt x="9356" y="3708"/>
                    </a:lnTo>
                    <a:lnTo>
                      <a:pt x="10017" y="3953"/>
                    </a:lnTo>
                    <a:lnTo>
                      <a:pt x="10667" y="4583"/>
                    </a:lnTo>
                    <a:lnTo>
                      <a:pt x="11719" y="5004"/>
                    </a:lnTo>
                    <a:lnTo>
                      <a:pt x="12420" y="5579"/>
                    </a:lnTo>
                    <a:lnTo>
                      <a:pt x="13814" y="6239"/>
                    </a:lnTo>
                    <a:lnTo>
                      <a:pt x="14716" y="7388"/>
                    </a:lnTo>
                    <a:lnTo>
                      <a:pt x="15776" y="8749"/>
                    </a:lnTo>
                    <a:lnTo>
                      <a:pt x="16728" y="9464"/>
                    </a:lnTo>
                    <a:lnTo>
                      <a:pt x="17354" y="9911"/>
                    </a:lnTo>
                    <a:lnTo>
                      <a:pt x="17855" y="11325"/>
                    </a:lnTo>
                    <a:lnTo>
                      <a:pt x="18106" y="12349"/>
                    </a:lnTo>
                    <a:lnTo>
                      <a:pt x="17539" y="12799"/>
                    </a:lnTo>
                    <a:lnTo>
                      <a:pt x="17349" y="13484"/>
                    </a:lnTo>
                    <a:lnTo>
                      <a:pt x="17608" y="14382"/>
                    </a:lnTo>
                    <a:lnTo>
                      <a:pt x="18326" y="15070"/>
                    </a:lnTo>
                    <a:lnTo>
                      <a:pt x="18350" y="15982"/>
                    </a:lnTo>
                    <a:lnTo>
                      <a:pt x="18350" y="16933"/>
                    </a:lnTo>
                    <a:lnTo>
                      <a:pt x="18733" y="17701"/>
                    </a:lnTo>
                    <a:lnTo>
                      <a:pt x="19484" y="18246"/>
                    </a:lnTo>
                    <a:lnTo>
                      <a:pt x="20127" y="18373"/>
                    </a:lnTo>
                    <a:lnTo>
                      <a:pt x="20650" y="19209"/>
                    </a:lnTo>
                    <a:lnTo>
                      <a:pt x="21276" y="20051"/>
                    </a:lnTo>
                    <a:lnTo>
                      <a:pt x="21600" y="21054"/>
                    </a:lnTo>
                    <a:lnTo>
                      <a:pt x="21500" y="21600"/>
                    </a:lnTo>
                    <a:lnTo>
                      <a:pt x="20623" y="21026"/>
                    </a:lnTo>
                    <a:lnTo>
                      <a:pt x="20131" y="20705"/>
                    </a:lnTo>
                    <a:lnTo>
                      <a:pt x="19072" y="20663"/>
                    </a:lnTo>
                    <a:lnTo>
                      <a:pt x="18170" y="20158"/>
                    </a:lnTo>
                    <a:lnTo>
                      <a:pt x="17728" y="19485"/>
                    </a:lnTo>
                    <a:lnTo>
                      <a:pt x="17478" y="18967"/>
                    </a:lnTo>
                    <a:lnTo>
                      <a:pt x="17228" y="17746"/>
                    </a:lnTo>
                    <a:lnTo>
                      <a:pt x="16877" y="16708"/>
                    </a:lnTo>
                    <a:lnTo>
                      <a:pt x="16402" y="15951"/>
                    </a:lnTo>
                    <a:lnTo>
                      <a:pt x="15525" y="14954"/>
                    </a:lnTo>
                    <a:lnTo>
                      <a:pt x="14876" y="14284"/>
                    </a:lnTo>
                    <a:lnTo>
                      <a:pt x="14242" y="14284"/>
                    </a:lnTo>
                    <a:lnTo>
                      <a:pt x="13699" y="15489"/>
                    </a:lnTo>
                    <a:cubicBezTo>
                      <a:pt x="13655" y="15662"/>
                      <a:pt x="13604" y="15830"/>
                      <a:pt x="13549" y="15993"/>
                    </a:cubicBezTo>
                    <a:cubicBezTo>
                      <a:pt x="13430" y="16338"/>
                      <a:pt x="13287" y="16658"/>
                      <a:pt x="13123" y="16945"/>
                    </a:cubicBezTo>
                    <a:lnTo>
                      <a:pt x="12398" y="17785"/>
                    </a:lnTo>
                    <a:lnTo>
                      <a:pt x="11380" y="17196"/>
                    </a:lnTo>
                    <a:lnTo>
                      <a:pt x="10929" y="17070"/>
                    </a:lnTo>
                    <a:cubicBezTo>
                      <a:pt x="10778" y="17231"/>
                      <a:pt x="10588" y="17247"/>
                      <a:pt x="10429" y="17112"/>
                    </a:cubicBezTo>
                    <a:cubicBezTo>
                      <a:pt x="10275" y="16981"/>
                      <a:pt x="10172" y="16728"/>
                      <a:pt x="10154" y="16440"/>
                    </a:cubicBezTo>
                    <a:lnTo>
                      <a:pt x="9620" y="15752"/>
                    </a:lnTo>
                    <a:lnTo>
                      <a:pt x="9169" y="15416"/>
                    </a:lnTo>
                    <a:lnTo>
                      <a:pt x="8374" y="15500"/>
                    </a:lnTo>
                    <a:lnTo>
                      <a:pt x="7783" y="15624"/>
                    </a:lnTo>
                    <a:lnTo>
                      <a:pt x="7609" y="15133"/>
                    </a:lnTo>
                    <a:lnTo>
                      <a:pt x="7084" y="15175"/>
                    </a:lnTo>
                    <a:lnTo>
                      <a:pt x="7283" y="14463"/>
                    </a:lnTo>
                    <a:lnTo>
                      <a:pt x="7684" y="14295"/>
                    </a:lnTo>
                    <a:lnTo>
                      <a:pt x="8067" y="13793"/>
                    </a:lnTo>
                    <a:lnTo>
                      <a:pt x="8425" y="13260"/>
                    </a:lnTo>
                    <a:lnTo>
                      <a:pt x="8424" y="12101"/>
                    </a:lnTo>
                    <a:lnTo>
                      <a:pt x="7998" y="10796"/>
                    </a:lnTo>
                    <a:cubicBezTo>
                      <a:pt x="7914" y="10491"/>
                      <a:pt x="7805" y="10208"/>
                      <a:pt x="7672" y="9955"/>
                    </a:cubicBezTo>
                    <a:cubicBezTo>
                      <a:pt x="7487" y="9602"/>
                      <a:pt x="7262" y="9316"/>
                      <a:pt x="7013" y="9100"/>
                    </a:cubicBezTo>
                    <a:cubicBezTo>
                      <a:pt x="6627" y="8764"/>
                      <a:pt x="6195" y="8604"/>
                      <a:pt x="5760" y="8637"/>
                    </a:cubicBezTo>
                    <a:lnTo>
                      <a:pt x="5460" y="7993"/>
                    </a:lnTo>
                    <a:lnTo>
                      <a:pt x="4992" y="7628"/>
                    </a:lnTo>
                    <a:lnTo>
                      <a:pt x="4219" y="6874"/>
                    </a:lnTo>
                    <a:cubicBezTo>
                      <a:pt x="4009" y="6592"/>
                      <a:pt x="3763" y="6395"/>
                      <a:pt x="3501" y="6299"/>
                    </a:cubicBezTo>
                    <a:cubicBezTo>
                      <a:pt x="3254" y="6207"/>
                      <a:pt x="2997" y="6207"/>
                      <a:pt x="2750" y="6299"/>
                    </a:cubicBezTo>
                    <a:lnTo>
                      <a:pt x="2183" y="6425"/>
                    </a:lnTo>
                    <a:lnTo>
                      <a:pt x="1674" y="5792"/>
                    </a:lnTo>
                    <a:lnTo>
                      <a:pt x="1674" y="4994"/>
                    </a:lnTo>
                    <a:lnTo>
                      <a:pt x="2200" y="4420"/>
                    </a:lnTo>
                    <a:lnTo>
                      <a:pt x="2400" y="3664"/>
                    </a:lnTo>
                    <a:lnTo>
                      <a:pt x="2125" y="3120"/>
                    </a:lnTo>
                    <a:lnTo>
                      <a:pt x="1524" y="2615"/>
                    </a:lnTo>
                    <a:lnTo>
                      <a:pt x="566" y="2138"/>
                    </a:lnTo>
                    <a:lnTo>
                      <a:pt x="0" y="1619"/>
                    </a:lnTo>
                    <a:lnTo>
                      <a:pt x="54" y="1017"/>
                    </a:lnTo>
                    <a:lnTo>
                      <a:pt x="339" y="1069"/>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209" name="Shape 373">
                <a:extLst>
                  <a:ext uri="{FF2B5EF4-FFF2-40B4-BE49-F238E27FC236}">
                    <a16:creationId xmlns:a16="http://schemas.microsoft.com/office/drawing/2014/main" id="{03E4BEB1-ED31-4505-A92B-92A9DB90B847}"/>
                  </a:ext>
                </a:extLst>
              </p:cNvPr>
              <p:cNvSpPr/>
              <p:nvPr/>
            </p:nvSpPr>
            <p:spPr>
              <a:xfrm>
                <a:off x="16667350" y="4730738"/>
                <a:ext cx="34086" cy="42433"/>
              </a:xfrm>
              <a:custGeom>
                <a:avLst/>
                <a:gdLst/>
                <a:ahLst/>
                <a:cxnLst>
                  <a:cxn ang="0">
                    <a:pos x="wd2" y="hd2"/>
                  </a:cxn>
                  <a:cxn ang="5400000">
                    <a:pos x="wd2" y="hd2"/>
                  </a:cxn>
                  <a:cxn ang="10800000">
                    <a:pos x="wd2" y="hd2"/>
                  </a:cxn>
                  <a:cxn ang="16200000">
                    <a:pos x="wd2" y="hd2"/>
                  </a:cxn>
                </a:cxnLst>
                <a:rect l="0" t="0" r="r" b="b"/>
                <a:pathLst>
                  <a:path w="21600" h="21600" extrusionOk="0">
                    <a:moveTo>
                      <a:pt x="11034" y="0"/>
                    </a:moveTo>
                    <a:lnTo>
                      <a:pt x="0" y="3883"/>
                    </a:lnTo>
                    <a:lnTo>
                      <a:pt x="4598" y="21600"/>
                    </a:lnTo>
                    <a:lnTo>
                      <a:pt x="21600" y="15889"/>
                    </a:lnTo>
                    <a:lnTo>
                      <a:pt x="21600" y="4677"/>
                    </a:lnTo>
                    <a:lnTo>
                      <a:pt x="11034"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210" name="Shape 374">
                <a:extLst>
                  <a:ext uri="{FF2B5EF4-FFF2-40B4-BE49-F238E27FC236}">
                    <a16:creationId xmlns:a16="http://schemas.microsoft.com/office/drawing/2014/main" id="{7596FF54-C2DB-4919-85C7-671221C158C6}"/>
                  </a:ext>
                </a:extLst>
              </p:cNvPr>
              <p:cNvSpPr/>
              <p:nvPr/>
            </p:nvSpPr>
            <p:spPr>
              <a:xfrm>
                <a:off x="17265147" y="4147816"/>
                <a:ext cx="30437" cy="40693"/>
              </a:xfrm>
              <a:custGeom>
                <a:avLst/>
                <a:gdLst/>
                <a:ahLst/>
                <a:cxnLst>
                  <a:cxn ang="0">
                    <a:pos x="wd2" y="hd2"/>
                  </a:cxn>
                  <a:cxn ang="5400000">
                    <a:pos x="wd2" y="hd2"/>
                  </a:cxn>
                  <a:cxn ang="10800000">
                    <a:pos x="wd2" y="hd2"/>
                  </a:cxn>
                  <a:cxn ang="16200000">
                    <a:pos x="wd2" y="hd2"/>
                  </a:cxn>
                </a:cxnLst>
                <a:rect l="0" t="0" r="r" b="b"/>
                <a:pathLst>
                  <a:path w="21600" h="21600" extrusionOk="0">
                    <a:moveTo>
                      <a:pt x="11547" y="0"/>
                    </a:moveTo>
                    <a:lnTo>
                      <a:pt x="2757" y="5238"/>
                    </a:lnTo>
                    <a:lnTo>
                      <a:pt x="0" y="18231"/>
                    </a:lnTo>
                    <a:lnTo>
                      <a:pt x="17487" y="21600"/>
                    </a:lnTo>
                    <a:lnTo>
                      <a:pt x="21600" y="12744"/>
                    </a:lnTo>
                    <a:lnTo>
                      <a:pt x="11547"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211" name="Shape 375">
                <a:extLst>
                  <a:ext uri="{FF2B5EF4-FFF2-40B4-BE49-F238E27FC236}">
                    <a16:creationId xmlns:a16="http://schemas.microsoft.com/office/drawing/2014/main" id="{1E673032-D4CA-448D-A70C-4D53B151A353}"/>
                  </a:ext>
                </a:extLst>
              </p:cNvPr>
              <p:cNvSpPr/>
              <p:nvPr/>
            </p:nvSpPr>
            <p:spPr>
              <a:xfrm>
                <a:off x="17216276" y="4289928"/>
                <a:ext cx="34136" cy="57967"/>
              </a:xfrm>
              <a:custGeom>
                <a:avLst/>
                <a:gdLst/>
                <a:ahLst/>
                <a:cxnLst>
                  <a:cxn ang="0">
                    <a:pos x="wd2" y="hd2"/>
                  </a:cxn>
                  <a:cxn ang="5400000">
                    <a:pos x="wd2" y="hd2"/>
                  </a:cxn>
                  <a:cxn ang="10800000">
                    <a:pos x="wd2" y="hd2"/>
                  </a:cxn>
                  <a:cxn ang="16200000">
                    <a:pos x="wd2" y="hd2"/>
                  </a:cxn>
                </a:cxnLst>
                <a:rect l="0" t="0" r="r" b="b"/>
                <a:pathLst>
                  <a:path w="21600" h="21600" extrusionOk="0">
                    <a:moveTo>
                      <a:pt x="5652" y="0"/>
                    </a:moveTo>
                    <a:lnTo>
                      <a:pt x="0" y="4334"/>
                    </a:lnTo>
                    <a:lnTo>
                      <a:pt x="342" y="20725"/>
                    </a:lnTo>
                    <a:lnTo>
                      <a:pt x="18905" y="21600"/>
                    </a:lnTo>
                    <a:lnTo>
                      <a:pt x="21600" y="4465"/>
                    </a:lnTo>
                    <a:lnTo>
                      <a:pt x="5652"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sp>
            <p:nvSpPr>
              <p:cNvPr id="212" name="Shape 376">
                <a:extLst>
                  <a:ext uri="{FF2B5EF4-FFF2-40B4-BE49-F238E27FC236}">
                    <a16:creationId xmlns:a16="http://schemas.microsoft.com/office/drawing/2014/main" id="{1986B8F3-2A9C-4C97-9D2C-E49CE7B61E40}"/>
                  </a:ext>
                </a:extLst>
              </p:cNvPr>
              <p:cNvSpPr/>
              <p:nvPr/>
            </p:nvSpPr>
            <p:spPr>
              <a:xfrm>
                <a:off x="18156201" y="4766643"/>
                <a:ext cx="35472" cy="5383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7350"/>
                    </a:lnTo>
                    <a:lnTo>
                      <a:pt x="7288" y="21600"/>
                    </a:lnTo>
                    <a:lnTo>
                      <a:pt x="0" y="0"/>
                    </a:lnTo>
                    <a:close/>
                  </a:path>
                </a:pathLst>
              </a:custGeom>
              <a:noFill/>
              <a:ln w="25400" cap="flat">
                <a:solidFill>
                  <a:srgbClr val="ABADC2"/>
                </a:solidFill>
                <a:prstDash val="solid"/>
                <a:miter lim="400000"/>
              </a:ln>
              <a:effectLst/>
            </p:spPr>
            <p:txBody>
              <a:bodyPr wrap="square" lIns="22860" tIns="22860" rIns="22860" bIns="22860" numCol="1" anchor="ctr">
                <a:noAutofit/>
              </a:bodyPr>
              <a:lstStyle/>
              <a:p>
                <a:pPr defTabSz="778845">
                  <a:defRPr sz="20200">
                    <a:solidFill>
                      <a:srgbClr val="070707"/>
                    </a:solidFill>
                    <a:latin typeface="Calibri"/>
                    <a:ea typeface="Calibri"/>
                    <a:cs typeface="Calibri"/>
                    <a:sym typeface="Calibri"/>
                  </a:defRPr>
                </a:pPr>
                <a:endParaRPr sz="10100"/>
              </a:p>
            </p:txBody>
          </p:sp>
        </p:grpSp>
        <p:sp>
          <p:nvSpPr>
            <p:cNvPr id="31" name="Shape 378">
              <a:extLst>
                <a:ext uri="{FF2B5EF4-FFF2-40B4-BE49-F238E27FC236}">
                  <a16:creationId xmlns:a16="http://schemas.microsoft.com/office/drawing/2014/main" id="{50C81930-D8B0-4452-9B54-9A805D619D5E}"/>
                </a:ext>
              </a:extLst>
            </p:cNvPr>
            <p:cNvSpPr/>
            <p:nvPr/>
          </p:nvSpPr>
          <p:spPr>
            <a:xfrm>
              <a:off x="3560835" y="1613168"/>
              <a:ext cx="635001" cy="635001"/>
            </a:xfrm>
            <a:prstGeom prst="ellipse">
              <a:avLst/>
            </a:prstGeom>
            <a:gradFill>
              <a:gsLst>
                <a:gs pos="0">
                  <a:srgbClr val="A4AADB">
                    <a:alpha val="86254"/>
                  </a:srgbClr>
                </a:gs>
                <a:gs pos="100000">
                  <a:srgbClr val="E583B7">
                    <a:alpha val="86254"/>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33" name="Shape 379">
              <a:extLst>
                <a:ext uri="{FF2B5EF4-FFF2-40B4-BE49-F238E27FC236}">
                  <a16:creationId xmlns:a16="http://schemas.microsoft.com/office/drawing/2014/main" id="{A20696F6-EC02-49C0-8A38-7ABCA2898E73}"/>
                </a:ext>
              </a:extLst>
            </p:cNvPr>
            <p:cNvSpPr/>
            <p:nvPr/>
          </p:nvSpPr>
          <p:spPr>
            <a:xfrm>
              <a:off x="5935983" y="2936214"/>
              <a:ext cx="1664173" cy="1664173"/>
            </a:xfrm>
            <a:prstGeom prst="ellipse">
              <a:avLst/>
            </a:prstGeom>
            <a:gradFill>
              <a:gsLst>
                <a:gs pos="0">
                  <a:srgbClr val="A4AADB">
                    <a:alpha val="22388"/>
                  </a:srgbClr>
                </a:gs>
                <a:gs pos="100000">
                  <a:srgbClr val="E583B7">
                    <a:alpha val="22388"/>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34" name="Shape 380">
              <a:extLst>
                <a:ext uri="{FF2B5EF4-FFF2-40B4-BE49-F238E27FC236}">
                  <a16:creationId xmlns:a16="http://schemas.microsoft.com/office/drawing/2014/main" id="{F8120956-973E-4384-9EF3-ED2FEAA98751}"/>
                </a:ext>
              </a:extLst>
            </p:cNvPr>
            <p:cNvSpPr/>
            <p:nvPr/>
          </p:nvSpPr>
          <p:spPr>
            <a:xfrm>
              <a:off x="11493757" y="1386459"/>
              <a:ext cx="1088418" cy="1088417"/>
            </a:xfrm>
            <a:prstGeom prst="ellipse">
              <a:avLst/>
            </a:prstGeom>
            <a:gradFill>
              <a:gsLst>
                <a:gs pos="0">
                  <a:srgbClr val="A4AADB">
                    <a:alpha val="51458"/>
                  </a:srgbClr>
                </a:gs>
                <a:gs pos="100000">
                  <a:srgbClr val="E583B7">
                    <a:alpha val="51458"/>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35" name="Shape 381">
              <a:extLst>
                <a:ext uri="{FF2B5EF4-FFF2-40B4-BE49-F238E27FC236}">
                  <a16:creationId xmlns:a16="http://schemas.microsoft.com/office/drawing/2014/main" id="{DFA464C1-7926-4703-8D73-2AD7C7F2C619}"/>
                </a:ext>
              </a:extLst>
            </p:cNvPr>
            <p:cNvSpPr/>
            <p:nvPr/>
          </p:nvSpPr>
          <p:spPr>
            <a:xfrm>
              <a:off x="6843430" y="2481431"/>
              <a:ext cx="1088418" cy="1088417"/>
            </a:xfrm>
            <a:prstGeom prst="ellipse">
              <a:avLst/>
            </a:prstGeom>
            <a:gradFill>
              <a:gsLst>
                <a:gs pos="0">
                  <a:srgbClr val="A4AADB">
                    <a:alpha val="86254"/>
                  </a:srgbClr>
                </a:gs>
                <a:gs pos="100000">
                  <a:srgbClr val="E583B7">
                    <a:alpha val="86254"/>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38" name="Shape 382">
              <a:extLst>
                <a:ext uri="{FF2B5EF4-FFF2-40B4-BE49-F238E27FC236}">
                  <a16:creationId xmlns:a16="http://schemas.microsoft.com/office/drawing/2014/main" id="{EEDA7D0B-2D54-48AA-8141-D339960D1C13}"/>
                </a:ext>
              </a:extLst>
            </p:cNvPr>
            <p:cNvSpPr/>
            <p:nvPr/>
          </p:nvSpPr>
          <p:spPr>
            <a:xfrm>
              <a:off x="7583175" y="1912989"/>
              <a:ext cx="523243" cy="523243"/>
            </a:xfrm>
            <a:prstGeom prst="ellipse">
              <a:avLst/>
            </a:prstGeom>
            <a:gradFill>
              <a:gsLst>
                <a:gs pos="0">
                  <a:srgbClr val="A4AADB">
                    <a:alpha val="51458"/>
                  </a:srgbClr>
                </a:gs>
                <a:gs pos="100000">
                  <a:srgbClr val="E583B7">
                    <a:alpha val="51458"/>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40" name="Shape 383">
              <a:extLst>
                <a:ext uri="{FF2B5EF4-FFF2-40B4-BE49-F238E27FC236}">
                  <a16:creationId xmlns:a16="http://schemas.microsoft.com/office/drawing/2014/main" id="{54D16A6A-4838-4D0D-9119-B2864F5A4D69}"/>
                </a:ext>
              </a:extLst>
            </p:cNvPr>
            <p:cNvSpPr/>
            <p:nvPr/>
          </p:nvSpPr>
          <p:spPr>
            <a:xfrm>
              <a:off x="11663855" y="4528980"/>
              <a:ext cx="1442059" cy="1442059"/>
            </a:xfrm>
            <a:prstGeom prst="ellipse">
              <a:avLst/>
            </a:prstGeom>
            <a:gradFill>
              <a:gsLst>
                <a:gs pos="0">
                  <a:srgbClr val="A4AADB">
                    <a:alpha val="51458"/>
                  </a:srgbClr>
                </a:gs>
                <a:gs pos="100000">
                  <a:srgbClr val="E583B7">
                    <a:alpha val="51458"/>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41" name="Shape 384">
              <a:extLst>
                <a:ext uri="{FF2B5EF4-FFF2-40B4-BE49-F238E27FC236}">
                  <a16:creationId xmlns:a16="http://schemas.microsoft.com/office/drawing/2014/main" id="{2D66E5CA-DB04-411C-9CF4-FD4F7E19EA1B}"/>
                </a:ext>
              </a:extLst>
            </p:cNvPr>
            <p:cNvSpPr/>
            <p:nvPr/>
          </p:nvSpPr>
          <p:spPr>
            <a:xfrm>
              <a:off x="11489775" y="5169762"/>
              <a:ext cx="452531" cy="452531"/>
            </a:xfrm>
            <a:prstGeom prst="ellipse">
              <a:avLst/>
            </a:prstGeom>
            <a:gradFill>
              <a:gsLst>
                <a:gs pos="0">
                  <a:srgbClr val="A4AADB">
                    <a:alpha val="51458"/>
                  </a:srgbClr>
                </a:gs>
                <a:gs pos="100000">
                  <a:srgbClr val="E583B7">
                    <a:alpha val="51458"/>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42" name="Shape 385">
              <a:extLst>
                <a:ext uri="{FF2B5EF4-FFF2-40B4-BE49-F238E27FC236}">
                  <a16:creationId xmlns:a16="http://schemas.microsoft.com/office/drawing/2014/main" id="{83935F5E-AAF4-41AE-A49A-CD43C1D0FF91}"/>
                </a:ext>
              </a:extLst>
            </p:cNvPr>
            <p:cNvSpPr/>
            <p:nvPr/>
          </p:nvSpPr>
          <p:spPr>
            <a:xfrm>
              <a:off x="10655895" y="5169762"/>
              <a:ext cx="452531" cy="452531"/>
            </a:xfrm>
            <a:prstGeom prst="ellipse">
              <a:avLst/>
            </a:prstGeom>
            <a:gradFill>
              <a:gsLst>
                <a:gs pos="0">
                  <a:srgbClr val="A4AADB">
                    <a:alpha val="86254"/>
                  </a:srgbClr>
                </a:gs>
                <a:gs pos="100000">
                  <a:srgbClr val="E583B7">
                    <a:alpha val="86254"/>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49" name="Shape 386">
              <a:extLst>
                <a:ext uri="{FF2B5EF4-FFF2-40B4-BE49-F238E27FC236}">
                  <a16:creationId xmlns:a16="http://schemas.microsoft.com/office/drawing/2014/main" id="{03457011-D12A-4AEA-9A9E-8C453CF53860}"/>
                </a:ext>
              </a:extLst>
            </p:cNvPr>
            <p:cNvSpPr/>
            <p:nvPr/>
          </p:nvSpPr>
          <p:spPr>
            <a:xfrm>
              <a:off x="10613044" y="4980894"/>
              <a:ext cx="352567" cy="352567"/>
            </a:xfrm>
            <a:prstGeom prst="ellipse">
              <a:avLst/>
            </a:prstGeom>
            <a:gradFill>
              <a:gsLst>
                <a:gs pos="0">
                  <a:srgbClr val="A4AADB">
                    <a:alpha val="51458"/>
                  </a:srgbClr>
                </a:gs>
                <a:gs pos="100000">
                  <a:srgbClr val="E583B7">
                    <a:alpha val="51458"/>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50" name="Shape 387">
              <a:extLst>
                <a:ext uri="{FF2B5EF4-FFF2-40B4-BE49-F238E27FC236}">
                  <a16:creationId xmlns:a16="http://schemas.microsoft.com/office/drawing/2014/main" id="{E24AF00E-1213-4D89-89EE-7B1AB9364E74}"/>
                </a:ext>
              </a:extLst>
            </p:cNvPr>
            <p:cNvSpPr/>
            <p:nvPr/>
          </p:nvSpPr>
          <p:spPr>
            <a:xfrm>
              <a:off x="10387732" y="3592016"/>
              <a:ext cx="352567" cy="352567"/>
            </a:xfrm>
            <a:prstGeom prst="ellipse">
              <a:avLst/>
            </a:prstGeom>
            <a:gradFill>
              <a:gsLst>
                <a:gs pos="0">
                  <a:srgbClr val="A4AADB">
                    <a:alpha val="86254"/>
                  </a:srgbClr>
                </a:gs>
                <a:gs pos="100000">
                  <a:srgbClr val="E583B7">
                    <a:alpha val="86254"/>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51" name="Shape 388">
              <a:extLst>
                <a:ext uri="{FF2B5EF4-FFF2-40B4-BE49-F238E27FC236}">
                  <a16:creationId xmlns:a16="http://schemas.microsoft.com/office/drawing/2014/main" id="{C6F1C11D-8024-4570-8D75-6DBFB9DEC6A3}"/>
                </a:ext>
              </a:extLst>
            </p:cNvPr>
            <p:cNvSpPr/>
            <p:nvPr/>
          </p:nvSpPr>
          <p:spPr>
            <a:xfrm>
              <a:off x="9626054" y="3592016"/>
              <a:ext cx="352567" cy="352567"/>
            </a:xfrm>
            <a:prstGeom prst="ellipse">
              <a:avLst/>
            </a:prstGeom>
            <a:gradFill>
              <a:gsLst>
                <a:gs pos="0">
                  <a:srgbClr val="A4AADB">
                    <a:alpha val="86254"/>
                  </a:srgbClr>
                </a:gs>
                <a:gs pos="100000">
                  <a:srgbClr val="E583B7">
                    <a:alpha val="86254"/>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52" name="Shape 389">
              <a:extLst>
                <a:ext uri="{FF2B5EF4-FFF2-40B4-BE49-F238E27FC236}">
                  <a16:creationId xmlns:a16="http://schemas.microsoft.com/office/drawing/2014/main" id="{8D03FB00-7F48-4FE1-8EC9-073FEBD43022}"/>
                </a:ext>
              </a:extLst>
            </p:cNvPr>
            <p:cNvSpPr/>
            <p:nvPr/>
          </p:nvSpPr>
          <p:spPr>
            <a:xfrm>
              <a:off x="9730814" y="3304816"/>
              <a:ext cx="352567" cy="352567"/>
            </a:xfrm>
            <a:prstGeom prst="ellipse">
              <a:avLst/>
            </a:prstGeom>
            <a:gradFill>
              <a:gsLst>
                <a:gs pos="0">
                  <a:srgbClr val="A4AADB">
                    <a:alpha val="51458"/>
                  </a:srgbClr>
                </a:gs>
                <a:gs pos="100000">
                  <a:srgbClr val="E583B7">
                    <a:alpha val="51458"/>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53" name="Shape 390">
              <a:extLst>
                <a:ext uri="{FF2B5EF4-FFF2-40B4-BE49-F238E27FC236}">
                  <a16:creationId xmlns:a16="http://schemas.microsoft.com/office/drawing/2014/main" id="{25243B56-3BB6-4F00-86D5-1761104EF3FB}"/>
                </a:ext>
              </a:extLst>
            </p:cNvPr>
            <p:cNvSpPr/>
            <p:nvPr/>
          </p:nvSpPr>
          <p:spPr>
            <a:xfrm>
              <a:off x="9321771" y="2304610"/>
              <a:ext cx="1442059" cy="1442059"/>
            </a:xfrm>
            <a:prstGeom prst="ellipse">
              <a:avLst/>
            </a:prstGeom>
            <a:gradFill>
              <a:gsLst>
                <a:gs pos="0">
                  <a:srgbClr val="A4AADB">
                    <a:alpha val="51458"/>
                  </a:srgbClr>
                </a:gs>
                <a:gs pos="100000">
                  <a:srgbClr val="E583B7">
                    <a:alpha val="51458"/>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54" name="Shape 391">
              <a:extLst>
                <a:ext uri="{FF2B5EF4-FFF2-40B4-BE49-F238E27FC236}">
                  <a16:creationId xmlns:a16="http://schemas.microsoft.com/office/drawing/2014/main" id="{77707455-6063-406E-9434-720EFE3A7C37}"/>
                </a:ext>
              </a:extLst>
            </p:cNvPr>
            <p:cNvSpPr/>
            <p:nvPr/>
          </p:nvSpPr>
          <p:spPr>
            <a:xfrm>
              <a:off x="7717796" y="2336423"/>
              <a:ext cx="254001" cy="254001"/>
            </a:xfrm>
            <a:prstGeom prst="ellipse">
              <a:avLst/>
            </a:prstGeom>
            <a:gradFill>
              <a:gsLst>
                <a:gs pos="0">
                  <a:srgbClr val="A4AADB">
                    <a:alpha val="51458"/>
                  </a:srgbClr>
                </a:gs>
                <a:gs pos="100000">
                  <a:srgbClr val="E583B7">
                    <a:alpha val="51458"/>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55" name="Shape 392">
              <a:extLst>
                <a:ext uri="{FF2B5EF4-FFF2-40B4-BE49-F238E27FC236}">
                  <a16:creationId xmlns:a16="http://schemas.microsoft.com/office/drawing/2014/main" id="{D68B52DB-67CD-45A1-AEE8-8CDECD8FFDB4}"/>
                </a:ext>
              </a:extLst>
            </p:cNvPr>
            <p:cNvSpPr/>
            <p:nvPr/>
          </p:nvSpPr>
          <p:spPr>
            <a:xfrm>
              <a:off x="7946332" y="1946075"/>
              <a:ext cx="254001" cy="254001"/>
            </a:xfrm>
            <a:prstGeom prst="ellipse">
              <a:avLst/>
            </a:prstGeom>
            <a:gradFill>
              <a:gsLst>
                <a:gs pos="0">
                  <a:srgbClr val="A4AADB">
                    <a:alpha val="51458"/>
                  </a:srgbClr>
                </a:gs>
                <a:gs pos="100000">
                  <a:srgbClr val="E583B7">
                    <a:alpha val="51458"/>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56" name="Shape 393">
              <a:extLst>
                <a:ext uri="{FF2B5EF4-FFF2-40B4-BE49-F238E27FC236}">
                  <a16:creationId xmlns:a16="http://schemas.microsoft.com/office/drawing/2014/main" id="{AF951AA8-0127-4A8E-B61A-5157F2495268}"/>
                </a:ext>
              </a:extLst>
            </p:cNvPr>
            <p:cNvSpPr/>
            <p:nvPr/>
          </p:nvSpPr>
          <p:spPr>
            <a:xfrm>
              <a:off x="8161937" y="1828386"/>
              <a:ext cx="692450" cy="692450"/>
            </a:xfrm>
            <a:prstGeom prst="ellipse">
              <a:avLst/>
            </a:prstGeom>
            <a:gradFill>
              <a:gsLst>
                <a:gs pos="0">
                  <a:srgbClr val="A4AADB">
                    <a:alpha val="51458"/>
                  </a:srgbClr>
                </a:gs>
                <a:gs pos="100000">
                  <a:srgbClr val="E583B7">
                    <a:alpha val="51458"/>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57" name="Shape 394">
              <a:extLst>
                <a:ext uri="{FF2B5EF4-FFF2-40B4-BE49-F238E27FC236}">
                  <a16:creationId xmlns:a16="http://schemas.microsoft.com/office/drawing/2014/main" id="{8FC6A7CD-5F54-4837-9EE7-1B6B23818287}"/>
                </a:ext>
              </a:extLst>
            </p:cNvPr>
            <p:cNvSpPr/>
            <p:nvPr/>
          </p:nvSpPr>
          <p:spPr>
            <a:xfrm>
              <a:off x="4503011" y="2577456"/>
              <a:ext cx="896367" cy="896367"/>
            </a:xfrm>
            <a:prstGeom prst="ellipse">
              <a:avLst/>
            </a:prstGeom>
            <a:gradFill>
              <a:gsLst>
                <a:gs pos="0">
                  <a:srgbClr val="A4AADB">
                    <a:alpha val="51458"/>
                  </a:srgbClr>
                </a:gs>
                <a:gs pos="100000">
                  <a:srgbClr val="E583B7">
                    <a:alpha val="51458"/>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58" name="Shape 395">
              <a:extLst>
                <a:ext uri="{FF2B5EF4-FFF2-40B4-BE49-F238E27FC236}">
                  <a16:creationId xmlns:a16="http://schemas.microsoft.com/office/drawing/2014/main" id="{CC446CE1-E5A9-4ABA-80DF-68F16F1232F2}"/>
                </a:ext>
              </a:extLst>
            </p:cNvPr>
            <p:cNvSpPr/>
            <p:nvPr/>
          </p:nvSpPr>
          <p:spPr>
            <a:xfrm>
              <a:off x="4887695" y="2962140"/>
              <a:ext cx="254001" cy="254001"/>
            </a:xfrm>
            <a:prstGeom prst="ellipse">
              <a:avLst/>
            </a:prstGeom>
            <a:gradFill>
              <a:gsLst>
                <a:gs pos="0">
                  <a:srgbClr val="A4AADB">
                    <a:alpha val="51458"/>
                  </a:srgbClr>
                </a:gs>
                <a:gs pos="100000">
                  <a:srgbClr val="E583B7">
                    <a:alpha val="51458"/>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59" name="Shape 396">
              <a:extLst>
                <a:ext uri="{FF2B5EF4-FFF2-40B4-BE49-F238E27FC236}">
                  <a16:creationId xmlns:a16="http://schemas.microsoft.com/office/drawing/2014/main" id="{F84351D4-E8EF-452D-8542-F8909E4E3847}"/>
                </a:ext>
              </a:extLst>
            </p:cNvPr>
            <p:cNvSpPr/>
            <p:nvPr/>
          </p:nvSpPr>
          <p:spPr>
            <a:xfrm>
              <a:off x="5116230" y="2643995"/>
              <a:ext cx="254001" cy="254001"/>
            </a:xfrm>
            <a:prstGeom prst="ellipse">
              <a:avLst/>
            </a:prstGeom>
            <a:gradFill>
              <a:gsLst>
                <a:gs pos="0">
                  <a:srgbClr val="A4AADB">
                    <a:alpha val="51458"/>
                  </a:srgbClr>
                </a:gs>
                <a:gs pos="100000">
                  <a:srgbClr val="E583B7">
                    <a:alpha val="51458"/>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60" name="Shape 397">
              <a:extLst>
                <a:ext uri="{FF2B5EF4-FFF2-40B4-BE49-F238E27FC236}">
                  <a16:creationId xmlns:a16="http://schemas.microsoft.com/office/drawing/2014/main" id="{C4E02EDC-33AB-4054-9DC4-258637A71DCA}"/>
                </a:ext>
              </a:extLst>
            </p:cNvPr>
            <p:cNvSpPr/>
            <p:nvPr/>
          </p:nvSpPr>
          <p:spPr>
            <a:xfrm>
              <a:off x="5324136" y="2643995"/>
              <a:ext cx="254001" cy="254001"/>
            </a:xfrm>
            <a:prstGeom prst="ellipse">
              <a:avLst/>
            </a:prstGeom>
            <a:gradFill>
              <a:gsLst>
                <a:gs pos="0">
                  <a:srgbClr val="A4AADB">
                    <a:alpha val="51458"/>
                  </a:srgbClr>
                </a:gs>
                <a:gs pos="100000">
                  <a:srgbClr val="E583B7">
                    <a:alpha val="51458"/>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61" name="Shape 398">
              <a:extLst>
                <a:ext uri="{FF2B5EF4-FFF2-40B4-BE49-F238E27FC236}">
                  <a16:creationId xmlns:a16="http://schemas.microsoft.com/office/drawing/2014/main" id="{2BEE9522-F18F-48FA-8EFF-4549F0ECA52A}"/>
                </a:ext>
              </a:extLst>
            </p:cNvPr>
            <p:cNvSpPr/>
            <p:nvPr/>
          </p:nvSpPr>
          <p:spPr>
            <a:xfrm>
              <a:off x="5666134" y="5030177"/>
              <a:ext cx="254001" cy="254001"/>
            </a:xfrm>
            <a:prstGeom prst="ellipse">
              <a:avLst/>
            </a:prstGeom>
            <a:gradFill>
              <a:gsLst>
                <a:gs pos="0">
                  <a:srgbClr val="A4AADB">
                    <a:alpha val="51458"/>
                  </a:srgbClr>
                </a:gs>
                <a:gs pos="100000">
                  <a:srgbClr val="E583B7">
                    <a:alpha val="51458"/>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62" name="Shape 399">
              <a:extLst>
                <a:ext uri="{FF2B5EF4-FFF2-40B4-BE49-F238E27FC236}">
                  <a16:creationId xmlns:a16="http://schemas.microsoft.com/office/drawing/2014/main" id="{5411BD56-A401-4266-BEEB-6128EC43BF5D}"/>
                </a:ext>
              </a:extLst>
            </p:cNvPr>
            <p:cNvSpPr/>
            <p:nvPr/>
          </p:nvSpPr>
          <p:spPr>
            <a:xfrm>
              <a:off x="3751335" y="3257657"/>
              <a:ext cx="254001" cy="254001"/>
            </a:xfrm>
            <a:prstGeom prst="ellipse">
              <a:avLst/>
            </a:prstGeom>
            <a:gradFill>
              <a:gsLst>
                <a:gs pos="0">
                  <a:srgbClr val="A4AADB">
                    <a:alpha val="51458"/>
                  </a:srgbClr>
                </a:gs>
                <a:gs pos="100000">
                  <a:srgbClr val="E583B7">
                    <a:alpha val="51458"/>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63" name="Shape 400">
              <a:extLst>
                <a:ext uri="{FF2B5EF4-FFF2-40B4-BE49-F238E27FC236}">
                  <a16:creationId xmlns:a16="http://schemas.microsoft.com/office/drawing/2014/main" id="{0341C5CD-7809-4B15-A7D7-514E19F3D987}"/>
                </a:ext>
              </a:extLst>
            </p:cNvPr>
            <p:cNvSpPr/>
            <p:nvPr/>
          </p:nvSpPr>
          <p:spPr>
            <a:xfrm>
              <a:off x="3713861" y="3394794"/>
              <a:ext cx="747012" cy="747012"/>
            </a:xfrm>
            <a:prstGeom prst="ellipse">
              <a:avLst/>
            </a:prstGeom>
            <a:gradFill>
              <a:gsLst>
                <a:gs pos="0">
                  <a:srgbClr val="A4AADB">
                    <a:alpha val="51458"/>
                  </a:srgbClr>
                </a:gs>
                <a:gs pos="100000">
                  <a:srgbClr val="E583B7">
                    <a:alpha val="51458"/>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64" name="Shape 401">
              <a:extLst>
                <a:ext uri="{FF2B5EF4-FFF2-40B4-BE49-F238E27FC236}">
                  <a16:creationId xmlns:a16="http://schemas.microsoft.com/office/drawing/2014/main" id="{3D1EA23F-C75A-4B1C-8E37-E8F2BCA8A433}"/>
                </a:ext>
              </a:extLst>
            </p:cNvPr>
            <p:cNvSpPr/>
            <p:nvPr/>
          </p:nvSpPr>
          <p:spPr>
            <a:xfrm>
              <a:off x="5440292" y="5216923"/>
              <a:ext cx="523243" cy="523243"/>
            </a:xfrm>
            <a:prstGeom prst="ellipse">
              <a:avLst/>
            </a:prstGeom>
            <a:gradFill>
              <a:gsLst>
                <a:gs pos="0">
                  <a:srgbClr val="A4AADB">
                    <a:alpha val="86254"/>
                  </a:srgbClr>
                </a:gs>
                <a:gs pos="100000">
                  <a:srgbClr val="E583B7">
                    <a:alpha val="86254"/>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65" name="Shape 402">
              <a:extLst>
                <a:ext uri="{FF2B5EF4-FFF2-40B4-BE49-F238E27FC236}">
                  <a16:creationId xmlns:a16="http://schemas.microsoft.com/office/drawing/2014/main" id="{93FAEA90-7D49-4FBF-9D14-DAF569B2D803}"/>
                </a:ext>
              </a:extLst>
            </p:cNvPr>
            <p:cNvSpPr/>
            <p:nvPr/>
          </p:nvSpPr>
          <p:spPr>
            <a:xfrm>
              <a:off x="11389871" y="2139253"/>
              <a:ext cx="352567" cy="352567"/>
            </a:xfrm>
            <a:prstGeom prst="ellipse">
              <a:avLst/>
            </a:prstGeom>
            <a:gradFill>
              <a:gsLst>
                <a:gs pos="0">
                  <a:srgbClr val="A4AADB">
                    <a:alpha val="86254"/>
                  </a:srgbClr>
                </a:gs>
                <a:gs pos="100000">
                  <a:srgbClr val="E583B7">
                    <a:alpha val="86254"/>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66" name="Shape 403">
              <a:extLst>
                <a:ext uri="{FF2B5EF4-FFF2-40B4-BE49-F238E27FC236}">
                  <a16:creationId xmlns:a16="http://schemas.microsoft.com/office/drawing/2014/main" id="{C599FC6D-0571-49DB-8026-8D227AD8B29F}"/>
                </a:ext>
              </a:extLst>
            </p:cNvPr>
            <p:cNvSpPr/>
            <p:nvPr/>
          </p:nvSpPr>
          <p:spPr>
            <a:xfrm>
              <a:off x="10995588" y="1471951"/>
              <a:ext cx="635001" cy="635001"/>
            </a:xfrm>
            <a:prstGeom prst="ellipse">
              <a:avLst/>
            </a:prstGeom>
            <a:gradFill>
              <a:gsLst>
                <a:gs pos="0">
                  <a:srgbClr val="A4AADB">
                    <a:alpha val="14903"/>
                  </a:srgbClr>
                </a:gs>
                <a:gs pos="100000">
                  <a:srgbClr val="E583B7">
                    <a:alpha val="14903"/>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67" name="Shape 404">
              <a:extLst>
                <a:ext uri="{FF2B5EF4-FFF2-40B4-BE49-F238E27FC236}">
                  <a16:creationId xmlns:a16="http://schemas.microsoft.com/office/drawing/2014/main" id="{095F6198-02DF-4795-9C0E-C15604188BE2}"/>
                </a:ext>
              </a:extLst>
            </p:cNvPr>
            <p:cNvSpPr/>
            <p:nvPr/>
          </p:nvSpPr>
          <p:spPr>
            <a:xfrm>
              <a:off x="5133636" y="5351897"/>
              <a:ext cx="635001" cy="635001"/>
            </a:xfrm>
            <a:prstGeom prst="ellipse">
              <a:avLst/>
            </a:prstGeom>
            <a:gradFill>
              <a:gsLst>
                <a:gs pos="0">
                  <a:srgbClr val="A4AADB">
                    <a:alpha val="14903"/>
                  </a:srgbClr>
                </a:gs>
                <a:gs pos="100000">
                  <a:srgbClr val="E583B7">
                    <a:alpha val="14903"/>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68" name="Shape 405">
              <a:extLst>
                <a:ext uri="{FF2B5EF4-FFF2-40B4-BE49-F238E27FC236}">
                  <a16:creationId xmlns:a16="http://schemas.microsoft.com/office/drawing/2014/main" id="{B98944DC-47B2-4A70-B76A-0F18CAB99211}"/>
                </a:ext>
              </a:extLst>
            </p:cNvPr>
            <p:cNvSpPr/>
            <p:nvPr/>
          </p:nvSpPr>
          <p:spPr>
            <a:xfrm>
              <a:off x="4052202" y="3868652"/>
              <a:ext cx="1088418" cy="1088418"/>
            </a:xfrm>
            <a:prstGeom prst="ellipse">
              <a:avLst/>
            </a:prstGeom>
            <a:gradFill>
              <a:gsLst>
                <a:gs pos="0">
                  <a:srgbClr val="A4AADB">
                    <a:alpha val="14903"/>
                  </a:srgbClr>
                </a:gs>
                <a:gs pos="100000">
                  <a:srgbClr val="E583B7">
                    <a:alpha val="14903"/>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grpSp>
      <p:sp>
        <p:nvSpPr>
          <p:cNvPr id="3" name="Flowchart: Alternate Process 2">
            <a:extLst>
              <a:ext uri="{FF2B5EF4-FFF2-40B4-BE49-F238E27FC236}">
                <a16:creationId xmlns:a16="http://schemas.microsoft.com/office/drawing/2014/main" id="{D02E9603-1800-49D8-8544-FFD5016070A1}"/>
              </a:ext>
            </a:extLst>
          </p:cNvPr>
          <p:cNvSpPr/>
          <p:nvPr/>
        </p:nvSpPr>
        <p:spPr>
          <a:xfrm>
            <a:off x="6113449" y="637198"/>
            <a:ext cx="5728867" cy="1549522"/>
          </a:xfrm>
          <a:prstGeom prst="flowChartAlternateProcess">
            <a:avLst/>
          </a:prstGeom>
          <a:solidFill>
            <a:srgbClr val="F2EA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L"/>
          </a:p>
        </p:txBody>
      </p:sp>
      <p:graphicFrame>
        <p:nvGraphicFramePr>
          <p:cNvPr id="5" name="Object 4" hidden="1">
            <a:extLst>
              <a:ext uri="{FF2B5EF4-FFF2-40B4-BE49-F238E27FC236}">
                <a16:creationId xmlns:a16="http://schemas.microsoft.com/office/drawing/2014/main" id="{F3526FF6-93C0-4668-ABD6-DCA4644EF04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6" imgW="383" imgH="384" progId="TCLayout.ActiveDocument.1">
                  <p:embed/>
                </p:oleObj>
              </mc:Choice>
              <mc:Fallback>
                <p:oleObj name="think-cell Slide" r:id="rId6" imgW="383" imgH="384" progId="TCLayout.ActiveDocument.1">
                  <p:embed/>
                  <p:pic>
                    <p:nvPicPr>
                      <p:cNvPr id="5" name="Object 4" hidden="1">
                        <a:extLst>
                          <a:ext uri="{FF2B5EF4-FFF2-40B4-BE49-F238E27FC236}">
                            <a16:creationId xmlns:a16="http://schemas.microsoft.com/office/drawing/2014/main" id="{F3526FF6-93C0-4668-ABD6-DCA4644EF04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19A566D-18C1-4C6E-9C31-C3ACFBB7A3B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b="1" dirty="0">
              <a:latin typeface="Calibri" panose="020F0502020204030204" pitchFamily="34" charset="0"/>
              <a:ea typeface="+mj-ea"/>
              <a:cs typeface="+mj-cs"/>
              <a:sym typeface="Calibri" panose="020F0502020204030204" pitchFamily="34" charset="0"/>
            </a:endParaRPr>
          </a:p>
        </p:txBody>
      </p:sp>
      <p:sp>
        <p:nvSpPr>
          <p:cNvPr id="82" name="Rectangle 34">
            <a:extLst>
              <a:ext uri="{FF2B5EF4-FFF2-40B4-BE49-F238E27FC236}">
                <a16:creationId xmlns:a16="http://schemas.microsoft.com/office/drawing/2014/main" id="{95E76223-C7DF-44AE-AF5C-211291AB60BA}"/>
              </a:ext>
            </a:extLst>
          </p:cNvPr>
          <p:cNvSpPr/>
          <p:nvPr/>
        </p:nvSpPr>
        <p:spPr>
          <a:xfrm flipH="1" flipV="1">
            <a:off x="-2" y="3317132"/>
            <a:ext cx="11487152" cy="3540868"/>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59199" y="93304"/>
                  <a:pt x="0" y="0"/>
                </a:cubicBezTo>
                <a:close/>
              </a:path>
            </a:pathLst>
          </a:custGeom>
          <a:gradFill>
            <a:gsLst>
              <a:gs pos="43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Slide Number Placeholder 6">
            <a:extLst>
              <a:ext uri="{FF2B5EF4-FFF2-40B4-BE49-F238E27FC236}">
                <a16:creationId xmlns:a16="http://schemas.microsoft.com/office/drawing/2014/main" id="{C78FDFDA-BEF5-4DEF-B80F-DA46ED605B0F}"/>
              </a:ext>
            </a:extLst>
          </p:cNvPr>
          <p:cNvSpPr>
            <a:spLocks noGrp="1"/>
          </p:cNvSpPr>
          <p:nvPr>
            <p:ph type="sldNum" sz="quarter" idx="4"/>
          </p:nvPr>
        </p:nvSpPr>
        <p:spPr/>
        <p:txBody>
          <a:bodyPr/>
          <a:lstStyle/>
          <a:p>
            <a:fld id="{B84D2E29-67F4-44D8-B0E3-F54815B4F123}" type="slidenum">
              <a:rPr lang="en-US" smtClean="0"/>
              <a:pPr/>
              <a:t>2</a:t>
            </a:fld>
            <a:endParaRPr lang="en-US" dirty="0"/>
          </a:p>
        </p:txBody>
      </p:sp>
      <p:sp>
        <p:nvSpPr>
          <p:cNvPr id="36" name="TextBox 48">
            <a:extLst>
              <a:ext uri="{FF2B5EF4-FFF2-40B4-BE49-F238E27FC236}">
                <a16:creationId xmlns:a16="http://schemas.microsoft.com/office/drawing/2014/main" id="{3D040B3B-0DC7-4FE3-855F-B26D9E3E8EBB}"/>
              </a:ext>
            </a:extLst>
          </p:cNvPr>
          <p:cNvSpPr txBox="1"/>
          <p:nvPr/>
        </p:nvSpPr>
        <p:spPr>
          <a:xfrm>
            <a:off x="6406892" y="771190"/>
            <a:ext cx="5251720" cy="1231106"/>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n-US" sz="1600" b="0" dirty="0">
                <a:solidFill>
                  <a:srgbClr val="652D74"/>
                </a:solidFill>
                <a:effectLst/>
                <a:latin typeface="Book Antiqua" panose="02040602050305030304" pitchFamily="18" charset="0"/>
              </a:rPr>
              <a:t>Customer churn is one of the most important metrics for a growing business to evaluate. It's easier to save an existing customer before they leave than to convince them to come back. Understanding and preventing customer churn is critical to company's long-term success.</a:t>
            </a:r>
          </a:p>
        </p:txBody>
      </p:sp>
      <p:grpSp>
        <p:nvGrpSpPr>
          <p:cNvPr id="2" name="Group 1">
            <a:extLst>
              <a:ext uri="{FF2B5EF4-FFF2-40B4-BE49-F238E27FC236}">
                <a16:creationId xmlns:a16="http://schemas.microsoft.com/office/drawing/2014/main" id="{4ADD0446-C751-4964-9ADF-68BEF5937E65}"/>
              </a:ext>
            </a:extLst>
          </p:cNvPr>
          <p:cNvGrpSpPr/>
          <p:nvPr/>
        </p:nvGrpSpPr>
        <p:grpSpPr>
          <a:xfrm>
            <a:off x="527118" y="-554144"/>
            <a:ext cx="3760211" cy="4342116"/>
            <a:chOff x="1166955" y="1333499"/>
            <a:chExt cx="4112967" cy="4623001"/>
          </a:xfrm>
        </p:grpSpPr>
        <p:sp>
          <p:nvSpPr>
            <p:cNvPr id="30" name="Rectangle: Rounded Corners 29">
              <a:extLst>
                <a:ext uri="{FF2B5EF4-FFF2-40B4-BE49-F238E27FC236}">
                  <a16:creationId xmlns:a16="http://schemas.microsoft.com/office/drawing/2014/main" id="{1084F888-1588-4806-BB49-705D2F659B7D}"/>
                </a:ext>
              </a:extLst>
            </p:cNvPr>
            <p:cNvSpPr/>
            <p:nvPr/>
          </p:nvSpPr>
          <p:spPr>
            <a:xfrm>
              <a:off x="1166955" y="2754413"/>
              <a:ext cx="4112967" cy="3202087"/>
            </a:xfrm>
            <a:prstGeom prst="roundRect">
              <a:avLst>
                <a:gd name="adj" fmla="val 6764"/>
              </a:avLst>
            </a:prstGeom>
            <a:gradFill>
              <a:gsLst>
                <a:gs pos="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3" name="Picture 42" descr="Laptop with phone and calculator">
              <a:extLst>
                <a:ext uri="{FF2B5EF4-FFF2-40B4-BE49-F238E27FC236}">
                  <a16:creationId xmlns:a16="http://schemas.microsoft.com/office/drawing/2014/main" id="{95D10F0F-75D1-4929-A6C6-20D7861C5A48}"/>
                </a:ext>
              </a:extLst>
            </p:cNvPr>
            <p:cNvPicPr>
              <a:picLocks noChangeAspect="1"/>
            </p:cNvPicPr>
            <p:nvPr/>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rcRect l="5928" r="5928"/>
            <a:stretch/>
          </p:blipFill>
          <p:spPr>
            <a:xfrm>
              <a:off x="1511755" y="1333499"/>
              <a:ext cx="3595954" cy="3866010"/>
            </a:xfrm>
            <a:custGeom>
              <a:avLst/>
              <a:gdLst>
                <a:gd name="connsiteX0" fmla="*/ 230496 w 3407682"/>
                <a:gd name="connsiteY0" fmla="*/ 0 h 3866010"/>
                <a:gd name="connsiteX1" fmla="*/ 3177187 w 3407682"/>
                <a:gd name="connsiteY1" fmla="*/ 0 h 3866010"/>
                <a:gd name="connsiteX2" fmla="*/ 3407682 w 3407682"/>
                <a:gd name="connsiteY2" fmla="*/ 230496 h 3866010"/>
                <a:gd name="connsiteX3" fmla="*/ 3407682 w 3407682"/>
                <a:gd name="connsiteY3" fmla="*/ 3635515 h 3866010"/>
                <a:gd name="connsiteX4" fmla="*/ 3177187 w 3407682"/>
                <a:gd name="connsiteY4" fmla="*/ 3866010 h 3866010"/>
                <a:gd name="connsiteX5" fmla="*/ 230496 w 3407682"/>
                <a:gd name="connsiteY5" fmla="*/ 3866010 h 3866010"/>
                <a:gd name="connsiteX6" fmla="*/ 0 w 3407682"/>
                <a:gd name="connsiteY6" fmla="*/ 3635515 h 3866010"/>
                <a:gd name="connsiteX7" fmla="*/ 0 w 3407682"/>
                <a:gd name="connsiteY7" fmla="*/ 230496 h 3866010"/>
                <a:gd name="connsiteX8" fmla="*/ 230496 w 3407682"/>
                <a:gd name="connsiteY8" fmla="*/ 0 h 3866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7682" h="3866010">
                  <a:moveTo>
                    <a:pt x="230496" y="0"/>
                  </a:moveTo>
                  <a:lnTo>
                    <a:pt x="3177187" y="0"/>
                  </a:lnTo>
                  <a:cubicBezTo>
                    <a:pt x="3304486" y="0"/>
                    <a:pt x="3407682" y="103196"/>
                    <a:pt x="3407682" y="230496"/>
                  </a:cubicBezTo>
                  <a:lnTo>
                    <a:pt x="3407682" y="3635515"/>
                  </a:lnTo>
                  <a:cubicBezTo>
                    <a:pt x="3407682" y="3762814"/>
                    <a:pt x="3304486" y="3866010"/>
                    <a:pt x="3177187" y="3866010"/>
                  </a:cubicBezTo>
                  <a:lnTo>
                    <a:pt x="230496" y="3866010"/>
                  </a:lnTo>
                  <a:cubicBezTo>
                    <a:pt x="103196" y="3866010"/>
                    <a:pt x="0" y="3762814"/>
                    <a:pt x="0" y="3635515"/>
                  </a:cubicBezTo>
                  <a:lnTo>
                    <a:pt x="0" y="230496"/>
                  </a:lnTo>
                  <a:cubicBezTo>
                    <a:pt x="0" y="103196"/>
                    <a:pt x="103196" y="0"/>
                    <a:pt x="230496" y="0"/>
                  </a:cubicBezTo>
                  <a:close/>
                </a:path>
              </a:pathLst>
            </a:custGeom>
          </p:spPr>
        </p:pic>
      </p:grpSp>
      <p:grpSp>
        <p:nvGrpSpPr>
          <p:cNvPr id="39" name="Group 38">
            <a:extLst>
              <a:ext uri="{FF2B5EF4-FFF2-40B4-BE49-F238E27FC236}">
                <a16:creationId xmlns:a16="http://schemas.microsoft.com/office/drawing/2014/main" id="{1CF7F638-788E-4F11-9698-1BE759841942}"/>
              </a:ext>
            </a:extLst>
          </p:cNvPr>
          <p:cNvGrpSpPr/>
          <p:nvPr/>
        </p:nvGrpSpPr>
        <p:grpSpPr>
          <a:xfrm>
            <a:off x="1927989" y="3255311"/>
            <a:ext cx="1133683" cy="1133683"/>
            <a:chOff x="2656596" y="5354331"/>
            <a:chExt cx="1133683" cy="1133683"/>
          </a:xfrm>
        </p:grpSpPr>
        <p:grpSp>
          <p:nvGrpSpPr>
            <p:cNvPr id="21" name="Group 20">
              <a:extLst>
                <a:ext uri="{FF2B5EF4-FFF2-40B4-BE49-F238E27FC236}">
                  <a16:creationId xmlns:a16="http://schemas.microsoft.com/office/drawing/2014/main" id="{3A2FB6EB-28FE-4A23-8B4D-CEA05CB1D410}"/>
                </a:ext>
              </a:extLst>
            </p:cNvPr>
            <p:cNvGrpSpPr/>
            <p:nvPr/>
          </p:nvGrpSpPr>
          <p:grpSpPr>
            <a:xfrm>
              <a:off x="2656596" y="5354331"/>
              <a:ext cx="1133683" cy="1133683"/>
              <a:chOff x="2656596" y="5354331"/>
              <a:chExt cx="1133683" cy="1133683"/>
            </a:xfrm>
          </p:grpSpPr>
          <p:sp>
            <p:nvSpPr>
              <p:cNvPr id="32" name="Oval 31">
                <a:extLst>
                  <a:ext uri="{FF2B5EF4-FFF2-40B4-BE49-F238E27FC236}">
                    <a16:creationId xmlns:a16="http://schemas.microsoft.com/office/drawing/2014/main" id="{A51E64DF-C3AF-47D6-91BD-96256DE0CC69}"/>
                  </a:ext>
                </a:extLst>
              </p:cNvPr>
              <p:cNvSpPr/>
              <p:nvPr/>
            </p:nvSpPr>
            <p:spPr>
              <a:xfrm>
                <a:off x="2656596" y="5354331"/>
                <a:ext cx="1133683" cy="1133683"/>
              </a:xfrm>
              <a:prstGeom prst="ellipse">
                <a:avLst/>
              </a:prstGeom>
              <a:solidFill>
                <a:schemeClr val="bg1">
                  <a:lumMod val="9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DC5A9E09-BB1B-4653-8522-95EF63DBD60F}"/>
                  </a:ext>
                </a:extLst>
              </p:cNvPr>
              <p:cNvSpPr/>
              <p:nvPr/>
            </p:nvSpPr>
            <p:spPr>
              <a:xfrm>
                <a:off x="2754280" y="5452015"/>
                <a:ext cx="938314" cy="938314"/>
              </a:xfrm>
              <a:prstGeom prst="ellipse">
                <a:avLst/>
              </a:prstGeom>
              <a:noFill/>
              <a:ln>
                <a:solidFill>
                  <a:schemeClr val="accent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 name="Group 43">
              <a:extLst>
                <a:ext uri="{FF2B5EF4-FFF2-40B4-BE49-F238E27FC236}">
                  <a16:creationId xmlns:a16="http://schemas.microsoft.com/office/drawing/2014/main" id="{F263E3F9-B66F-4852-B03B-92C0CE0CB3E8}"/>
                </a:ext>
              </a:extLst>
            </p:cNvPr>
            <p:cNvGrpSpPr/>
            <p:nvPr/>
          </p:nvGrpSpPr>
          <p:grpSpPr>
            <a:xfrm>
              <a:off x="3047224" y="5740991"/>
              <a:ext cx="352426" cy="360363"/>
              <a:chOff x="5562600" y="4332288"/>
              <a:chExt cx="352426" cy="360363"/>
            </a:xfrm>
            <a:solidFill>
              <a:schemeClr val="accent1"/>
            </a:solidFill>
          </p:grpSpPr>
          <p:sp>
            <p:nvSpPr>
              <p:cNvPr id="45" name="Oval 127">
                <a:extLst>
                  <a:ext uri="{FF2B5EF4-FFF2-40B4-BE49-F238E27FC236}">
                    <a16:creationId xmlns:a16="http://schemas.microsoft.com/office/drawing/2014/main" id="{88D25CD4-1641-4123-9FB7-F8EB8137EFD2}"/>
                  </a:ext>
                </a:extLst>
              </p:cNvPr>
              <p:cNvSpPr>
                <a:spLocks noChangeArrowheads="1"/>
              </p:cNvSpPr>
              <p:nvPr/>
            </p:nvSpPr>
            <p:spPr bwMode="auto">
              <a:xfrm>
                <a:off x="5592763" y="4332288"/>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 name="Freeform 128">
                <a:extLst>
                  <a:ext uri="{FF2B5EF4-FFF2-40B4-BE49-F238E27FC236}">
                    <a16:creationId xmlns:a16="http://schemas.microsoft.com/office/drawing/2014/main" id="{F68A404C-BBEA-4963-8793-51CA34920068}"/>
                  </a:ext>
                </a:extLst>
              </p:cNvPr>
              <p:cNvSpPr>
                <a:spLocks/>
              </p:cNvSpPr>
              <p:nvPr/>
            </p:nvSpPr>
            <p:spPr bwMode="auto">
              <a:xfrm>
                <a:off x="5562600" y="4467226"/>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 name="Freeform 129">
                <a:extLst>
                  <a:ext uri="{FF2B5EF4-FFF2-40B4-BE49-F238E27FC236}">
                    <a16:creationId xmlns:a16="http://schemas.microsoft.com/office/drawing/2014/main" id="{55B7A32C-0B99-437A-BA61-F47F8E102E76}"/>
                  </a:ext>
                </a:extLst>
              </p:cNvPr>
              <p:cNvSpPr>
                <a:spLocks noEditPoints="1"/>
              </p:cNvSpPr>
              <p:nvPr/>
            </p:nvSpPr>
            <p:spPr bwMode="auto">
              <a:xfrm>
                <a:off x="5697538" y="4346576"/>
                <a:ext cx="217488" cy="225425"/>
              </a:xfrm>
              <a:custGeom>
                <a:avLst/>
                <a:gdLst>
                  <a:gd name="T0" fmla="*/ 4 w 58"/>
                  <a:gd name="T1" fmla="*/ 0 h 60"/>
                  <a:gd name="T2" fmla="*/ 8 w 58"/>
                  <a:gd name="T3" fmla="*/ 12 h 60"/>
                  <a:gd name="T4" fmla="*/ 0 w 58"/>
                  <a:gd name="T5" fmla="*/ 28 h 60"/>
                  <a:gd name="T6" fmla="*/ 16 w 58"/>
                  <a:gd name="T7" fmla="*/ 28 h 60"/>
                  <a:gd name="T8" fmla="*/ 16 w 58"/>
                  <a:gd name="T9" fmla="*/ 34 h 60"/>
                  <a:gd name="T10" fmla="*/ 9 w 58"/>
                  <a:gd name="T11" fmla="*/ 60 h 60"/>
                  <a:gd name="T12" fmla="*/ 58 w 58"/>
                  <a:gd name="T13" fmla="*/ 60 h 60"/>
                  <a:gd name="T14" fmla="*/ 58 w 58"/>
                  <a:gd name="T15" fmla="*/ 0 h 60"/>
                  <a:gd name="T16" fmla="*/ 4 w 58"/>
                  <a:gd name="T17" fmla="*/ 0 h 60"/>
                  <a:gd name="T18" fmla="*/ 45 w 58"/>
                  <a:gd name="T19" fmla="*/ 44 h 60"/>
                  <a:gd name="T20" fmla="*/ 44 w 58"/>
                  <a:gd name="T21" fmla="*/ 44 h 60"/>
                  <a:gd name="T22" fmla="*/ 43 w 58"/>
                  <a:gd name="T23" fmla="*/ 43 h 60"/>
                  <a:gd name="T24" fmla="*/ 40 w 58"/>
                  <a:gd name="T25" fmla="*/ 36 h 60"/>
                  <a:gd name="T26" fmla="*/ 28 w 58"/>
                  <a:gd name="T27" fmla="*/ 36 h 60"/>
                  <a:gd name="T28" fmla="*/ 25 w 58"/>
                  <a:gd name="T29" fmla="*/ 43 h 60"/>
                  <a:gd name="T30" fmla="*/ 23 w 58"/>
                  <a:gd name="T31" fmla="*/ 44 h 60"/>
                  <a:gd name="T32" fmla="*/ 22 w 58"/>
                  <a:gd name="T33" fmla="*/ 41 h 60"/>
                  <a:gd name="T34" fmla="*/ 32 w 58"/>
                  <a:gd name="T35" fmla="*/ 14 h 60"/>
                  <a:gd name="T36" fmla="*/ 34 w 58"/>
                  <a:gd name="T37" fmla="*/ 12 h 60"/>
                  <a:gd name="T38" fmla="*/ 36 w 58"/>
                  <a:gd name="T39" fmla="*/ 14 h 60"/>
                  <a:gd name="T40" fmla="*/ 46 w 58"/>
                  <a:gd name="T41" fmla="*/ 41 h 60"/>
                  <a:gd name="T42" fmla="*/ 45 w 58"/>
                  <a:gd name="T43" fmla="*/ 4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60">
                    <a:moveTo>
                      <a:pt x="4" y="0"/>
                    </a:moveTo>
                    <a:cubicBezTo>
                      <a:pt x="6" y="3"/>
                      <a:pt x="8" y="7"/>
                      <a:pt x="8" y="12"/>
                    </a:cubicBezTo>
                    <a:cubicBezTo>
                      <a:pt x="8" y="19"/>
                      <a:pt x="5" y="24"/>
                      <a:pt x="0" y="28"/>
                    </a:cubicBezTo>
                    <a:cubicBezTo>
                      <a:pt x="16" y="28"/>
                      <a:pt x="16" y="28"/>
                      <a:pt x="16" y="28"/>
                    </a:cubicBezTo>
                    <a:cubicBezTo>
                      <a:pt x="16" y="34"/>
                      <a:pt x="16" y="34"/>
                      <a:pt x="16" y="34"/>
                    </a:cubicBezTo>
                    <a:cubicBezTo>
                      <a:pt x="16" y="44"/>
                      <a:pt x="13" y="53"/>
                      <a:pt x="9" y="60"/>
                    </a:cubicBezTo>
                    <a:cubicBezTo>
                      <a:pt x="58" y="60"/>
                      <a:pt x="58" y="60"/>
                      <a:pt x="58" y="60"/>
                    </a:cubicBezTo>
                    <a:cubicBezTo>
                      <a:pt x="58" y="0"/>
                      <a:pt x="58" y="0"/>
                      <a:pt x="58" y="0"/>
                    </a:cubicBezTo>
                    <a:lnTo>
                      <a:pt x="4" y="0"/>
                    </a:lnTo>
                    <a:close/>
                    <a:moveTo>
                      <a:pt x="45" y="44"/>
                    </a:moveTo>
                    <a:cubicBezTo>
                      <a:pt x="45" y="44"/>
                      <a:pt x="45" y="44"/>
                      <a:pt x="44" y="44"/>
                    </a:cubicBezTo>
                    <a:cubicBezTo>
                      <a:pt x="44" y="44"/>
                      <a:pt x="43" y="44"/>
                      <a:pt x="43" y="43"/>
                    </a:cubicBezTo>
                    <a:cubicBezTo>
                      <a:pt x="40" y="36"/>
                      <a:pt x="40" y="36"/>
                      <a:pt x="40" y="36"/>
                    </a:cubicBezTo>
                    <a:cubicBezTo>
                      <a:pt x="28" y="36"/>
                      <a:pt x="28" y="36"/>
                      <a:pt x="28" y="36"/>
                    </a:cubicBezTo>
                    <a:cubicBezTo>
                      <a:pt x="25" y="43"/>
                      <a:pt x="25" y="43"/>
                      <a:pt x="25" y="43"/>
                    </a:cubicBezTo>
                    <a:cubicBezTo>
                      <a:pt x="25" y="44"/>
                      <a:pt x="24" y="44"/>
                      <a:pt x="23" y="44"/>
                    </a:cubicBezTo>
                    <a:cubicBezTo>
                      <a:pt x="22" y="43"/>
                      <a:pt x="21" y="42"/>
                      <a:pt x="22" y="41"/>
                    </a:cubicBezTo>
                    <a:cubicBezTo>
                      <a:pt x="32" y="14"/>
                      <a:pt x="32" y="14"/>
                      <a:pt x="32" y="14"/>
                    </a:cubicBezTo>
                    <a:cubicBezTo>
                      <a:pt x="32" y="13"/>
                      <a:pt x="33" y="12"/>
                      <a:pt x="34" y="12"/>
                    </a:cubicBezTo>
                    <a:cubicBezTo>
                      <a:pt x="35" y="12"/>
                      <a:pt x="36" y="13"/>
                      <a:pt x="36" y="14"/>
                    </a:cubicBezTo>
                    <a:cubicBezTo>
                      <a:pt x="46" y="41"/>
                      <a:pt x="46" y="41"/>
                      <a:pt x="46" y="41"/>
                    </a:cubicBezTo>
                    <a:cubicBezTo>
                      <a:pt x="47" y="42"/>
                      <a:pt x="46" y="44"/>
                      <a:pt x="45"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130">
                <a:extLst>
                  <a:ext uri="{FF2B5EF4-FFF2-40B4-BE49-F238E27FC236}">
                    <a16:creationId xmlns:a16="http://schemas.microsoft.com/office/drawing/2014/main" id="{715B3548-B629-4745-AAD1-2138584703CF}"/>
                  </a:ext>
                </a:extLst>
              </p:cNvPr>
              <p:cNvSpPr>
                <a:spLocks/>
              </p:cNvSpPr>
              <p:nvPr/>
            </p:nvSpPr>
            <p:spPr bwMode="auto">
              <a:xfrm>
                <a:off x="5810250" y="4422776"/>
                <a:ext cx="34925" cy="44450"/>
              </a:xfrm>
              <a:custGeom>
                <a:avLst/>
                <a:gdLst>
                  <a:gd name="T0" fmla="*/ 0 w 22"/>
                  <a:gd name="T1" fmla="*/ 28 h 28"/>
                  <a:gd name="T2" fmla="*/ 22 w 22"/>
                  <a:gd name="T3" fmla="*/ 28 h 28"/>
                  <a:gd name="T4" fmla="*/ 10 w 22"/>
                  <a:gd name="T5" fmla="*/ 0 h 28"/>
                  <a:gd name="T6" fmla="*/ 0 w 22"/>
                  <a:gd name="T7" fmla="*/ 28 h 28"/>
                </a:gdLst>
                <a:ahLst/>
                <a:cxnLst>
                  <a:cxn ang="0">
                    <a:pos x="T0" y="T1"/>
                  </a:cxn>
                  <a:cxn ang="0">
                    <a:pos x="T2" y="T3"/>
                  </a:cxn>
                  <a:cxn ang="0">
                    <a:pos x="T4" y="T5"/>
                  </a:cxn>
                  <a:cxn ang="0">
                    <a:pos x="T6" y="T7"/>
                  </a:cxn>
                </a:cxnLst>
                <a:rect l="0" t="0" r="r" b="b"/>
                <a:pathLst>
                  <a:path w="22" h="28">
                    <a:moveTo>
                      <a:pt x="0" y="28"/>
                    </a:moveTo>
                    <a:lnTo>
                      <a:pt x="22" y="28"/>
                    </a:lnTo>
                    <a:lnTo>
                      <a:pt x="10" y="0"/>
                    </a:lnTo>
                    <a:lnTo>
                      <a:pt x="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
        <p:nvSpPr>
          <p:cNvPr id="27" name="Flowchart: Alternate Process 26">
            <a:extLst>
              <a:ext uri="{FF2B5EF4-FFF2-40B4-BE49-F238E27FC236}">
                <a16:creationId xmlns:a16="http://schemas.microsoft.com/office/drawing/2014/main" id="{731E6317-6286-451D-B76F-0F0B7D8D9C4D}"/>
              </a:ext>
            </a:extLst>
          </p:cNvPr>
          <p:cNvSpPr/>
          <p:nvPr/>
        </p:nvSpPr>
        <p:spPr>
          <a:xfrm>
            <a:off x="6096000" y="2450978"/>
            <a:ext cx="5706473" cy="2264945"/>
          </a:xfrm>
          <a:prstGeom prst="flowChartAlternateProcess">
            <a:avLst/>
          </a:prstGeom>
          <a:solidFill>
            <a:srgbClr val="F2EA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L" sz="1600" b="1" spc="300" dirty="0">
                <a:solidFill>
                  <a:schemeClr val="accent1">
                    <a:lumMod val="75000"/>
                  </a:schemeClr>
                </a:solidFill>
                <a:latin typeface="Baskerville Old Face" panose="02020602080505020303" pitchFamily="18" charset="0"/>
              </a:rPr>
              <a:t>•</a:t>
            </a:r>
            <a:r>
              <a:rPr lang="en-US" sz="1600" b="1" spc="300" dirty="0">
                <a:solidFill>
                  <a:schemeClr val="accent1">
                    <a:lumMod val="75000"/>
                  </a:schemeClr>
                </a:solidFill>
                <a:latin typeface="Baskerville Old Face" panose="02020602080505020303" pitchFamily="18" charset="0"/>
              </a:rPr>
              <a:t>W</a:t>
            </a:r>
            <a:r>
              <a:rPr lang="en-IL" sz="1600" b="1" spc="300" dirty="0">
                <a:solidFill>
                  <a:schemeClr val="accent1">
                    <a:lumMod val="75000"/>
                  </a:schemeClr>
                </a:solidFill>
                <a:latin typeface="Baskerville Old Face" panose="02020602080505020303" pitchFamily="18" charset="0"/>
              </a:rPr>
              <a:t>hat are </a:t>
            </a:r>
            <a:r>
              <a:rPr lang="en-US" sz="1600" b="1" spc="300" dirty="0">
                <a:solidFill>
                  <a:schemeClr val="accent1">
                    <a:lumMod val="75000"/>
                  </a:schemeClr>
                </a:solidFill>
                <a:latin typeface="Baskerville Old Face" panose="02020602080505020303" pitchFamily="18" charset="0"/>
              </a:rPr>
              <a:t>we </a:t>
            </a:r>
            <a:r>
              <a:rPr lang="en-IL" sz="1600" b="1" spc="300" dirty="0">
                <a:solidFill>
                  <a:schemeClr val="accent1">
                    <a:lumMod val="75000"/>
                  </a:schemeClr>
                </a:solidFill>
                <a:latin typeface="Baskerville Old Face" panose="02020602080505020303" pitchFamily="18" charset="0"/>
              </a:rPr>
              <a:t> trying to predict?• </a:t>
            </a:r>
            <a:endParaRPr lang="ru-RU" sz="1600" b="1" spc="300" dirty="0">
              <a:solidFill>
                <a:schemeClr val="accent1">
                  <a:lumMod val="75000"/>
                </a:schemeClr>
              </a:solidFill>
            </a:endParaRPr>
          </a:p>
          <a:p>
            <a:pPr algn="just"/>
            <a:endParaRPr lang="en-US" sz="800" b="0" dirty="0">
              <a:solidFill>
                <a:srgbClr val="652D74"/>
              </a:solidFill>
              <a:effectLst/>
              <a:latin typeface="Book Antiqua" panose="02040602050305030304" pitchFamily="18" charset="0"/>
            </a:endParaRPr>
          </a:p>
          <a:p>
            <a:pPr algn="just"/>
            <a:r>
              <a:rPr lang="en-US" sz="1600" b="0" dirty="0">
                <a:solidFill>
                  <a:srgbClr val="652D74"/>
                </a:solidFill>
                <a:effectLst/>
                <a:latin typeface="Book Antiqua" panose="02040602050305030304" pitchFamily="18" charset="0"/>
              </a:rPr>
              <a:t>In this project, we will use statistical testing to analyze the key factors of customers who are more likely to churn, develop a classification model to predict churn based on those factors, and provide recommendations for retaining customers as well as predictions of churn for a list of customers (delivered via csv).</a:t>
            </a:r>
          </a:p>
        </p:txBody>
      </p:sp>
      <p:sp>
        <p:nvSpPr>
          <p:cNvPr id="8" name="Title 7">
            <a:extLst>
              <a:ext uri="{FF2B5EF4-FFF2-40B4-BE49-F238E27FC236}">
                <a16:creationId xmlns:a16="http://schemas.microsoft.com/office/drawing/2014/main" id="{B62A1B46-EE91-4D85-9559-A03F29371123}"/>
              </a:ext>
            </a:extLst>
          </p:cNvPr>
          <p:cNvSpPr>
            <a:spLocks noGrp="1"/>
          </p:cNvSpPr>
          <p:nvPr>
            <p:ph type="title"/>
          </p:nvPr>
        </p:nvSpPr>
        <p:spPr>
          <a:xfrm>
            <a:off x="1077026" y="2441449"/>
            <a:ext cx="2796589" cy="775612"/>
          </a:xfrm>
        </p:spPr>
        <p:txBody>
          <a:bodyPr/>
          <a:lstStyle/>
          <a:p>
            <a:r>
              <a:rPr lang="en-US" dirty="0">
                <a:latin typeface="Baskerville Old Face" panose="02020602080505020303" pitchFamily="18" charset="0"/>
              </a:rPr>
              <a:t> The problem</a:t>
            </a:r>
          </a:p>
        </p:txBody>
      </p:sp>
      <p:sp>
        <p:nvSpPr>
          <p:cNvPr id="25" name="TextBox 48">
            <a:extLst>
              <a:ext uri="{FF2B5EF4-FFF2-40B4-BE49-F238E27FC236}">
                <a16:creationId xmlns:a16="http://schemas.microsoft.com/office/drawing/2014/main" id="{C8E529F9-5260-43AC-AB8D-401B14A1D48B}"/>
              </a:ext>
            </a:extLst>
          </p:cNvPr>
          <p:cNvSpPr txBox="1"/>
          <p:nvPr/>
        </p:nvSpPr>
        <p:spPr>
          <a:xfrm>
            <a:off x="574438" y="4566439"/>
            <a:ext cx="9343822" cy="2092881"/>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a:solidFill>
                  <a:srgbClr val="652D74"/>
                </a:solidFill>
                <a:effectLst/>
                <a:latin typeface="Book Antiqua" panose="02040602050305030304" pitchFamily="18" charset="0"/>
              </a:rPr>
              <a:t>	Business Goals</a:t>
            </a:r>
          </a:p>
          <a:p>
            <a:pPr algn="ctr"/>
            <a:endParaRPr lang="en-US" sz="2000" b="1" dirty="0">
              <a:solidFill>
                <a:srgbClr val="652D74"/>
              </a:solidFill>
              <a:effectLst/>
              <a:latin typeface="Book Antiqua" panose="02040602050305030304" pitchFamily="18" charset="0"/>
            </a:endParaRPr>
          </a:p>
          <a:p>
            <a:pPr algn="just"/>
            <a:r>
              <a:rPr lang="en-US" sz="1600" b="0" dirty="0">
                <a:solidFill>
                  <a:srgbClr val="652D74"/>
                </a:solidFill>
                <a:effectLst/>
                <a:latin typeface="Book Antiqua" panose="02040602050305030304" pitchFamily="18" charset="0"/>
              </a:rPr>
              <a:t>- Find drivers for customer churn. Why are customers churning?</a:t>
            </a:r>
          </a:p>
          <a:p>
            <a:pPr algn="just"/>
            <a:endParaRPr lang="en-US" sz="1600" b="0" dirty="0">
              <a:solidFill>
                <a:srgbClr val="652D74"/>
              </a:solidFill>
              <a:effectLst/>
              <a:latin typeface="Book Antiqua" panose="02040602050305030304" pitchFamily="18" charset="0"/>
            </a:endParaRPr>
          </a:p>
          <a:p>
            <a:pPr algn="just"/>
            <a:r>
              <a:rPr lang="en-US" sz="1600" b="0" dirty="0">
                <a:solidFill>
                  <a:srgbClr val="652D74"/>
                </a:solidFill>
                <a:effectLst/>
                <a:latin typeface="Book Antiqua" panose="02040602050305030304" pitchFamily="18" charset="0"/>
              </a:rPr>
              <a:t>- Construct a ML classification model that accurately predicts customer churn.</a:t>
            </a:r>
          </a:p>
          <a:p>
            <a:pPr algn="just"/>
            <a:endParaRPr lang="en-US" sz="1600" b="0" dirty="0">
              <a:solidFill>
                <a:srgbClr val="652D74"/>
              </a:solidFill>
              <a:effectLst/>
              <a:latin typeface="Book Antiqua" panose="02040602050305030304" pitchFamily="18" charset="0"/>
            </a:endParaRPr>
          </a:p>
          <a:p>
            <a:pPr algn="just"/>
            <a:r>
              <a:rPr lang="en-US" sz="1600" b="0" dirty="0">
                <a:solidFill>
                  <a:srgbClr val="652D74"/>
                </a:solidFill>
                <a:effectLst/>
                <a:latin typeface="Book Antiqua" panose="02040602050305030304" pitchFamily="18" charset="0"/>
              </a:rPr>
              <a:t>- Deliver a report that a non-data scientist can read through and understand what steps were taken, why and what was the outcome?</a:t>
            </a:r>
          </a:p>
        </p:txBody>
      </p:sp>
    </p:spTree>
    <p:extLst>
      <p:ext uri="{BB962C8B-B14F-4D97-AF65-F5344CB8AC3E}">
        <p14:creationId xmlns:p14="http://schemas.microsoft.com/office/powerpoint/2010/main" val="20497230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0284BAA8-DAF2-4E66-8954-CE84F75FD2FE}"/>
              </a:ext>
            </a:extLst>
          </p:cNvPr>
          <p:cNvGrpSpPr/>
          <p:nvPr/>
        </p:nvGrpSpPr>
        <p:grpSpPr>
          <a:xfrm rot="16200000">
            <a:off x="6115515" y="459311"/>
            <a:ext cx="4777118" cy="7043893"/>
            <a:chOff x="6078803" y="714152"/>
            <a:chExt cx="3839339" cy="5429793"/>
          </a:xfrm>
          <a:solidFill>
            <a:srgbClr val="DBCBD8"/>
          </a:solidFill>
        </p:grpSpPr>
        <p:sp>
          <p:nvSpPr>
            <p:cNvPr id="21" name="Google Shape;253;p33">
              <a:extLst>
                <a:ext uri="{FF2B5EF4-FFF2-40B4-BE49-F238E27FC236}">
                  <a16:creationId xmlns:a16="http://schemas.microsoft.com/office/drawing/2014/main" id="{58F6B047-AAC7-49F5-8C03-194FE967CEAA}"/>
                </a:ext>
              </a:extLst>
            </p:cNvPr>
            <p:cNvSpPr/>
            <p:nvPr/>
          </p:nvSpPr>
          <p:spPr>
            <a:xfrm>
              <a:off x="6078803" y="714152"/>
              <a:ext cx="3839339" cy="5429793"/>
            </a:xfrm>
            <a:custGeom>
              <a:avLst/>
              <a:gdLst/>
              <a:ahLst/>
              <a:cxnLst/>
              <a:rect l="l" t="t" r="r" b="b"/>
              <a:pathLst>
                <a:path w="60958" h="86210" extrusionOk="0">
                  <a:moveTo>
                    <a:pt x="28985" y="3938"/>
                  </a:moveTo>
                  <a:lnTo>
                    <a:pt x="29189" y="4006"/>
                  </a:lnTo>
                  <a:lnTo>
                    <a:pt x="29189" y="4141"/>
                  </a:lnTo>
                  <a:lnTo>
                    <a:pt x="29189" y="4277"/>
                  </a:lnTo>
                  <a:lnTo>
                    <a:pt x="28985" y="4345"/>
                  </a:lnTo>
                  <a:lnTo>
                    <a:pt x="28850" y="4277"/>
                  </a:lnTo>
                  <a:lnTo>
                    <a:pt x="28782" y="4141"/>
                  </a:lnTo>
                  <a:lnTo>
                    <a:pt x="28850" y="4006"/>
                  </a:lnTo>
                  <a:lnTo>
                    <a:pt x="28985" y="3938"/>
                  </a:lnTo>
                  <a:close/>
                  <a:moveTo>
                    <a:pt x="30479" y="3734"/>
                  </a:moveTo>
                  <a:lnTo>
                    <a:pt x="30615" y="3802"/>
                  </a:lnTo>
                  <a:lnTo>
                    <a:pt x="30750" y="3870"/>
                  </a:lnTo>
                  <a:lnTo>
                    <a:pt x="30818" y="4006"/>
                  </a:lnTo>
                  <a:lnTo>
                    <a:pt x="30818" y="4141"/>
                  </a:lnTo>
                  <a:lnTo>
                    <a:pt x="30818" y="4277"/>
                  </a:lnTo>
                  <a:lnTo>
                    <a:pt x="30750" y="4345"/>
                  </a:lnTo>
                  <a:lnTo>
                    <a:pt x="30615" y="4481"/>
                  </a:lnTo>
                  <a:lnTo>
                    <a:pt x="30343" y="4481"/>
                  </a:lnTo>
                  <a:lnTo>
                    <a:pt x="30207" y="4345"/>
                  </a:lnTo>
                  <a:lnTo>
                    <a:pt x="30139" y="4277"/>
                  </a:lnTo>
                  <a:lnTo>
                    <a:pt x="30139" y="4141"/>
                  </a:lnTo>
                  <a:lnTo>
                    <a:pt x="30139" y="4006"/>
                  </a:lnTo>
                  <a:lnTo>
                    <a:pt x="30207" y="3870"/>
                  </a:lnTo>
                  <a:lnTo>
                    <a:pt x="30343" y="3802"/>
                  </a:lnTo>
                  <a:lnTo>
                    <a:pt x="30479" y="3734"/>
                  </a:lnTo>
                  <a:close/>
                  <a:moveTo>
                    <a:pt x="56885" y="7943"/>
                  </a:moveTo>
                  <a:lnTo>
                    <a:pt x="56885" y="78132"/>
                  </a:lnTo>
                  <a:lnTo>
                    <a:pt x="56817" y="78200"/>
                  </a:lnTo>
                  <a:lnTo>
                    <a:pt x="4209" y="78200"/>
                  </a:lnTo>
                  <a:lnTo>
                    <a:pt x="4141" y="78132"/>
                  </a:lnTo>
                  <a:lnTo>
                    <a:pt x="4141" y="7943"/>
                  </a:lnTo>
                  <a:close/>
                  <a:moveTo>
                    <a:pt x="30479" y="80440"/>
                  </a:moveTo>
                  <a:lnTo>
                    <a:pt x="30071" y="80508"/>
                  </a:lnTo>
                  <a:lnTo>
                    <a:pt x="29732" y="80576"/>
                  </a:lnTo>
                  <a:lnTo>
                    <a:pt x="29461" y="80779"/>
                  </a:lnTo>
                  <a:lnTo>
                    <a:pt x="29189" y="80983"/>
                  </a:lnTo>
                  <a:lnTo>
                    <a:pt x="28917" y="81255"/>
                  </a:lnTo>
                  <a:lnTo>
                    <a:pt x="28782" y="81594"/>
                  </a:lnTo>
                  <a:lnTo>
                    <a:pt x="28646" y="81933"/>
                  </a:lnTo>
                  <a:lnTo>
                    <a:pt x="28646" y="82273"/>
                  </a:lnTo>
                  <a:lnTo>
                    <a:pt x="28646" y="82341"/>
                  </a:lnTo>
                  <a:lnTo>
                    <a:pt x="28646" y="82680"/>
                  </a:lnTo>
                  <a:lnTo>
                    <a:pt x="28782" y="83020"/>
                  </a:lnTo>
                  <a:lnTo>
                    <a:pt x="28985" y="83291"/>
                  </a:lnTo>
                  <a:lnTo>
                    <a:pt x="29189" y="83563"/>
                  </a:lnTo>
                  <a:lnTo>
                    <a:pt x="29461" y="83834"/>
                  </a:lnTo>
                  <a:lnTo>
                    <a:pt x="29800" y="83970"/>
                  </a:lnTo>
                  <a:lnTo>
                    <a:pt x="30139" y="84106"/>
                  </a:lnTo>
                  <a:lnTo>
                    <a:pt x="30818" y="84106"/>
                  </a:lnTo>
                  <a:lnTo>
                    <a:pt x="31158" y="83970"/>
                  </a:lnTo>
                  <a:lnTo>
                    <a:pt x="31497" y="83766"/>
                  </a:lnTo>
                  <a:lnTo>
                    <a:pt x="31768" y="83563"/>
                  </a:lnTo>
                  <a:lnTo>
                    <a:pt x="31972" y="83291"/>
                  </a:lnTo>
                  <a:lnTo>
                    <a:pt x="32176" y="83020"/>
                  </a:lnTo>
                  <a:lnTo>
                    <a:pt x="32244" y="82612"/>
                  </a:lnTo>
                  <a:lnTo>
                    <a:pt x="32312" y="82273"/>
                  </a:lnTo>
                  <a:lnTo>
                    <a:pt x="32244" y="81933"/>
                  </a:lnTo>
                  <a:lnTo>
                    <a:pt x="32176" y="81594"/>
                  </a:lnTo>
                  <a:lnTo>
                    <a:pt x="31972" y="81255"/>
                  </a:lnTo>
                  <a:lnTo>
                    <a:pt x="31768" y="80983"/>
                  </a:lnTo>
                  <a:lnTo>
                    <a:pt x="31497" y="80779"/>
                  </a:lnTo>
                  <a:lnTo>
                    <a:pt x="31158" y="80576"/>
                  </a:lnTo>
                  <a:lnTo>
                    <a:pt x="30818" y="80508"/>
                  </a:lnTo>
                  <a:lnTo>
                    <a:pt x="30479" y="80440"/>
                  </a:lnTo>
                  <a:close/>
                  <a:moveTo>
                    <a:pt x="30886" y="80304"/>
                  </a:moveTo>
                  <a:lnTo>
                    <a:pt x="31225" y="80440"/>
                  </a:lnTo>
                  <a:lnTo>
                    <a:pt x="31565" y="80644"/>
                  </a:lnTo>
                  <a:lnTo>
                    <a:pt x="31904" y="80847"/>
                  </a:lnTo>
                  <a:lnTo>
                    <a:pt x="32108" y="81187"/>
                  </a:lnTo>
                  <a:lnTo>
                    <a:pt x="32312" y="81526"/>
                  </a:lnTo>
                  <a:lnTo>
                    <a:pt x="32447" y="81866"/>
                  </a:lnTo>
                  <a:lnTo>
                    <a:pt x="32447" y="82273"/>
                  </a:lnTo>
                  <a:lnTo>
                    <a:pt x="32447" y="82680"/>
                  </a:lnTo>
                  <a:lnTo>
                    <a:pt x="32312" y="83020"/>
                  </a:lnTo>
                  <a:lnTo>
                    <a:pt x="32108" y="83359"/>
                  </a:lnTo>
                  <a:lnTo>
                    <a:pt x="31904" y="83698"/>
                  </a:lnTo>
                  <a:lnTo>
                    <a:pt x="31565" y="83902"/>
                  </a:lnTo>
                  <a:lnTo>
                    <a:pt x="31225" y="84106"/>
                  </a:lnTo>
                  <a:lnTo>
                    <a:pt x="30886" y="84241"/>
                  </a:lnTo>
                  <a:lnTo>
                    <a:pt x="30479" y="84309"/>
                  </a:lnTo>
                  <a:lnTo>
                    <a:pt x="30071" y="84241"/>
                  </a:lnTo>
                  <a:lnTo>
                    <a:pt x="29732" y="84106"/>
                  </a:lnTo>
                  <a:lnTo>
                    <a:pt x="29393" y="83970"/>
                  </a:lnTo>
                  <a:lnTo>
                    <a:pt x="29053" y="83698"/>
                  </a:lnTo>
                  <a:lnTo>
                    <a:pt x="28850" y="83427"/>
                  </a:lnTo>
                  <a:lnTo>
                    <a:pt x="28646" y="83087"/>
                  </a:lnTo>
                  <a:lnTo>
                    <a:pt x="28510" y="82748"/>
                  </a:lnTo>
                  <a:lnTo>
                    <a:pt x="28442" y="82341"/>
                  </a:lnTo>
                  <a:lnTo>
                    <a:pt x="28442" y="82273"/>
                  </a:lnTo>
                  <a:lnTo>
                    <a:pt x="28510" y="81866"/>
                  </a:lnTo>
                  <a:lnTo>
                    <a:pt x="28646" y="81526"/>
                  </a:lnTo>
                  <a:lnTo>
                    <a:pt x="28782" y="81187"/>
                  </a:lnTo>
                  <a:lnTo>
                    <a:pt x="29053" y="80847"/>
                  </a:lnTo>
                  <a:lnTo>
                    <a:pt x="29325" y="80644"/>
                  </a:lnTo>
                  <a:lnTo>
                    <a:pt x="29664" y="80440"/>
                  </a:lnTo>
                  <a:lnTo>
                    <a:pt x="30071" y="80304"/>
                  </a:lnTo>
                  <a:close/>
                  <a:moveTo>
                    <a:pt x="3530" y="815"/>
                  </a:moveTo>
                  <a:lnTo>
                    <a:pt x="2987" y="883"/>
                  </a:lnTo>
                  <a:lnTo>
                    <a:pt x="2512" y="1019"/>
                  </a:lnTo>
                  <a:lnTo>
                    <a:pt x="2036" y="1290"/>
                  </a:lnTo>
                  <a:lnTo>
                    <a:pt x="1629" y="1630"/>
                  </a:lnTo>
                  <a:lnTo>
                    <a:pt x="1290" y="2037"/>
                  </a:lnTo>
                  <a:lnTo>
                    <a:pt x="1086" y="2512"/>
                  </a:lnTo>
                  <a:lnTo>
                    <a:pt x="950" y="2987"/>
                  </a:lnTo>
                  <a:lnTo>
                    <a:pt x="882" y="3530"/>
                  </a:lnTo>
                  <a:lnTo>
                    <a:pt x="882" y="82612"/>
                  </a:lnTo>
                  <a:lnTo>
                    <a:pt x="950" y="83155"/>
                  </a:lnTo>
                  <a:lnTo>
                    <a:pt x="1086" y="83698"/>
                  </a:lnTo>
                  <a:lnTo>
                    <a:pt x="1358" y="84174"/>
                  </a:lnTo>
                  <a:lnTo>
                    <a:pt x="1765" y="84581"/>
                  </a:lnTo>
                  <a:lnTo>
                    <a:pt x="2172" y="84852"/>
                  </a:lnTo>
                  <a:lnTo>
                    <a:pt x="2715" y="85124"/>
                  </a:lnTo>
                  <a:lnTo>
                    <a:pt x="3258" y="85260"/>
                  </a:lnTo>
                  <a:lnTo>
                    <a:pt x="3869" y="85328"/>
                  </a:lnTo>
                  <a:lnTo>
                    <a:pt x="57156" y="85328"/>
                  </a:lnTo>
                  <a:lnTo>
                    <a:pt x="57767" y="85260"/>
                  </a:lnTo>
                  <a:lnTo>
                    <a:pt x="58310" y="85124"/>
                  </a:lnTo>
                  <a:lnTo>
                    <a:pt x="58785" y="84852"/>
                  </a:lnTo>
                  <a:lnTo>
                    <a:pt x="59260" y="84513"/>
                  </a:lnTo>
                  <a:lnTo>
                    <a:pt x="59600" y="84106"/>
                  </a:lnTo>
                  <a:lnTo>
                    <a:pt x="59871" y="83631"/>
                  </a:lnTo>
                  <a:lnTo>
                    <a:pt x="60075" y="83087"/>
                  </a:lnTo>
                  <a:lnTo>
                    <a:pt x="60143" y="82477"/>
                  </a:lnTo>
                  <a:lnTo>
                    <a:pt x="60143" y="3530"/>
                  </a:lnTo>
                  <a:lnTo>
                    <a:pt x="60075" y="2987"/>
                  </a:lnTo>
                  <a:lnTo>
                    <a:pt x="59939" y="2512"/>
                  </a:lnTo>
                  <a:lnTo>
                    <a:pt x="59668" y="2037"/>
                  </a:lnTo>
                  <a:lnTo>
                    <a:pt x="59328" y="1630"/>
                  </a:lnTo>
                  <a:lnTo>
                    <a:pt x="58921" y="1290"/>
                  </a:lnTo>
                  <a:lnTo>
                    <a:pt x="58446" y="1019"/>
                  </a:lnTo>
                  <a:lnTo>
                    <a:pt x="57903" y="883"/>
                  </a:lnTo>
                  <a:lnTo>
                    <a:pt x="57360" y="815"/>
                  </a:lnTo>
                  <a:close/>
                  <a:moveTo>
                    <a:pt x="57971" y="679"/>
                  </a:moveTo>
                  <a:lnTo>
                    <a:pt x="58514" y="883"/>
                  </a:lnTo>
                  <a:lnTo>
                    <a:pt x="58989" y="1155"/>
                  </a:lnTo>
                  <a:lnTo>
                    <a:pt x="59464" y="1494"/>
                  </a:lnTo>
                  <a:lnTo>
                    <a:pt x="59804" y="1901"/>
                  </a:lnTo>
                  <a:lnTo>
                    <a:pt x="60075" y="2444"/>
                  </a:lnTo>
                  <a:lnTo>
                    <a:pt x="60211" y="2987"/>
                  </a:lnTo>
                  <a:lnTo>
                    <a:pt x="60279" y="3530"/>
                  </a:lnTo>
                  <a:lnTo>
                    <a:pt x="60279" y="82477"/>
                  </a:lnTo>
                  <a:lnTo>
                    <a:pt x="60211" y="83087"/>
                  </a:lnTo>
                  <a:lnTo>
                    <a:pt x="60075" y="83698"/>
                  </a:lnTo>
                  <a:lnTo>
                    <a:pt x="59736" y="84174"/>
                  </a:lnTo>
                  <a:lnTo>
                    <a:pt x="59396" y="84649"/>
                  </a:lnTo>
                  <a:lnTo>
                    <a:pt x="58921" y="84988"/>
                  </a:lnTo>
                  <a:lnTo>
                    <a:pt x="58378" y="85260"/>
                  </a:lnTo>
                  <a:lnTo>
                    <a:pt x="57767" y="85463"/>
                  </a:lnTo>
                  <a:lnTo>
                    <a:pt x="57156" y="85531"/>
                  </a:lnTo>
                  <a:lnTo>
                    <a:pt x="3869" y="85531"/>
                  </a:lnTo>
                  <a:lnTo>
                    <a:pt x="3190" y="85463"/>
                  </a:lnTo>
                  <a:lnTo>
                    <a:pt x="2647" y="85260"/>
                  </a:lnTo>
                  <a:lnTo>
                    <a:pt x="2104" y="84988"/>
                  </a:lnTo>
                  <a:lnTo>
                    <a:pt x="1629" y="84649"/>
                  </a:lnTo>
                  <a:lnTo>
                    <a:pt x="1222" y="84241"/>
                  </a:lnTo>
                  <a:lnTo>
                    <a:pt x="950" y="83766"/>
                  </a:lnTo>
                  <a:lnTo>
                    <a:pt x="747" y="83223"/>
                  </a:lnTo>
                  <a:lnTo>
                    <a:pt x="679" y="82612"/>
                  </a:lnTo>
                  <a:lnTo>
                    <a:pt x="679" y="3530"/>
                  </a:lnTo>
                  <a:lnTo>
                    <a:pt x="747" y="2987"/>
                  </a:lnTo>
                  <a:lnTo>
                    <a:pt x="950" y="2444"/>
                  </a:lnTo>
                  <a:lnTo>
                    <a:pt x="1154" y="1901"/>
                  </a:lnTo>
                  <a:lnTo>
                    <a:pt x="1561" y="1494"/>
                  </a:lnTo>
                  <a:lnTo>
                    <a:pt x="1969" y="1155"/>
                  </a:lnTo>
                  <a:lnTo>
                    <a:pt x="2444" y="883"/>
                  </a:lnTo>
                  <a:lnTo>
                    <a:pt x="2987" y="679"/>
                  </a:lnTo>
                  <a:close/>
                  <a:moveTo>
                    <a:pt x="3530" y="1"/>
                  </a:moveTo>
                  <a:lnTo>
                    <a:pt x="2851" y="68"/>
                  </a:lnTo>
                  <a:lnTo>
                    <a:pt x="2172" y="204"/>
                  </a:lnTo>
                  <a:lnTo>
                    <a:pt x="1561" y="544"/>
                  </a:lnTo>
                  <a:lnTo>
                    <a:pt x="1018" y="1019"/>
                  </a:lnTo>
                  <a:lnTo>
                    <a:pt x="611" y="1562"/>
                  </a:lnTo>
                  <a:lnTo>
                    <a:pt x="272" y="2173"/>
                  </a:lnTo>
                  <a:lnTo>
                    <a:pt x="68" y="2852"/>
                  </a:lnTo>
                  <a:lnTo>
                    <a:pt x="0" y="3530"/>
                  </a:lnTo>
                  <a:lnTo>
                    <a:pt x="0" y="82612"/>
                  </a:lnTo>
                  <a:lnTo>
                    <a:pt x="68" y="83359"/>
                  </a:lnTo>
                  <a:lnTo>
                    <a:pt x="339" y="84038"/>
                  </a:lnTo>
                  <a:lnTo>
                    <a:pt x="679" y="84649"/>
                  </a:lnTo>
                  <a:lnTo>
                    <a:pt x="1154" y="85124"/>
                  </a:lnTo>
                  <a:lnTo>
                    <a:pt x="1697" y="85599"/>
                  </a:lnTo>
                  <a:lnTo>
                    <a:pt x="2376" y="85938"/>
                  </a:lnTo>
                  <a:lnTo>
                    <a:pt x="3055" y="86142"/>
                  </a:lnTo>
                  <a:lnTo>
                    <a:pt x="3869" y="86210"/>
                  </a:lnTo>
                  <a:lnTo>
                    <a:pt x="57156" y="86210"/>
                  </a:lnTo>
                  <a:lnTo>
                    <a:pt x="57903" y="86142"/>
                  </a:lnTo>
                  <a:lnTo>
                    <a:pt x="58582" y="85938"/>
                  </a:lnTo>
                  <a:lnTo>
                    <a:pt x="59260" y="85599"/>
                  </a:lnTo>
                  <a:lnTo>
                    <a:pt x="59804" y="85124"/>
                  </a:lnTo>
                  <a:lnTo>
                    <a:pt x="60347" y="84581"/>
                  </a:lnTo>
                  <a:lnTo>
                    <a:pt x="60686" y="83970"/>
                  </a:lnTo>
                  <a:lnTo>
                    <a:pt x="60890" y="83223"/>
                  </a:lnTo>
                  <a:lnTo>
                    <a:pt x="60957" y="82477"/>
                  </a:lnTo>
                  <a:lnTo>
                    <a:pt x="60957" y="3530"/>
                  </a:lnTo>
                  <a:lnTo>
                    <a:pt x="60890" y="2852"/>
                  </a:lnTo>
                  <a:lnTo>
                    <a:pt x="60686" y="2173"/>
                  </a:lnTo>
                  <a:lnTo>
                    <a:pt x="60347" y="1562"/>
                  </a:lnTo>
                  <a:lnTo>
                    <a:pt x="59939" y="1019"/>
                  </a:lnTo>
                  <a:lnTo>
                    <a:pt x="59396" y="544"/>
                  </a:lnTo>
                  <a:lnTo>
                    <a:pt x="58785" y="204"/>
                  </a:lnTo>
                  <a:lnTo>
                    <a:pt x="58106" y="68"/>
                  </a:lnTo>
                  <a:lnTo>
                    <a:pt x="57360" y="1"/>
                  </a:lnTo>
                  <a:close/>
                </a:path>
              </a:pathLst>
            </a:custGeom>
            <a:grpFill/>
            <a:ln w="952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22" name="Google Shape;254;p33">
              <a:extLst>
                <a:ext uri="{FF2B5EF4-FFF2-40B4-BE49-F238E27FC236}">
                  <a16:creationId xmlns:a16="http://schemas.microsoft.com/office/drawing/2014/main" id="{C9D9DFBA-A33B-42C1-B7DF-BF47671853BC}"/>
                </a:ext>
              </a:extLst>
            </p:cNvPr>
            <p:cNvSpPr/>
            <p:nvPr/>
          </p:nvSpPr>
          <p:spPr>
            <a:xfrm>
              <a:off x="6343733" y="1213767"/>
              <a:ext cx="3324400" cy="4444800"/>
            </a:xfrm>
            <a:prstGeom prst="rect">
              <a:avLst/>
            </a:prstGeom>
            <a:grpFill/>
            <a:ln>
              <a:noFill/>
            </a:ln>
          </p:spPr>
          <p:txBody>
            <a:bodyPr spcFirstLastPara="1" wrap="square" lIns="121900" tIns="121900" rIns="121900" bIns="121900" anchor="ctr" anchorCtr="0">
              <a:noAutofit/>
            </a:bodyPr>
            <a:lstStyle/>
            <a:p>
              <a:pPr algn="ctr"/>
              <a:r>
                <a:rPr lang="en" sz="1067" i="1">
                  <a:solidFill>
                    <a:srgbClr val="FFFFFF"/>
                  </a:solidFill>
                  <a:latin typeface="Libre Baskerville"/>
                  <a:ea typeface="Libre Baskerville"/>
                  <a:cs typeface="Libre Baskerville"/>
                  <a:sym typeface="Libre Baskerville"/>
                </a:rPr>
                <a:t>Place your screenshot here</a:t>
              </a:r>
              <a:endParaRPr sz="1067" i="1">
                <a:solidFill>
                  <a:srgbClr val="FFFFFF"/>
                </a:solidFill>
                <a:latin typeface="Libre Baskerville"/>
                <a:ea typeface="Libre Baskerville"/>
                <a:cs typeface="Libre Baskerville"/>
                <a:sym typeface="Libre Baskerville"/>
              </a:endParaRPr>
            </a:p>
          </p:txBody>
        </p:sp>
      </p:grpSp>
      <p:sp>
        <p:nvSpPr>
          <p:cNvPr id="39" name="Rectangle 6">
            <a:extLst>
              <a:ext uri="{FF2B5EF4-FFF2-40B4-BE49-F238E27FC236}">
                <a16:creationId xmlns:a16="http://schemas.microsoft.com/office/drawing/2014/main" id="{73F466E3-4A1C-4F3C-8D41-557D758E8F2B}"/>
              </a:ext>
            </a:extLst>
          </p:cNvPr>
          <p:cNvSpPr/>
          <p:nvPr/>
        </p:nvSpPr>
        <p:spPr>
          <a:xfrm>
            <a:off x="355601" y="0"/>
            <a:ext cx="4798227"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6">
            <a:extLst>
              <a:ext uri="{FF2B5EF4-FFF2-40B4-BE49-F238E27FC236}">
                <a16:creationId xmlns:a16="http://schemas.microsoft.com/office/drawing/2014/main" id="{8B55C193-579B-41F1-8950-EE0561C0E521}"/>
              </a:ext>
            </a:extLst>
          </p:cNvPr>
          <p:cNvSpPr/>
          <p:nvPr/>
        </p:nvSpPr>
        <p:spPr>
          <a:xfrm>
            <a:off x="222251" y="0"/>
            <a:ext cx="4722478"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6">
            <a:extLst>
              <a:ext uri="{FF2B5EF4-FFF2-40B4-BE49-F238E27FC236}">
                <a16:creationId xmlns:a16="http://schemas.microsoft.com/office/drawing/2014/main" id="{B5C70F30-87F9-49E7-946B-AEFA22A72569}"/>
              </a:ext>
            </a:extLst>
          </p:cNvPr>
          <p:cNvSpPr/>
          <p:nvPr/>
        </p:nvSpPr>
        <p:spPr>
          <a:xfrm>
            <a:off x="88900" y="0"/>
            <a:ext cx="4604753"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32" descr="Close-up of a pen writing on a chart">
            <a:extLst>
              <a:ext uri="{FF2B5EF4-FFF2-40B4-BE49-F238E27FC236}">
                <a16:creationId xmlns:a16="http://schemas.microsoft.com/office/drawing/2014/main" id="{6B0A5532-14D8-42B9-B21F-D0C438D5F188}"/>
              </a:ext>
            </a:extLst>
          </p:cNvPr>
          <p:cNvPicPr>
            <a:picLocks noChangeAspect="1"/>
          </p:cNvPicPr>
          <p:nvPr/>
        </p:nvPicPr>
        <p:blipFill>
          <a:blip r:embed="rId5" cstate="screen">
            <a:extLst>
              <a:ext uri="{28A0092B-C50C-407E-A947-70E740481C1C}">
                <a14:useLocalDpi xmlns:a14="http://schemas.microsoft.com/office/drawing/2010/main" val="0"/>
              </a:ext>
            </a:extLst>
          </a:blip>
          <a:srcRect/>
          <a:stretch/>
        </p:blipFill>
        <p:spPr>
          <a:xfrm>
            <a:off x="-295525" y="0"/>
            <a:ext cx="4786407" cy="6858000"/>
          </a:xfrm>
          <a:custGeom>
            <a:avLst/>
            <a:gdLst>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close/>
              </a:path>
            </a:pathLst>
          </a:custGeom>
        </p:spPr>
      </p:pic>
      <p:graphicFrame>
        <p:nvGraphicFramePr>
          <p:cNvPr id="4" name="Object 3" hidden="1">
            <a:extLst>
              <a:ext uri="{FF2B5EF4-FFF2-40B4-BE49-F238E27FC236}">
                <a16:creationId xmlns:a16="http://schemas.microsoft.com/office/drawing/2014/main" id="{8C8FA7AC-B37F-4E1E-AFD9-DAA70D9E71C5}"/>
              </a:ext>
            </a:extLst>
          </p:cNvPr>
          <p:cNvGraphicFramePr>
            <a:graphicFrameLocks noChangeAspect="1"/>
          </p:cNvGraphicFramePr>
          <p:nvPr>
            <p:custDataLst>
              <p:tags r:id="rId2"/>
            </p:custDataLst>
            <p:extLst>
              <p:ext uri="{D42A27DB-BD31-4B8C-83A1-F6EECF244321}">
                <p14:modId xmlns:p14="http://schemas.microsoft.com/office/powerpoint/2010/main" val="2023803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4" name="Rectangle 6">
            <a:extLst>
              <a:ext uri="{FF2B5EF4-FFF2-40B4-BE49-F238E27FC236}">
                <a16:creationId xmlns:a16="http://schemas.microsoft.com/office/drawing/2014/main" id="{B018D872-74EC-4C12-835A-5F484647A850}"/>
              </a:ext>
            </a:extLst>
          </p:cNvPr>
          <p:cNvSpPr/>
          <p:nvPr/>
        </p:nvSpPr>
        <p:spPr>
          <a:xfrm>
            <a:off x="-321408" y="0"/>
            <a:ext cx="4860095"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a:extLst>
              <a:ext uri="{FF2B5EF4-FFF2-40B4-BE49-F238E27FC236}">
                <a16:creationId xmlns:a16="http://schemas.microsoft.com/office/drawing/2014/main" id="{3B62D48D-742F-4585-97E7-27E04C1E73AB}"/>
              </a:ext>
            </a:extLst>
          </p:cNvPr>
          <p:cNvSpPr/>
          <p:nvPr/>
        </p:nvSpPr>
        <p:spPr>
          <a:xfrm>
            <a:off x="10239552" y="0"/>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6A810F44-2B55-464B-BB8C-B14B9A679EA9}"/>
              </a:ext>
            </a:extLst>
          </p:cNvPr>
          <p:cNvCxnSpPr>
            <a:cxnSpLocks/>
          </p:cNvCxnSpPr>
          <p:nvPr/>
        </p:nvCxnSpPr>
        <p:spPr>
          <a:xfrm>
            <a:off x="8042228" y="6646816"/>
            <a:ext cx="831508" cy="0"/>
          </a:xfrm>
          <a:prstGeom prst="line">
            <a:avLst/>
          </a:prstGeom>
          <a:ln w="127000">
            <a:gradFill flip="none" rotWithShape="1">
              <a:gsLst>
                <a:gs pos="0">
                  <a:schemeClr val="accent2">
                    <a:lumMod val="75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2" name="Slide Number Placeholder 41">
            <a:extLst>
              <a:ext uri="{FF2B5EF4-FFF2-40B4-BE49-F238E27FC236}">
                <a16:creationId xmlns:a16="http://schemas.microsoft.com/office/drawing/2014/main" id="{7681E91A-08DB-47B4-A0B7-DCF410E8C00E}"/>
              </a:ext>
            </a:extLst>
          </p:cNvPr>
          <p:cNvSpPr>
            <a:spLocks noGrp="1"/>
          </p:cNvSpPr>
          <p:nvPr>
            <p:ph type="sldNum" sz="quarter" idx="4"/>
          </p:nvPr>
        </p:nvSpPr>
        <p:spPr/>
        <p:txBody>
          <a:bodyPr/>
          <a:lstStyle/>
          <a:p>
            <a:fld id="{B84D2E29-67F4-44D8-B0E3-F54815B4F123}" type="slidenum">
              <a:rPr lang="en-US" smtClean="0"/>
              <a:pPr/>
              <a:t>20</a:t>
            </a:fld>
            <a:endParaRPr lang="en-US" dirty="0"/>
          </a:p>
        </p:txBody>
      </p:sp>
      <p:sp>
        <p:nvSpPr>
          <p:cNvPr id="17" name="Title 7">
            <a:extLst>
              <a:ext uri="{FF2B5EF4-FFF2-40B4-BE49-F238E27FC236}">
                <a16:creationId xmlns:a16="http://schemas.microsoft.com/office/drawing/2014/main" id="{F08A7E58-5FC3-4E27-8C45-D4483FF2B525}"/>
              </a:ext>
            </a:extLst>
          </p:cNvPr>
          <p:cNvSpPr>
            <a:spLocks noGrp="1"/>
          </p:cNvSpPr>
          <p:nvPr>
            <p:ph type="title"/>
          </p:nvPr>
        </p:nvSpPr>
        <p:spPr>
          <a:xfrm>
            <a:off x="13152" y="70186"/>
            <a:ext cx="4039972" cy="2016030"/>
          </a:xfrm>
        </p:spPr>
        <p:txBody>
          <a:bodyPr>
            <a:noAutofit/>
          </a:bodyPr>
          <a:lstStyle/>
          <a:p>
            <a:r>
              <a:rPr lang="en-US" sz="4400" dirty="0">
                <a:solidFill>
                  <a:schemeClr val="bg1"/>
                </a:solidFill>
                <a:latin typeface="Baskerville Old Face" panose="02020602080505020303" pitchFamily="18" charset="0"/>
              </a:rPr>
              <a:t>KNN - K Nearest Neighbors </a:t>
            </a:r>
            <a:br>
              <a:rPr lang="en-US" sz="4400" dirty="0">
                <a:solidFill>
                  <a:schemeClr val="bg1"/>
                </a:solidFill>
                <a:latin typeface="Baskerville Old Face" panose="02020602080505020303" pitchFamily="18" charset="0"/>
              </a:rPr>
            </a:br>
            <a:r>
              <a:rPr lang="en-US" sz="4400" dirty="0">
                <a:solidFill>
                  <a:schemeClr val="bg1"/>
                </a:solidFill>
                <a:latin typeface="Baskerville Old Face" panose="02020602080505020303" pitchFamily="18" charset="0"/>
              </a:rPr>
              <a:t>(</a:t>
            </a:r>
            <a:r>
              <a:rPr lang="en-US" sz="2000" dirty="0">
                <a:solidFill>
                  <a:schemeClr val="bg1"/>
                </a:solidFill>
                <a:latin typeface="Baskerville Old Face" panose="02020602080505020303" pitchFamily="18" charset="0"/>
              </a:rPr>
              <a:t>The best n_neighbors=8</a:t>
            </a:r>
            <a:r>
              <a:rPr lang="en-US" sz="4400" dirty="0">
                <a:solidFill>
                  <a:schemeClr val="bg1"/>
                </a:solidFill>
                <a:latin typeface="Baskerville Old Face" panose="02020602080505020303" pitchFamily="18" charset="0"/>
              </a:rPr>
              <a:t>)</a:t>
            </a:r>
          </a:p>
        </p:txBody>
      </p:sp>
      <p:sp>
        <p:nvSpPr>
          <p:cNvPr id="15" name="TextBox 48">
            <a:extLst>
              <a:ext uri="{FF2B5EF4-FFF2-40B4-BE49-F238E27FC236}">
                <a16:creationId xmlns:a16="http://schemas.microsoft.com/office/drawing/2014/main" id="{F9BAA624-2F21-4926-912B-1C057C015006}"/>
              </a:ext>
            </a:extLst>
          </p:cNvPr>
          <p:cNvSpPr txBox="1"/>
          <p:nvPr/>
        </p:nvSpPr>
        <p:spPr>
          <a:xfrm>
            <a:off x="5287178" y="197422"/>
            <a:ext cx="5994240" cy="1384995"/>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solidFill>
                  <a:srgbClr val="652D74"/>
                </a:solidFill>
                <a:effectLst/>
                <a:latin typeface="Book Antiqua" panose="02040602050305030304" pitchFamily="18" charset="0"/>
              </a:rPr>
              <a:t>The accuracy of the KNN is {0.7416}</a:t>
            </a:r>
          </a:p>
          <a:p>
            <a:pPr algn="l"/>
            <a:r>
              <a:rPr lang="en-US" b="0" i="0" dirty="0">
                <a:solidFill>
                  <a:srgbClr val="652D74"/>
                </a:solidFill>
                <a:effectLst/>
                <a:latin typeface="Book Antiqua" panose="02040602050305030304" pitchFamily="18" charset="0"/>
              </a:rPr>
              <a:t>Now the accuracy for the KNN model changes as we change the values for n_neighbours attribute. The default value is 5. Lets check the accuracies over various values of n_neighbours.</a:t>
            </a:r>
          </a:p>
        </p:txBody>
      </p:sp>
      <p:pic>
        <p:nvPicPr>
          <p:cNvPr id="6" name="Picture 5">
            <a:extLst>
              <a:ext uri="{FF2B5EF4-FFF2-40B4-BE49-F238E27FC236}">
                <a16:creationId xmlns:a16="http://schemas.microsoft.com/office/drawing/2014/main" id="{CD48982D-E360-4F9C-A5F6-C68AFCF33C19}"/>
              </a:ext>
            </a:extLst>
          </p:cNvPr>
          <p:cNvPicPr>
            <a:picLocks noChangeAspect="1"/>
          </p:cNvPicPr>
          <p:nvPr/>
        </p:nvPicPr>
        <p:blipFill>
          <a:blip r:embed="rId8"/>
          <a:stretch>
            <a:fillRect/>
          </a:stretch>
        </p:blipFill>
        <p:spPr>
          <a:xfrm>
            <a:off x="5546585" y="2134063"/>
            <a:ext cx="5933446" cy="3675822"/>
          </a:xfrm>
          <a:prstGeom prst="rect">
            <a:avLst/>
          </a:prstGeom>
        </p:spPr>
      </p:pic>
      <p:sp>
        <p:nvSpPr>
          <p:cNvPr id="18" name="Slide Number Placeholder 3">
            <a:extLst>
              <a:ext uri="{FF2B5EF4-FFF2-40B4-BE49-F238E27FC236}">
                <a16:creationId xmlns:a16="http://schemas.microsoft.com/office/drawing/2014/main" id="{6162587B-9F3B-48C7-AD45-B2545B3BB1AC}"/>
              </a:ext>
            </a:extLst>
          </p:cNvPr>
          <p:cNvSpPr txBox="1">
            <a:spLocks/>
          </p:cNvSpPr>
          <p:nvPr/>
        </p:nvSpPr>
        <p:spPr>
          <a:xfrm>
            <a:off x="11688493" y="6475409"/>
            <a:ext cx="341760" cy="276999"/>
          </a:xfrm>
          <a:prstGeom prst="rect">
            <a:avLst/>
          </a:prstGeom>
        </p:spPr>
        <p:txBody>
          <a:bodyPr wrap="none" anchor="ctr">
            <a:spAutoFit/>
          </a:bodyP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4D2E29-67F4-44D8-B0E3-F54815B4F123}" type="slidenum">
              <a:rPr lang="en-US" b="1" smtClean="0">
                <a:solidFill>
                  <a:srgbClr val="652D74"/>
                </a:solidFill>
                <a:latin typeface="Calibri" panose="020F0502020204030204"/>
              </a:rPr>
              <a:pPr/>
              <a:t>20</a:t>
            </a:fld>
            <a:endParaRPr lang="en-US" b="1" dirty="0">
              <a:solidFill>
                <a:srgbClr val="652D74"/>
              </a:solidFill>
              <a:latin typeface="Calibri" panose="020F0502020204030204"/>
            </a:endParaRPr>
          </a:p>
        </p:txBody>
      </p:sp>
      <p:pic>
        <p:nvPicPr>
          <p:cNvPr id="3" name="Picture 2">
            <a:extLst>
              <a:ext uri="{FF2B5EF4-FFF2-40B4-BE49-F238E27FC236}">
                <a16:creationId xmlns:a16="http://schemas.microsoft.com/office/drawing/2014/main" id="{CD6A0727-65E2-4EFA-85DE-4A147D04BD91}"/>
              </a:ext>
            </a:extLst>
          </p:cNvPr>
          <p:cNvPicPr>
            <a:picLocks noChangeAspect="1"/>
          </p:cNvPicPr>
          <p:nvPr/>
        </p:nvPicPr>
        <p:blipFill>
          <a:blip r:embed="rId9"/>
          <a:stretch>
            <a:fillRect/>
          </a:stretch>
        </p:blipFill>
        <p:spPr>
          <a:xfrm>
            <a:off x="-157766" y="5113077"/>
            <a:ext cx="4172532" cy="1533739"/>
          </a:xfrm>
          <a:prstGeom prst="rect">
            <a:avLst/>
          </a:prstGeom>
        </p:spPr>
      </p:pic>
      <p:sp>
        <p:nvSpPr>
          <p:cNvPr id="25" name="TextBox 24">
            <a:extLst>
              <a:ext uri="{FF2B5EF4-FFF2-40B4-BE49-F238E27FC236}">
                <a16:creationId xmlns:a16="http://schemas.microsoft.com/office/drawing/2014/main" id="{B5D5321B-2114-4F0E-A7D6-838E24663603}"/>
              </a:ext>
            </a:extLst>
          </p:cNvPr>
          <p:cNvSpPr txBox="1"/>
          <p:nvPr/>
        </p:nvSpPr>
        <p:spPr>
          <a:xfrm>
            <a:off x="-107700" y="4479397"/>
            <a:ext cx="3943350" cy="584775"/>
          </a:xfrm>
          <a:prstGeom prst="rect">
            <a:avLst/>
          </a:prstGeom>
          <a:noFill/>
        </p:spPr>
        <p:txBody>
          <a:bodyPr wrap="square">
            <a:spAutoFit/>
          </a:bodyPr>
          <a:lstStyle/>
          <a:p>
            <a:r>
              <a:rPr lang="en-US" sz="1600" dirty="0">
                <a:solidFill>
                  <a:schemeClr val="bg1"/>
                </a:solidFill>
                <a:latin typeface="Book Antiqua" panose="02040602050305030304" pitchFamily="18" charset="0"/>
              </a:rPr>
              <a:t>The accuracy on training set is 0.820</a:t>
            </a:r>
          </a:p>
          <a:p>
            <a:r>
              <a:rPr lang="en-US" sz="1600" dirty="0">
                <a:solidFill>
                  <a:schemeClr val="bg1"/>
                </a:solidFill>
                <a:latin typeface="Book Antiqua" panose="02040602050305030304" pitchFamily="18" charset="0"/>
              </a:rPr>
              <a:t>The accuracy on test is 0.774</a:t>
            </a:r>
            <a:endParaRPr lang="en-IL" sz="1600" dirty="0">
              <a:solidFill>
                <a:schemeClr val="bg1"/>
              </a:solidFill>
              <a:latin typeface="Book Antiqua" panose="02040602050305030304" pitchFamily="18" charset="0"/>
            </a:endParaRPr>
          </a:p>
        </p:txBody>
      </p:sp>
    </p:spTree>
    <p:extLst>
      <p:ext uri="{BB962C8B-B14F-4D97-AF65-F5344CB8AC3E}">
        <p14:creationId xmlns:p14="http://schemas.microsoft.com/office/powerpoint/2010/main" val="22354613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Shape 260"/>
        <p:cNvGrpSpPr/>
        <p:nvPr/>
      </p:nvGrpSpPr>
      <p:grpSpPr>
        <a:xfrm>
          <a:off x="0" y="0"/>
          <a:ext cx="0" cy="0"/>
          <a:chOff x="0" y="0"/>
          <a:chExt cx="0" cy="0"/>
        </a:xfrm>
      </p:grpSpPr>
      <p:sp>
        <p:nvSpPr>
          <p:cNvPr id="22" name="Rectangle 34">
            <a:extLst>
              <a:ext uri="{FF2B5EF4-FFF2-40B4-BE49-F238E27FC236}">
                <a16:creationId xmlns:a16="http://schemas.microsoft.com/office/drawing/2014/main" id="{61A6A87E-1174-45FA-A43E-5B83D3C384D8}"/>
              </a:ext>
            </a:extLst>
          </p:cNvPr>
          <p:cNvSpPr/>
          <p:nvPr/>
        </p:nvSpPr>
        <p:spPr>
          <a:xfrm flipV="1">
            <a:off x="-9832" y="0"/>
            <a:ext cx="12201832" cy="6858000"/>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59199" y="93304"/>
                  <a:pt x="0" y="0"/>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3" name="Picture 12" descr="Close-up of a pen writing on a chart">
            <a:extLst>
              <a:ext uri="{FF2B5EF4-FFF2-40B4-BE49-F238E27FC236}">
                <a16:creationId xmlns:a16="http://schemas.microsoft.com/office/drawing/2014/main" id="{888C0937-2508-4D4A-B8B8-F49CC58ED54E}"/>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8329" y="-10352"/>
            <a:ext cx="12208323" cy="1388603"/>
          </a:xfrm>
          <a:prstGeom prst="rect">
            <a:avLst/>
          </a:prstGeom>
        </p:spPr>
      </p:pic>
      <p:sp>
        <p:nvSpPr>
          <p:cNvPr id="17" name="Rectangle 16">
            <a:extLst>
              <a:ext uri="{FF2B5EF4-FFF2-40B4-BE49-F238E27FC236}">
                <a16:creationId xmlns:a16="http://schemas.microsoft.com/office/drawing/2014/main" id="{D8ED9C95-9559-428A-8A1A-133005EC5F8A}"/>
              </a:ext>
            </a:extLst>
          </p:cNvPr>
          <p:cNvSpPr/>
          <p:nvPr/>
        </p:nvSpPr>
        <p:spPr>
          <a:xfrm>
            <a:off x="-2894" y="-16191"/>
            <a:ext cx="12192000" cy="1407391"/>
          </a:xfrm>
          <a:prstGeom prst="rect">
            <a:avLst/>
          </a:pr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64" name="Google Shape;264;p34"/>
          <p:cNvSpPr txBox="1">
            <a:spLocks noGrp="1"/>
          </p:cNvSpPr>
          <p:nvPr>
            <p:ph type="sldNum" idx="12"/>
          </p:nvPr>
        </p:nvSpPr>
        <p:spPr>
          <a:xfrm>
            <a:off x="-167" y="6333133"/>
            <a:ext cx="12192000" cy="524800"/>
          </a:xfrm>
          <a:prstGeom prst="rect">
            <a:avLst/>
          </a:prstGeom>
        </p:spPr>
        <p:txBody>
          <a:bodyPr spcFirstLastPara="1" wrap="square" lIns="121900" tIns="121900" rIns="121900" bIns="121900" anchor="t" anchorCtr="0">
            <a:noAutofit/>
          </a:bodyPr>
          <a:lstStyle/>
          <a:p>
            <a:fld id="{00000000-1234-1234-1234-123412341234}" type="slidenum">
              <a:rPr lang="en"/>
              <a:pPr/>
              <a:t>21</a:t>
            </a:fld>
            <a:endParaRPr/>
          </a:p>
        </p:txBody>
      </p:sp>
      <p:grpSp>
        <p:nvGrpSpPr>
          <p:cNvPr id="2" name="Group 1">
            <a:extLst>
              <a:ext uri="{FF2B5EF4-FFF2-40B4-BE49-F238E27FC236}">
                <a16:creationId xmlns:a16="http://schemas.microsoft.com/office/drawing/2014/main" id="{2C6A3348-0654-4D67-9B52-777BFA34A9A3}"/>
              </a:ext>
            </a:extLst>
          </p:cNvPr>
          <p:cNvGrpSpPr/>
          <p:nvPr/>
        </p:nvGrpSpPr>
        <p:grpSpPr>
          <a:xfrm>
            <a:off x="552553" y="1663195"/>
            <a:ext cx="7477125" cy="4773421"/>
            <a:chOff x="4048125" y="1724025"/>
            <a:chExt cx="7477125" cy="4773421"/>
          </a:xfrm>
          <a:solidFill>
            <a:srgbClr val="DBCBD8"/>
          </a:solidFill>
        </p:grpSpPr>
        <p:sp>
          <p:nvSpPr>
            <p:cNvPr id="261" name="Google Shape;261;p34"/>
            <p:cNvSpPr/>
            <p:nvPr/>
          </p:nvSpPr>
          <p:spPr>
            <a:xfrm>
              <a:off x="4048125" y="1724025"/>
              <a:ext cx="7477125" cy="4773421"/>
            </a:xfrm>
            <a:custGeom>
              <a:avLst/>
              <a:gdLst/>
              <a:ahLst/>
              <a:cxnLst/>
              <a:rect l="l" t="t" r="r" b="b"/>
              <a:pathLst>
                <a:path w="143434" h="111665" extrusionOk="0">
                  <a:moveTo>
                    <a:pt x="71751" y="2308"/>
                  </a:moveTo>
                  <a:lnTo>
                    <a:pt x="71887" y="2376"/>
                  </a:lnTo>
                  <a:lnTo>
                    <a:pt x="72091" y="2444"/>
                  </a:lnTo>
                  <a:lnTo>
                    <a:pt x="72159" y="2647"/>
                  </a:lnTo>
                  <a:lnTo>
                    <a:pt x="72226" y="2783"/>
                  </a:lnTo>
                  <a:lnTo>
                    <a:pt x="72159" y="2987"/>
                  </a:lnTo>
                  <a:lnTo>
                    <a:pt x="72091" y="3190"/>
                  </a:lnTo>
                  <a:lnTo>
                    <a:pt x="71887" y="3258"/>
                  </a:lnTo>
                  <a:lnTo>
                    <a:pt x="71751" y="3326"/>
                  </a:lnTo>
                  <a:lnTo>
                    <a:pt x="71548" y="3258"/>
                  </a:lnTo>
                  <a:lnTo>
                    <a:pt x="71344" y="3190"/>
                  </a:lnTo>
                  <a:lnTo>
                    <a:pt x="71276" y="2987"/>
                  </a:lnTo>
                  <a:lnTo>
                    <a:pt x="71208" y="2783"/>
                  </a:lnTo>
                  <a:lnTo>
                    <a:pt x="71276" y="2647"/>
                  </a:lnTo>
                  <a:lnTo>
                    <a:pt x="71344" y="2444"/>
                  </a:lnTo>
                  <a:lnTo>
                    <a:pt x="71548" y="2376"/>
                  </a:lnTo>
                  <a:lnTo>
                    <a:pt x="71751" y="2308"/>
                  </a:lnTo>
                  <a:close/>
                  <a:moveTo>
                    <a:pt x="137528" y="5906"/>
                  </a:moveTo>
                  <a:lnTo>
                    <a:pt x="137596" y="5974"/>
                  </a:lnTo>
                  <a:lnTo>
                    <a:pt x="137596" y="89604"/>
                  </a:lnTo>
                  <a:lnTo>
                    <a:pt x="5906" y="89604"/>
                  </a:lnTo>
                  <a:lnTo>
                    <a:pt x="5906" y="5974"/>
                  </a:lnTo>
                  <a:lnTo>
                    <a:pt x="5906" y="5906"/>
                  </a:lnTo>
                  <a:close/>
                  <a:moveTo>
                    <a:pt x="3530" y="0"/>
                  </a:moveTo>
                  <a:lnTo>
                    <a:pt x="3191" y="68"/>
                  </a:lnTo>
                  <a:lnTo>
                    <a:pt x="2444" y="339"/>
                  </a:lnTo>
                  <a:lnTo>
                    <a:pt x="1766" y="679"/>
                  </a:lnTo>
                  <a:lnTo>
                    <a:pt x="1155" y="1154"/>
                  </a:lnTo>
                  <a:lnTo>
                    <a:pt x="679" y="1765"/>
                  </a:lnTo>
                  <a:lnTo>
                    <a:pt x="272" y="2444"/>
                  </a:lnTo>
                  <a:lnTo>
                    <a:pt x="69" y="3190"/>
                  </a:lnTo>
                  <a:lnTo>
                    <a:pt x="1" y="3598"/>
                  </a:lnTo>
                  <a:lnTo>
                    <a:pt x="1" y="4005"/>
                  </a:lnTo>
                  <a:lnTo>
                    <a:pt x="1" y="91572"/>
                  </a:lnTo>
                  <a:lnTo>
                    <a:pt x="1" y="91979"/>
                  </a:lnTo>
                  <a:lnTo>
                    <a:pt x="69" y="92319"/>
                  </a:lnTo>
                  <a:lnTo>
                    <a:pt x="272" y="93065"/>
                  </a:lnTo>
                  <a:lnTo>
                    <a:pt x="679" y="93744"/>
                  </a:lnTo>
                  <a:lnTo>
                    <a:pt x="1155" y="94355"/>
                  </a:lnTo>
                  <a:lnTo>
                    <a:pt x="1766" y="94830"/>
                  </a:lnTo>
                  <a:lnTo>
                    <a:pt x="2444" y="95238"/>
                  </a:lnTo>
                  <a:lnTo>
                    <a:pt x="3191" y="95441"/>
                  </a:lnTo>
                  <a:lnTo>
                    <a:pt x="3530" y="95509"/>
                  </a:lnTo>
                  <a:lnTo>
                    <a:pt x="139904" y="95509"/>
                  </a:lnTo>
                  <a:lnTo>
                    <a:pt x="140311" y="95441"/>
                  </a:lnTo>
                  <a:lnTo>
                    <a:pt x="141058" y="95238"/>
                  </a:lnTo>
                  <a:lnTo>
                    <a:pt x="141737" y="94830"/>
                  </a:lnTo>
                  <a:lnTo>
                    <a:pt x="142280" y="94355"/>
                  </a:lnTo>
                  <a:lnTo>
                    <a:pt x="142755" y="93744"/>
                  </a:lnTo>
                  <a:lnTo>
                    <a:pt x="143162" y="93065"/>
                  </a:lnTo>
                  <a:lnTo>
                    <a:pt x="143366" y="92319"/>
                  </a:lnTo>
                  <a:lnTo>
                    <a:pt x="143434" y="91979"/>
                  </a:lnTo>
                  <a:lnTo>
                    <a:pt x="143434" y="91572"/>
                  </a:lnTo>
                  <a:lnTo>
                    <a:pt x="143434" y="4005"/>
                  </a:lnTo>
                  <a:lnTo>
                    <a:pt x="143434" y="3598"/>
                  </a:lnTo>
                  <a:lnTo>
                    <a:pt x="143366" y="3190"/>
                  </a:lnTo>
                  <a:lnTo>
                    <a:pt x="143162" y="2444"/>
                  </a:lnTo>
                  <a:lnTo>
                    <a:pt x="142755" y="1765"/>
                  </a:lnTo>
                  <a:lnTo>
                    <a:pt x="142280" y="1154"/>
                  </a:lnTo>
                  <a:lnTo>
                    <a:pt x="141737" y="679"/>
                  </a:lnTo>
                  <a:lnTo>
                    <a:pt x="141058" y="339"/>
                  </a:lnTo>
                  <a:lnTo>
                    <a:pt x="140311" y="68"/>
                  </a:lnTo>
                  <a:lnTo>
                    <a:pt x="139904" y="0"/>
                  </a:lnTo>
                  <a:close/>
                  <a:moveTo>
                    <a:pt x="55324" y="95713"/>
                  </a:moveTo>
                  <a:lnTo>
                    <a:pt x="55052" y="98971"/>
                  </a:lnTo>
                  <a:lnTo>
                    <a:pt x="54713" y="102297"/>
                  </a:lnTo>
                  <a:lnTo>
                    <a:pt x="54374" y="105284"/>
                  </a:lnTo>
                  <a:lnTo>
                    <a:pt x="53966" y="107388"/>
                  </a:lnTo>
                  <a:lnTo>
                    <a:pt x="53763" y="108203"/>
                  </a:lnTo>
                  <a:lnTo>
                    <a:pt x="53627" y="108746"/>
                  </a:lnTo>
                  <a:lnTo>
                    <a:pt x="53423" y="109153"/>
                  </a:lnTo>
                  <a:lnTo>
                    <a:pt x="53220" y="109357"/>
                  </a:lnTo>
                  <a:lnTo>
                    <a:pt x="52677" y="109493"/>
                  </a:lnTo>
                  <a:lnTo>
                    <a:pt x="51794" y="109696"/>
                  </a:lnTo>
                  <a:lnTo>
                    <a:pt x="49690" y="110036"/>
                  </a:lnTo>
                  <a:lnTo>
                    <a:pt x="48061" y="110307"/>
                  </a:lnTo>
                  <a:lnTo>
                    <a:pt x="47450" y="110443"/>
                  </a:lnTo>
                  <a:lnTo>
                    <a:pt x="47110" y="110511"/>
                  </a:lnTo>
                  <a:lnTo>
                    <a:pt x="47042" y="110579"/>
                  </a:lnTo>
                  <a:lnTo>
                    <a:pt x="47042" y="110783"/>
                  </a:lnTo>
                  <a:lnTo>
                    <a:pt x="47110" y="110850"/>
                  </a:lnTo>
                  <a:lnTo>
                    <a:pt x="47585" y="110918"/>
                  </a:lnTo>
                  <a:lnTo>
                    <a:pt x="48400" y="110986"/>
                  </a:lnTo>
                  <a:lnTo>
                    <a:pt x="51387" y="111054"/>
                  </a:lnTo>
                  <a:lnTo>
                    <a:pt x="56071" y="111122"/>
                  </a:lnTo>
                  <a:lnTo>
                    <a:pt x="87092" y="111122"/>
                  </a:lnTo>
                  <a:lnTo>
                    <a:pt x="91708" y="111054"/>
                  </a:lnTo>
                  <a:lnTo>
                    <a:pt x="94695" y="110986"/>
                  </a:lnTo>
                  <a:lnTo>
                    <a:pt x="95578" y="110918"/>
                  </a:lnTo>
                  <a:lnTo>
                    <a:pt x="96053" y="110850"/>
                  </a:lnTo>
                  <a:lnTo>
                    <a:pt x="96121" y="110783"/>
                  </a:lnTo>
                  <a:lnTo>
                    <a:pt x="96121" y="110579"/>
                  </a:lnTo>
                  <a:lnTo>
                    <a:pt x="96053" y="110511"/>
                  </a:lnTo>
                  <a:lnTo>
                    <a:pt x="95713" y="110443"/>
                  </a:lnTo>
                  <a:lnTo>
                    <a:pt x="95102" y="110307"/>
                  </a:lnTo>
                  <a:lnTo>
                    <a:pt x="93473" y="110036"/>
                  </a:lnTo>
                  <a:lnTo>
                    <a:pt x="91369" y="109696"/>
                  </a:lnTo>
                  <a:lnTo>
                    <a:pt x="90487" y="109493"/>
                  </a:lnTo>
                  <a:lnTo>
                    <a:pt x="89943" y="109357"/>
                  </a:lnTo>
                  <a:lnTo>
                    <a:pt x="89740" y="109153"/>
                  </a:lnTo>
                  <a:lnTo>
                    <a:pt x="89536" y="108746"/>
                  </a:lnTo>
                  <a:lnTo>
                    <a:pt x="89333" y="108203"/>
                  </a:lnTo>
                  <a:lnTo>
                    <a:pt x="89197" y="107388"/>
                  </a:lnTo>
                  <a:lnTo>
                    <a:pt x="88789" y="105284"/>
                  </a:lnTo>
                  <a:lnTo>
                    <a:pt x="88382" y="102297"/>
                  </a:lnTo>
                  <a:lnTo>
                    <a:pt x="88043" y="98971"/>
                  </a:lnTo>
                  <a:lnTo>
                    <a:pt x="87839" y="95713"/>
                  </a:lnTo>
                  <a:close/>
                  <a:moveTo>
                    <a:pt x="47450" y="111054"/>
                  </a:moveTo>
                  <a:lnTo>
                    <a:pt x="47450" y="111122"/>
                  </a:lnTo>
                  <a:lnTo>
                    <a:pt x="47450" y="111393"/>
                  </a:lnTo>
                  <a:lnTo>
                    <a:pt x="47518" y="111461"/>
                  </a:lnTo>
                  <a:lnTo>
                    <a:pt x="48807" y="111529"/>
                  </a:lnTo>
                  <a:lnTo>
                    <a:pt x="52473" y="111597"/>
                  </a:lnTo>
                  <a:lnTo>
                    <a:pt x="62384" y="111665"/>
                  </a:lnTo>
                  <a:lnTo>
                    <a:pt x="80779" y="111665"/>
                  </a:lnTo>
                  <a:lnTo>
                    <a:pt x="90622" y="111597"/>
                  </a:lnTo>
                  <a:lnTo>
                    <a:pt x="94356" y="111529"/>
                  </a:lnTo>
                  <a:lnTo>
                    <a:pt x="95646" y="111461"/>
                  </a:lnTo>
                  <a:lnTo>
                    <a:pt x="95713" y="111393"/>
                  </a:lnTo>
                  <a:lnTo>
                    <a:pt x="95713" y="111122"/>
                  </a:lnTo>
                  <a:lnTo>
                    <a:pt x="95646" y="111054"/>
                  </a:lnTo>
                  <a:lnTo>
                    <a:pt x="94084" y="111122"/>
                  </a:lnTo>
                  <a:lnTo>
                    <a:pt x="91233" y="111190"/>
                  </a:lnTo>
                  <a:lnTo>
                    <a:pt x="80847" y="111258"/>
                  </a:lnTo>
                  <a:lnTo>
                    <a:pt x="62316" y="111258"/>
                  </a:lnTo>
                  <a:lnTo>
                    <a:pt x="51930" y="111190"/>
                  </a:lnTo>
                  <a:lnTo>
                    <a:pt x="49079" y="111122"/>
                  </a:lnTo>
                  <a:lnTo>
                    <a:pt x="47518" y="111054"/>
                  </a:lnTo>
                  <a:close/>
                </a:path>
              </a:pathLst>
            </a:custGeom>
            <a:grpFill/>
            <a:ln w="952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pic>
          <p:nvPicPr>
            <p:cNvPr id="6" name="Picture 5">
              <a:extLst>
                <a:ext uri="{FF2B5EF4-FFF2-40B4-BE49-F238E27FC236}">
                  <a16:creationId xmlns:a16="http://schemas.microsoft.com/office/drawing/2014/main" id="{F5A40587-3A53-4335-AC06-FF919CE368D4}"/>
                </a:ext>
              </a:extLst>
            </p:cNvPr>
            <p:cNvPicPr>
              <a:picLocks noChangeAspect="1"/>
            </p:cNvPicPr>
            <p:nvPr/>
          </p:nvPicPr>
          <p:blipFill>
            <a:blip r:embed="rId4"/>
            <a:stretch>
              <a:fillRect/>
            </a:stretch>
          </p:blipFill>
          <p:spPr>
            <a:xfrm>
              <a:off x="4391025" y="2000250"/>
              <a:ext cx="6753225" cy="3571875"/>
            </a:xfrm>
            <a:prstGeom prst="rect">
              <a:avLst/>
            </a:prstGeom>
            <a:grpFill/>
          </p:spPr>
        </p:pic>
      </p:grpSp>
      <p:sp>
        <p:nvSpPr>
          <p:cNvPr id="9" name="Title 7">
            <a:extLst>
              <a:ext uri="{FF2B5EF4-FFF2-40B4-BE49-F238E27FC236}">
                <a16:creationId xmlns:a16="http://schemas.microsoft.com/office/drawing/2014/main" id="{5EC80412-1E88-4328-9F0E-019ED95B5758}"/>
              </a:ext>
            </a:extLst>
          </p:cNvPr>
          <p:cNvSpPr txBox="1">
            <a:spLocks/>
          </p:cNvSpPr>
          <p:nvPr/>
        </p:nvSpPr>
        <p:spPr>
          <a:xfrm>
            <a:off x="2565145" y="94363"/>
            <a:ext cx="3848473" cy="689478"/>
          </a:xfrm>
          <a:prstGeom prst="rect">
            <a:avLst/>
          </a:prstGeom>
        </p:spPr>
        <p:txBody>
          <a:bodyP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en-US" sz="4000" dirty="0">
                <a:solidFill>
                  <a:schemeClr val="bg1"/>
                </a:solidFill>
                <a:latin typeface="Baskerville Old Face" panose="02020602080505020303" pitchFamily="18" charset="0"/>
              </a:rPr>
              <a:t>Decision Tree</a:t>
            </a:r>
          </a:p>
        </p:txBody>
      </p:sp>
      <p:sp>
        <p:nvSpPr>
          <p:cNvPr id="11" name="TextBox 10">
            <a:extLst>
              <a:ext uri="{FF2B5EF4-FFF2-40B4-BE49-F238E27FC236}">
                <a16:creationId xmlns:a16="http://schemas.microsoft.com/office/drawing/2014/main" id="{F242B071-1394-4646-ACB5-F61016F50024}"/>
              </a:ext>
            </a:extLst>
          </p:cNvPr>
          <p:cNvSpPr txBox="1"/>
          <p:nvPr/>
        </p:nvSpPr>
        <p:spPr>
          <a:xfrm>
            <a:off x="1776515" y="739153"/>
            <a:ext cx="5029200" cy="369332"/>
          </a:xfrm>
          <a:prstGeom prst="rect">
            <a:avLst/>
          </a:prstGeom>
          <a:noFill/>
        </p:spPr>
        <p:txBody>
          <a:bodyPr wrap="square">
            <a:spAutoFit/>
          </a:bodyPr>
          <a:lstStyle/>
          <a:p>
            <a:r>
              <a:rPr lang="en-IL" sz="1800" dirty="0">
                <a:solidFill>
                  <a:schemeClr val="bg1"/>
                </a:solidFill>
                <a:latin typeface="Book Antiqua" panose="02040602050305030304" pitchFamily="18" charset="0"/>
              </a:rPr>
              <a:t>Decision tree with different max depth values</a:t>
            </a:r>
            <a:r>
              <a:rPr lang="en-US" sz="1800" dirty="0">
                <a:solidFill>
                  <a:schemeClr val="bg1"/>
                </a:solidFill>
                <a:latin typeface="Book Antiqua" panose="02040602050305030304" pitchFamily="18" charset="0"/>
              </a:rPr>
              <a:t>.</a:t>
            </a:r>
            <a:endParaRPr lang="ru-RU" sz="1800" dirty="0">
              <a:solidFill>
                <a:schemeClr val="bg1"/>
              </a:solidFill>
              <a:latin typeface="Book Antiqua" panose="02040602050305030304" pitchFamily="18" charset="0"/>
            </a:endParaRPr>
          </a:p>
        </p:txBody>
      </p:sp>
      <p:pic>
        <p:nvPicPr>
          <p:cNvPr id="5" name="Picture 4">
            <a:extLst>
              <a:ext uri="{FF2B5EF4-FFF2-40B4-BE49-F238E27FC236}">
                <a16:creationId xmlns:a16="http://schemas.microsoft.com/office/drawing/2014/main" id="{5C51ED54-4AFD-4EF2-A196-C279E0FC8E2D}"/>
              </a:ext>
            </a:extLst>
          </p:cNvPr>
          <p:cNvPicPr>
            <a:picLocks noChangeAspect="1"/>
          </p:cNvPicPr>
          <p:nvPr/>
        </p:nvPicPr>
        <p:blipFill>
          <a:blip r:embed="rId5"/>
          <a:stretch>
            <a:fillRect/>
          </a:stretch>
        </p:blipFill>
        <p:spPr>
          <a:xfrm>
            <a:off x="8371948" y="3809788"/>
            <a:ext cx="3539033" cy="2785745"/>
          </a:xfrm>
          <a:prstGeom prst="rect">
            <a:avLst/>
          </a:prstGeom>
        </p:spPr>
      </p:pic>
      <p:pic>
        <p:nvPicPr>
          <p:cNvPr id="10" name="Picture 9">
            <a:extLst>
              <a:ext uri="{FF2B5EF4-FFF2-40B4-BE49-F238E27FC236}">
                <a16:creationId xmlns:a16="http://schemas.microsoft.com/office/drawing/2014/main" id="{5E90E5D9-D6C2-43A2-BD20-D7D1B31480FB}"/>
              </a:ext>
            </a:extLst>
          </p:cNvPr>
          <p:cNvPicPr>
            <a:picLocks noChangeAspect="1"/>
          </p:cNvPicPr>
          <p:nvPr/>
        </p:nvPicPr>
        <p:blipFill>
          <a:blip r:embed="rId6"/>
          <a:stretch>
            <a:fillRect/>
          </a:stretch>
        </p:blipFill>
        <p:spPr>
          <a:xfrm>
            <a:off x="8341323" y="772345"/>
            <a:ext cx="3539032" cy="2834083"/>
          </a:xfrm>
          <a:prstGeom prst="rect">
            <a:avLst/>
          </a:prstGeom>
        </p:spPr>
      </p:pic>
      <p:sp>
        <p:nvSpPr>
          <p:cNvPr id="14" name="Slide Number Placeholder 3">
            <a:extLst>
              <a:ext uri="{FF2B5EF4-FFF2-40B4-BE49-F238E27FC236}">
                <a16:creationId xmlns:a16="http://schemas.microsoft.com/office/drawing/2014/main" id="{0A30FA37-C33F-4B61-9166-040A94D85704}"/>
              </a:ext>
            </a:extLst>
          </p:cNvPr>
          <p:cNvSpPr txBox="1">
            <a:spLocks/>
          </p:cNvSpPr>
          <p:nvPr/>
        </p:nvSpPr>
        <p:spPr>
          <a:xfrm>
            <a:off x="11658612" y="6369817"/>
            <a:ext cx="367408" cy="27699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B84D2E29-67F4-44D8-B0E3-F54815B4F123}" type="slidenum">
              <a:rPr lang="en-US" sz="1200" b="1" smtClean="0">
                <a:solidFill>
                  <a:srgbClr val="652D74"/>
                </a:solidFill>
                <a:latin typeface="Calibri" panose="020F0502020204030204"/>
              </a:rPr>
              <a:pPr algn="ctr"/>
              <a:t>21</a:t>
            </a:fld>
            <a:endParaRPr lang="en-US" sz="1200" b="1" dirty="0">
              <a:solidFill>
                <a:srgbClr val="652D74"/>
              </a:solidFill>
              <a:latin typeface="Calibri" panose="020F0502020204030204"/>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526FF6-93C0-4668-ABD6-DCA4644EF04B}"/>
              </a:ext>
            </a:extLst>
          </p:cNvPr>
          <p:cNvGraphicFramePr>
            <a:graphicFrameLocks noChangeAspect="1"/>
          </p:cNvGraphicFramePr>
          <p:nvPr>
            <p:custDataLst>
              <p:tags r:id="rId2"/>
            </p:custDataLst>
            <p:extLst>
              <p:ext uri="{D42A27DB-BD31-4B8C-83A1-F6EECF244321}">
                <p14:modId xmlns:p14="http://schemas.microsoft.com/office/powerpoint/2010/main" val="4252015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19A566D-18C1-4C6E-9C31-C3ACFBB7A3B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b="1" dirty="0">
              <a:latin typeface="Calibri" panose="020F0502020204030204" pitchFamily="34" charset="0"/>
              <a:ea typeface="+mj-ea"/>
              <a:cs typeface="+mj-cs"/>
              <a:sym typeface="Calibri" panose="020F0502020204030204" pitchFamily="34" charset="0"/>
            </a:endParaRPr>
          </a:p>
        </p:txBody>
      </p:sp>
      <p:sp>
        <p:nvSpPr>
          <p:cNvPr id="25" name="Rectangle: Rounded Corners 24">
            <a:extLst>
              <a:ext uri="{FF2B5EF4-FFF2-40B4-BE49-F238E27FC236}">
                <a16:creationId xmlns:a16="http://schemas.microsoft.com/office/drawing/2014/main" id="{494E6301-EB23-4685-88EB-C44A54F0F7DD}"/>
              </a:ext>
            </a:extLst>
          </p:cNvPr>
          <p:cNvSpPr/>
          <p:nvPr/>
        </p:nvSpPr>
        <p:spPr>
          <a:xfrm>
            <a:off x="5521159" y="79352"/>
            <a:ext cx="6549724" cy="5735711"/>
          </a:xfrm>
          <a:prstGeom prst="roundRect">
            <a:avLst>
              <a:gd name="adj" fmla="val 6764"/>
            </a:avLst>
          </a:prstGeom>
          <a:gradFill>
            <a:gsLst>
              <a:gs pos="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2" name="Rectangle 34">
            <a:extLst>
              <a:ext uri="{FF2B5EF4-FFF2-40B4-BE49-F238E27FC236}">
                <a16:creationId xmlns:a16="http://schemas.microsoft.com/office/drawing/2014/main" id="{95E76223-C7DF-44AE-AF5C-211291AB60BA}"/>
              </a:ext>
            </a:extLst>
          </p:cNvPr>
          <p:cNvSpPr/>
          <p:nvPr/>
        </p:nvSpPr>
        <p:spPr>
          <a:xfrm flipH="1" flipV="1">
            <a:off x="-2" y="5334000"/>
            <a:ext cx="11367247" cy="1524000"/>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Slide Number Placeholder 26">
            <a:extLst>
              <a:ext uri="{FF2B5EF4-FFF2-40B4-BE49-F238E27FC236}">
                <a16:creationId xmlns:a16="http://schemas.microsoft.com/office/drawing/2014/main" id="{25F1B77B-10A7-4E8F-9055-169B8B309C00}"/>
              </a:ext>
            </a:extLst>
          </p:cNvPr>
          <p:cNvSpPr>
            <a:spLocks noGrp="1"/>
          </p:cNvSpPr>
          <p:nvPr>
            <p:ph type="sldNum" sz="quarter" idx="4"/>
          </p:nvPr>
        </p:nvSpPr>
        <p:spPr/>
        <p:txBody>
          <a:bodyPr/>
          <a:lstStyle/>
          <a:p>
            <a:fld id="{B84D2E29-67F4-44D8-B0E3-F54815B4F123}" type="slidenum">
              <a:rPr lang="en-US" smtClean="0"/>
              <a:pPr/>
              <a:t>22</a:t>
            </a:fld>
            <a:endParaRPr lang="en-US" dirty="0"/>
          </a:p>
        </p:txBody>
      </p:sp>
      <p:sp>
        <p:nvSpPr>
          <p:cNvPr id="8" name="Title 7">
            <a:extLst>
              <a:ext uri="{FF2B5EF4-FFF2-40B4-BE49-F238E27FC236}">
                <a16:creationId xmlns:a16="http://schemas.microsoft.com/office/drawing/2014/main" id="{B62A1B46-EE91-4D85-9559-A03F29371123}"/>
              </a:ext>
            </a:extLst>
          </p:cNvPr>
          <p:cNvSpPr>
            <a:spLocks noGrp="1"/>
          </p:cNvSpPr>
          <p:nvPr>
            <p:ph type="title"/>
          </p:nvPr>
        </p:nvSpPr>
        <p:spPr>
          <a:xfrm>
            <a:off x="435331" y="203027"/>
            <a:ext cx="4984393" cy="775612"/>
          </a:xfrm>
        </p:spPr>
        <p:txBody>
          <a:bodyPr>
            <a:normAutofit/>
          </a:bodyPr>
          <a:lstStyle/>
          <a:p>
            <a:pPr algn="l"/>
            <a:r>
              <a:rPr lang="en-US" sz="4000" b="1" i="0" dirty="0">
                <a:effectLst/>
                <a:latin typeface="Baskerville Old Face" panose="02020602080505020303" pitchFamily="18" charset="0"/>
              </a:rPr>
              <a:t>Random Forest model</a:t>
            </a:r>
          </a:p>
        </p:txBody>
      </p:sp>
      <p:pic>
        <p:nvPicPr>
          <p:cNvPr id="7" name="Picture 6">
            <a:extLst>
              <a:ext uri="{FF2B5EF4-FFF2-40B4-BE49-F238E27FC236}">
                <a16:creationId xmlns:a16="http://schemas.microsoft.com/office/drawing/2014/main" id="{9F152960-489F-4E1F-A1F9-6EE8EAC005E6}"/>
              </a:ext>
            </a:extLst>
          </p:cNvPr>
          <p:cNvPicPr>
            <a:picLocks noChangeAspect="1"/>
          </p:cNvPicPr>
          <p:nvPr/>
        </p:nvPicPr>
        <p:blipFill>
          <a:blip r:embed="rId8"/>
          <a:stretch>
            <a:fillRect/>
          </a:stretch>
        </p:blipFill>
        <p:spPr>
          <a:xfrm>
            <a:off x="236869" y="2702272"/>
            <a:ext cx="4880700" cy="2445553"/>
          </a:xfrm>
          <a:prstGeom prst="rect">
            <a:avLst/>
          </a:prstGeom>
        </p:spPr>
      </p:pic>
      <p:pic>
        <p:nvPicPr>
          <p:cNvPr id="11" name="Picture 10">
            <a:extLst>
              <a:ext uri="{FF2B5EF4-FFF2-40B4-BE49-F238E27FC236}">
                <a16:creationId xmlns:a16="http://schemas.microsoft.com/office/drawing/2014/main" id="{3099140D-4135-4C24-AF21-E07F9190F49A}"/>
              </a:ext>
            </a:extLst>
          </p:cNvPr>
          <p:cNvPicPr>
            <a:picLocks noChangeAspect="1"/>
          </p:cNvPicPr>
          <p:nvPr/>
        </p:nvPicPr>
        <p:blipFill>
          <a:blip r:embed="rId9"/>
          <a:stretch>
            <a:fillRect/>
          </a:stretch>
        </p:blipFill>
        <p:spPr>
          <a:xfrm>
            <a:off x="681616" y="916161"/>
            <a:ext cx="4267796" cy="1476581"/>
          </a:xfrm>
          <a:prstGeom prst="rect">
            <a:avLst/>
          </a:prstGeom>
        </p:spPr>
      </p:pic>
      <p:sp>
        <p:nvSpPr>
          <p:cNvPr id="16" name="TextBox 15">
            <a:extLst>
              <a:ext uri="{FF2B5EF4-FFF2-40B4-BE49-F238E27FC236}">
                <a16:creationId xmlns:a16="http://schemas.microsoft.com/office/drawing/2014/main" id="{A74F652B-734A-45E5-AA0E-3DAE1245C7CF}"/>
              </a:ext>
            </a:extLst>
          </p:cNvPr>
          <p:cNvSpPr txBox="1"/>
          <p:nvPr/>
        </p:nvSpPr>
        <p:spPr>
          <a:xfrm>
            <a:off x="245582" y="5908151"/>
            <a:ext cx="7705957" cy="1200329"/>
          </a:xfrm>
          <a:prstGeom prst="rect">
            <a:avLst/>
          </a:prstGeom>
          <a:noFill/>
        </p:spPr>
        <p:txBody>
          <a:bodyPr wrap="none" rtlCol="0">
            <a:spAutoFit/>
          </a:bodyPr>
          <a:lstStyle/>
          <a:p>
            <a:pPr algn="ctr"/>
            <a:r>
              <a:rPr lang="en-US" dirty="0">
                <a:solidFill>
                  <a:schemeClr val="bg1"/>
                </a:solidFill>
                <a:latin typeface="Book Antiqua" panose="02040602050305030304" pitchFamily="18" charset="0"/>
              </a:rPr>
              <a:t>Tunning Random_forest......</a:t>
            </a:r>
          </a:p>
          <a:p>
            <a:pPr algn="ctr"/>
            <a:r>
              <a:rPr lang="en-US" dirty="0">
                <a:solidFill>
                  <a:schemeClr val="bg1"/>
                </a:solidFill>
                <a:latin typeface="Book Antiqua" panose="02040602050305030304" pitchFamily="18" charset="0"/>
              </a:rPr>
              <a:t>Best parameters for Random_forest : {'max_depth': 10, 'n_estimators': 100}</a:t>
            </a:r>
          </a:p>
          <a:p>
            <a:pPr algn="ctr"/>
            <a:r>
              <a:rPr lang="en-US" dirty="0">
                <a:solidFill>
                  <a:schemeClr val="bg1"/>
                </a:solidFill>
                <a:latin typeface="Book Antiqua" panose="02040602050305030304" pitchFamily="18" charset="0"/>
              </a:rPr>
              <a:t>Best Accuracy for Random_forest :  0.80</a:t>
            </a:r>
          </a:p>
          <a:p>
            <a:endParaRPr lang="en-IL" dirty="0"/>
          </a:p>
        </p:txBody>
      </p:sp>
      <p:grpSp>
        <p:nvGrpSpPr>
          <p:cNvPr id="22" name="Group 21">
            <a:extLst>
              <a:ext uri="{FF2B5EF4-FFF2-40B4-BE49-F238E27FC236}">
                <a16:creationId xmlns:a16="http://schemas.microsoft.com/office/drawing/2014/main" id="{117071CD-447F-47B7-B640-837B7696ECD6}"/>
              </a:ext>
            </a:extLst>
          </p:cNvPr>
          <p:cNvGrpSpPr/>
          <p:nvPr/>
        </p:nvGrpSpPr>
        <p:grpSpPr>
          <a:xfrm>
            <a:off x="5353002" y="213048"/>
            <a:ext cx="6372425" cy="5602016"/>
            <a:chOff x="5261727" y="317682"/>
            <a:chExt cx="6678079" cy="6161676"/>
          </a:xfrm>
        </p:grpSpPr>
        <p:pic>
          <p:nvPicPr>
            <p:cNvPr id="19" name="Picture 18">
              <a:extLst>
                <a:ext uri="{FF2B5EF4-FFF2-40B4-BE49-F238E27FC236}">
                  <a16:creationId xmlns:a16="http://schemas.microsoft.com/office/drawing/2014/main" id="{73788746-ED0B-4F57-962B-9E38CDFB8E5B}"/>
                </a:ext>
              </a:extLst>
            </p:cNvPr>
            <p:cNvPicPr>
              <a:picLocks noChangeAspect="1"/>
            </p:cNvPicPr>
            <p:nvPr/>
          </p:nvPicPr>
          <p:blipFill>
            <a:blip r:embed="rId10"/>
            <a:stretch>
              <a:fillRect/>
            </a:stretch>
          </p:blipFill>
          <p:spPr>
            <a:xfrm>
              <a:off x="5261727" y="317682"/>
              <a:ext cx="6678079" cy="3373012"/>
            </a:xfrm>
            <a:prstGeom prst="rect">
              <a:avLst/>
            </a:prstGeom>
          </p:spPr>
        </p:pic>
        <p:pic>
          <p:nvPicPr>
            <p:cNvPr id="21" name="Picture 20">
              <a:extLst>
                <a:ext uri="{FF2B5EF4-FFF2-40B4-BE49-F238E27FC236}">
                  <a16:creationId xmlns:a16="http://schemas.microsoft.com/office/drawing/2014/main" id="{EF85177C-E0AA-4BDE-9FCD-9B595F7C7ADB}"/>
                </a:ext>
              </a:extLst>
            </p:cNvPr>
            <p:cNvPicPr>
              <a:picLocks noChangeAspect="1"/>
            </p:cNvPicPr>
            <p:nvPr/>
          </p:nvPicPr>
          <p:blipFill>
            <a:blip r:embed="rId11"/>
            <a:stretch>
              <a:fillRect/>
            </a:stretch>
          </p:blipFill>
          <p:spPr>
            <a:xfrm>
              <a:off x="5363008" y="3671320"/>
              <a:ext cx="6566638" cy="2808038"/>
            </a:xfrm>
            <a:prstGeom prst="rect">
              <a:avLst/>
            </a:prstGeom>
          </p:spPr>
        </p:pic>
      </p:grpSp>
    </p:spTree>
    <p:extLst>
      <p:ext uri="{BB962C8B-B14F-4D97-AF65-F5344CB8AC3E}">
        <p14:creationId xmlns:p14="http://schemas.microsoft.com/office/powerpoint/2010/main" val="22395851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 name="Rectangle 281">
            <a:extLst>
              <a:ext uri="{FF2B5EF4-FFF2-40B4-BE49-F238E27FC236}">
                <a16:creationId xmlns:a16="http://schemas.microsoft.com/office/drawing/2014/main" id="{41B784E6-4B16-4656-8D82-EC238AE4B39E}"/>
              </a:ext>
            </a:extLst>
          </p:cNvPr>
          <p:cNvSpPr/>
          <p:nvPr/>
        </p:nvSpPr>
        <p:spPr>
          <a:xfrm>
            <a:off x="0" y="8564"/>
            <a:ext cx="12192000" cy="6849436"/>
          </a:xfrm>
          <a:prstGeom prst="rect">
            <a:avLst/>
          </a:prstGeom>
          <a:gradFill flip="none" rotWithShape="1">
            <a:gsLst>
              <a:gs pos="0">
                <a:srgbClr val="F2EAF1"/>
              </a:gs>
              <a:gs pos="35000">
                <a:srgbClr val="F9F5F8"/>
              </a:gs>
              <a:gs pos="65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6" name="Shape 486"/>
          <p:cNvSpPr/>
          <p:nvPr/>
        </p:nvSpPr>
        <p:spPr>
          <a:xfrm>
            <a:off x="1270243" y="1951877"/>
            <a:ext cx="3173106" cy="3151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455" y="0"/>
                </a:lnTo>
                <a:lnTo>
                  <a:pt x="0" y="0"/>
                </a:lnTo>
              </a:path>
            </a:pathLst>
          </a:custGeom>
          <a:ln w="76200">
            <a:solidFill>
              <a:srgbClr val="343650"/>
            </a:solidFill>
            <a:custDash>
              <a:ds d="200000" sp="200000"/>
            </a:custDash>
            <a:miter lim="400000"/>
          </a:ln>
        </p:spPr>
        <p:txBody>
          <a:bodyPr lIns="19050" tIns="19050" rIns="19050" bIns="19050" anchor="ctr"/>
          <a:lstStyle/>
          <a:p>
            <a:pPr algn="ctr">
              <a:defRPr sz="3000">
                <a:solidFill>
                  <a:srgbClr val="000000"/>
                </a:solidFill>
                <a:latin typeface="Helvetica Light"/>
                <a:ea typeface="Helvetica Light"/>
                <a:cs typeface="Helvetica Light"/>
                <a:sym typeface="Helvetica Light"/>
              </a:defRPr>
            </a:pPr>
            <a:endParaRPr sz="1500"/>
          </a:p>
        </p:txBody>
      </p:sp>
      <p:sp>
        <p:nvSpPr>
          <p:cNvPr id="487" name="Shape 487"/>
          <p:cNvSpPr/>
          <p:nvPr/>
        </p:nvSpPr>
        <p:spPr>
          <a:xfrm>
            <a:off x="2840694" y="6429734"/>
            <a:ext cx="3173106" cy="31537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9455" y="21600"/>
                </a:lnTo>
                <a:lnTo>
                  <a:pt x="0" y="21600"/>
                </a:lnTo>
              </a:path>
            </a:pathLst>
          </a:custGeom>
          <a:ln w="76200">
            <a:solidFill>
              <a:srgbClr val="343650"/>
            </a:solidFill>
            <a:custDash>
              <a:ds d="200000" sp="200000"/>
            </a:custDash>
            <a:miter lim="400000"/>
          </a:ln>
        </p:spPr>
        <p:txBody>
          <a:bodyPr lIns="19050" tIns="19050" rIns="19050" bIns="19050" anchor="ctr"/>
          <a:lstStyle/>
          <a:p>
            <a:pPr algn="ctr">
              <a:defRPr sz="3000">
                <a:solidFill>
                  <a:srgbClr val="000000"/>
                </a:solidFill>
                <a:latin typeface="Helvetica Light"/>
                <a:ea typeface="Helvetica Light"/>
                <a:cs typeface="Helvetica Light"/>
                <a:sym typeface="Helvetica Light"/>
              </a:defRPr>
            </a:pPr>
            <a:endParaRPr sz="1500"/>
          </a:p>
        </p:txBody>
      </p:sp>
      <p:sp>
        <p:nvSpPr>
          <p:cNvPr id="488" name="Shape 488"/>
          <p:cNvSpPr/>
          <p:nvPr/>
        </p:nvSpPr>
        <p:spPr>
          <a:xfrm flipH="1">
            <a:off x="1270243" y="3898972"/>
            <a:ext cx="2603952" cy="1"/>
          </a:xfrm>
          <a:prstGeom prst="line">
            <a:avLst/>
          </a:prstGeom>
          <a:ln w="76200">
            <a:solidFill>
              <a:srgbClr val="343650"/>
            </a:solidFill>
            <a:custDash>
              <a:ds d="200000" sp="200000"/>
            </a:custDash>
            <a:miter lim="400000"/>
          </a:ln>
        </p:spPr>
        <p:txBody>
          <a:bodyPr lIns="19050" tIns="19050" rIns="19050" bIns="19050" anchor="ctr"/>
          <a:lstStyle/>
          <a:p>
            <a:pPr algn="ctr">
              <a:defRPr sz="3000">
                <a:solidFill>
                  <a:srgbClr val="000000"/>
                </a:solidFill>
                <a:latin typeface="Helvetica Light"/>
                <a:ea typeface="Helvetica Light"/>
                <a:cs typeface="Helvetica Light"/>
                <a:sym typeface="Helvetica Light"/>
              </a:defRPr>
            </a:pPr>
            <a:endParaRPr sz="1500"/>
          </a:p>
        </p:txBody>
      </p:sp>
      <p:sp>
        <p:nvSpPr>
          <p:cNvPr id="489" name="Shape 489"/>
          <p:cNvSpPr/>
          <p:nvPr/>
        </p:nvSpPr>
        <p:spPr>
          <a:xfrm>
            <a:off x="7542353" y="1709166"/>
            <a:ext cx="3173196" cy="31515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45" y="0"/>
                </a:lnTo>
                <a:lnTo>
                  <a:pt x="21600" y="0"/>
                </a:lnTo>
              </a:path>
            </a:pathLst>
          </a:custGeom>
          <a:ln w="76200">
            <a:solidFill>
              <a:srgbClr val="343650"/>
            </a:solidFill>
            <a:custDash>
              <a:ds d="200000" sp="200000"/>
            </a:custDash>
            <a:miter lim="400000"/>
          </a:ln>
        </p:spPr>
        <p:txBody>
          <a:bodyPr lIns="19050" tIns="19050" rIns="19050" bIns="19050" anchor="ctr"/>
          <a:lstStyle/>
          <a:p>
            <a:pPr algn="ctr">
              <a:defRPr sz="3000">
                <a:solidFill>
                  <a:srgbClr val="000000"/>
                </a:solidFill>
                <a:latin typeface="Helvetica Light"/>
                <a:ea typeface="Helvetica Light"/>
                <a:cs typeface="Helvetica Light"/>
                <a:sym typeface="Helvetica Light"/>
              </a:defRPr>
            </a:pPr>
            <a:endParaRPr sz="1500"/>
          </a:p>
        </p:txBody>
      </p:sp>
      <p:sp>
        <p:nvSpPr>
          <p:cNvPr id="491" name="Shape 491"/>
          <p:cNvSpPr/>
          <p:nvPr/>
        </p:nvSpPr>
        <p:spPr>
          <a:xfrm flipH="1">
            <a:off x="8292674" y="3910667"/>
            <a:ext cx="2603951" cy="1"/>
          </a:xfrm>
          <a:prstGeom prst="line">
            <a:avLst/>
          </a:prstGeom>
          <a:ln w="76200">
            <a:solidFill>
              <a:srgbClr val="343650"/>
            </a:solidFill>
            <a:custDash>
              <a:ds d="200000" sp="200000"/>
            </a:custDash>
            <a:miter lim="400000"/>
          </a:ln>
        </p:spPr>
        <p:txBody>
          <a:bodyPr lIns="19050" tIns="19050" rIns="19050" bIns="19050" anchor="ctr"/>
          <a:lstStyle/>
          <a:p>
            <a:pPr algn="ctr">
              <a:defRPr sz="3000">
                <a:solidFill>
                  <a:srgbClr val="000000"/>
                </a:solidFill>
                <a:latin typeface="Helvetica Light"/>
                <a:ea typeface="Helvetica Light"/>
                <a:cs typeface="Helvetica Light"/>
                <a:sym typeface="Helvetica Light"/>
              </a:defRPr>
            </a:pPr>
            <a:endParaRPr sz="1500"/>
          </a:p>
        </p:txBody>
      </p:sp>
      <p:sp>
        <p:nvSpPr>
          <p:cNvPr id="492" name="Shape 492"/>
          <p:cNvSpPr>
            <a:spLocks noGrp="1"/>
          </p:cNvSpPr>
          <p:nvPr>
            <p:ph type="sldNum" sz="quarter" idx="2"/>
          </p:nvPr>
        </p:nvSpPr>
        <p:spPr>
          <a:xfrm>
            <a:off x="23019528" y="819533"/>
            <a:ext cx="607908" cy="846386"/>
          </a:xfrm>
          <a:prstGeom prst="rect">
            <a:avLst/>
          </a:prstGeom>
          <a:ln w="3175">
            <a:miter lim="400000"/>
          </a:ln>
          <a:extLst>
            <a:ext uri="{C572A759-6A51-4108-AA02-DFA0A04FC94B}">
              <ma14:wrappingTextBoxFlag xmlns="" xmlns:ma14="http://schemas.microsoft.com/office/mac/drawingml/2011/main" val="1"/>
            </a:ext>
          </a:extLst>
        </p:spPr>
        <p:txBody>
          <a:bodyPr lIns="38100" tIns="38100" rIns="38100" bIns="381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500" b="0" i="0" u="none" strike="noStrike" cap="all" spc="500" normalizeH="0" baseline="0">
                <a:ln>
                  <a:noFill/>
                </a:ln>
                <a:solidFill>
                  <a:srgbClr val="ABADC2"/>
                </a:solidFill>
                <a:effectLst/>
                <a:uFillTx/>
                <a:latin typeface="+mn-lt"/>
                <a:ea typeface="Avenir Next Demi Bold"/>
                <a:cs typeface="Avenir Next Demi Bold"/>
                <a:sym typeface="Avenir Next Demi Bold"/>
              </a:defRPr>
            </a:lvl1pPr>
            <a:lvl2pPr marL="0" marR="0" indent="2286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2pPr>
            <a:lvl3pPr marL="0" marR="0" indent="4572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3pPr>
            <a:lvl4pPr marL="0" marR="0" indent="6858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4pPr>
            <a:lvl5pPr marL="0" marR="0" indent="9144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5pPr>
            <a:lvl6pPr marL="0" marR="0" indent="11430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6pPr>
            <a:lvl7pPr marL="0" marR="0" indent="13716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7pPr>
            <a:lvl8pPr marL="0" marR="0" indent="16002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8pPr>
            <a:lvl9pPr marL="0" marR="0" indent="18288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9pPr>
          </a:lstStyle>
          <a:p>
            <a:fld id="{86CB4B4D-7CA3-9044-876B-883B54F8677D}" type="slidenum">
              <a:rPr lang="en-IL" smtClean="0"/>
              <a:pPr/>
              <a:t>23</a:t>
            </a:fld>
            <a:endParaRPr/>
          </a:p>
        </p:txBody>
      </p:sp>
      <p:sp>
        <p:nvSpPr>
          <p:cNvPr id="493" name="Shape 493"/>
          <p:cNvSpPr/>
          <p:nvPr/>
        </p:nvSpPr>
        <p:spPr>
          <a:xfrm>
            <a:off x="3930814" y="1745482"/>
            <a:ext cx="4330372" cy="4330372"/>
          </a:xfrm>
          <a:prstGeom prst="ellipse">
            <a:avLst/>
          </a:prstGeom>
          <a:ln w="673100">
            <a:solidFill>
              <a:srgbClr val="1D1F30">
                <a:alpha val="32331"/>
              </a:srgbClr>
            </a:solidFill>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grpSp>
        <p:nvGrpSpPr>
          <p:cNvPr id="542" name="Group 542"/>
          <p:cNvGrpSpPr/>
          <p:nvPr/>
        </p:nvGrpSpPr>
        <p:grpSpPr>
          <a:xfrm>
            <a:off x="4501019" y="2297609"/>
            <a:ext cx="3189964" cy="3203037"/>
            <a:chOff x="0" y="0"/>
            <a:chExt cx="6379927" cy="6406072"/>
          </a:xfrm>
        </p:grpSpPr>
        <p:sp>
          <p:nvSpPr>
            <p:cNvPr id="494" name="Shape 494"/>
            <p:cNvSpPr/>
            <p:nvPr/>
          </p:nvSpPr>
          <p:spPr>
            <a:xfrm>
              <a:off x="0" y="26139"/>
              <a:ext cx="6379928" cy="6379934"/>
            </a:xfrm>
            <a:prstGeom prst="ellipse">
              <a:avLst/>
            </a:prstGeom>
            <a:noFill/>
            <a:ln w="76200" cap="flat">
              <a:solidFill>
                <a:srgbClr val="343650"/>
              </a:solidFill>
              <a:prstDash val="solid"/>
              <a:miter lim="400000"/>
            </a:ln>
            <a:effectLst/>
          </p:spPr>
          <p:txBody>
            <a:bodyPr wrap="square" lIns="22860" tIns="22860" rIns="22860" bIns="22860" numCol="1" anchor="ctr">
              <a:noAutofit/>
            </a:bodyPr>
            <a:lstStyle/>
            <a:p>
              <a:pPr defTabSz="228574">
                <a:defRPr sz="11600">
                  <a:solidFill>
                    <a:srgbClr val="77716C"/>
                  </a:solidFill>
                  <a:latin typeface="Open Sans Light"/>
                  <a:ea typeface="Open Sans Light"/>
                  <a:cs typeface="Open Sans Light"/>
                  <a:sym typeface="Open Sans Light"/>
                </a:defRPr>
              </a:pPr>
              <a:endParaRPr sz="5800"/>
            </a:p>
          </p:txBody>
        </p:sp>
        <p:grpSp>
          <p:nvGrpSpPr>
            <p:cNvPr id="541" name="Group 541"/>
            <p:cNvGrpSpPr/>
            <p:nvPr/>
          </p:nvGrpSpPr>
          <p:grpSpPr>
            <a:xfrm>
              <a:off x="542355" y="0"/>
              <a:ext cx="5811595" cy="6049990"/>
              <a:chOff x="0" y="0"/>
              <a:chExt cx="5811594" cy="6049989"/>
            </a:xfrm>
          </p:grpSpPr>
          <p:sp>
            <p:nvSpPr>
              <p:cNvPr id="495" name="Shape 495"/>
              <p:cNvSpPr/>
              <p:nvPr/>
            </p:nvSpPr>
            <p:spPr>
              <a:xfrm>
                <a:off x="547252" y="-1"/>
                <a:ext cx="5264343" cy="2931473"/>
              </a:xfrm>
              <a:custGeom>
                <a:avLst/>
                <a:gdLst/>
                <a:ahLst/>
                <a:cxnLst>
                  <a:cxn ang="0">
                    <a:pos x="wd2" y="hd2"/>
                  </a:cxn>
                  <a:cxn ang="5400000">
                    <a:pos x="wd2" y="hd2"/>
                  </a:cxn>
                  <a:cxn ang="10800000">
                    <a:pos x="wd2" y="hd2"/>
                  </a:cxn>
                  <a:cxn ang="16200000">
                    <a:pos x="wd2" y="hd2"/>
                  </a:cxn>
                </a:cxnLst>
                <a:rect l="0" t="0" r="r" b="b"/>
                <a:pathLst>
                  <a:path w="21599" h="21511" extrusionOk="0">
                    <a:moveTo>
                      <a:pt x="6974" y="3251"/>
                    </a:moveTo>
                    <a:lnTo>
                      <a:pt x="6917" y="3349"/>
                    </a:lnTo>
                    <a:lnTo>
                      <a:pt x="6827" y="3350"/>
                    </a:lnTo>
                    <a:lnTo>
                      <a:pt x="6604" y="3534"/>
                    </a:lnTo>
                    <a:lnTo>
                      <a:pt x="6516" y="3506"/>
                    </a:lnTo>
                    <a:lnTo>
                      <a:pt x="6316" y="3666"/>
                    </a:lnTo>
                    <a:lnTo>
                      <a:pt x="6388" y="3748"/>
                    </a:lnTo>
                    <a:lnTo>
                      <a:pt x="6349" y="3897"/>
                    </a:lnTo>
                    <a:lnTo>
                      <a:pt x="6191" y="3956"/>
                    </a:lnTo>
                    <a:lnTo>
                      <a:pt x="6079" y="4058"/>
                    </a:lnTo>
                    <a:lnTo>
                      <a:pt x="5935" y="4082"/>
                    </a:lnTo>
                    <a:lnTo>
                      <a:pt x="5832" y="3953"/>
                    </a:lnTo>
                    <a:lnTo>
                      <a:pt x="5592" y="3895"/>
                    </a:lnTo>
                    <a:lnTo>
                      <a:pt x="5538" y="3965"/>
                    </a:lnTo>
                    <a:lnTo>
                      <a:pt x="5643" y="4107"/>
                    </a:lnTo>
                    <a:lnTo>
                      <a:pt x="5491" y="4212"/>
                    </a:lnTo>
                    <a:lnTo>
                      <a:pt x="5425" y="4373"/>
                    </a:lnTo>
                    <a:lnTo>
                      <a:pt x="5289" y="4561"/>
                    </a:lnTo>
                    <a:lnTo>
                      <a:pt x="5483" y="4605"/>
                    </a:lnTo>
                    <a:lnTo>
                      <a:pt x="5424" y="4718"/>
                    </a:lnTo>
                    <a:lnTo>
                      <a:pt x="5441" y="4859"/>
                    </a:lnTo>
                    <a:lnTo>
                      <a:pt x="5284" y="5054"/>
                    </a:lnTo>
                    <a:lnTo>
                      <a:pt x="5134" y="5348"/>
                    </a:lnTo>
                    <a:lnTo>
                      <a:pt x="5011" y="5415"/>
                    </a:lnTo>
                    <a:lnTo>
                      <a:pt x="4819" y="5473"/>
                    </a:lnTo>
                    <a:lnTo>
                      <a:pt x="4729" y="5579"/>
                    </a:lnTo>
                    <a:lnTo>
                      <a:pt x="4698" y="5763"/>
                    </a:lnTo>
                    <a:lnTo>
                      <a:pt x="4640" y="6049"/>
                    </a:lnTo>
                    <a:lnTo>
                      <a:pt x="4594" y="6214"/>
                    </a:lnTo>
                    <a:lnTo>
                      <a:pt x="4511" y="6355"/>
                    </a:lnTo>
                    <a:lnTo>
                      <a:pt x="4335" y="6402"/>
                    </a:lnTo>
                    <a:lnTo>
                      <a:pt x="4158" y="6496"/>
                    </a:lnTo>
                    <a:lnTo>
                      <a:pt x="4121" y="6731"/>
                    </a:lnTo>
                    <a:lnTo>
                      <a:pt x="4130" y="6918"/>
                    </a:lnTo>
                    <a:lnTo>
                      <a:pt x="4130" y="7106"/>
                    </a:lnTo>
                    <a:lnTo>
                      <a:pt x="4209" y="7153"/>
                    </a:lnTo>
                    <a:lnTo>
                      <a:pt x="4222" y="7294"/>
                    </a:lnTo>
                    <a:lnTo>
                      <a:pt x="4143" y="7373"/>
                    </a:lnTo>
                    <a:lnTo>
                      <a:pt x="4058" y="7373"/>
                    </a:lnTo>
                    <a:lnTo>
                      <a:pt x="4013" y="7501"/>
                    </a:lnTo>
                    <a:lnTo>
                      <a:pt x="4138" y="7589"/>
                    </a:lnTo>
                    <a:lnTo>
                      <a:pt x="4206" y="7523"/>
                    </a:lnTo>
                    <a:lnTo>
                      <a:pt x="4233" y="7687"/>
                    </a:lnTo>
                    <a:lnTo>
                      <a:pt x="4180" y="7866"/>
                    </a:lnTo>
                    <a:lnTo>
                      <a:pt x="4163" y="8053"/>
                    </a:lnTo>
                    <a:lnTo>
                      <a:pt x="4125" y="8305"/>
                    </a:lnTo>
                    <a:lnTo>
                      <a:pt x="4029" y="8541"/>
                    </a:lnTo>
                    <a:lnTo>
                      <a:pt x="3985" y="8685"/>
                    </a:lnTo>
                    <a:lnTo>
                      <a:pt x="3904" y="8905"/>
                    </a:lnTo>
                    <a:lnTo>
                      <a:pt x="3852" y="9140"/>
                    </a:lnTo>
                    <a:lnTo>
                      <a:pt x="3785" y="9331"/>
                    </a:lnTo>
                    <a:lnTo>
                      <a:pt x="3684" y="9449"/>
                    </a:lnTo>
                    <a:lnTo>
                      <a:pt x="3703" y="9593"/>
                    </a:lnTo>
                    <a:lnTo>
                      <a:pt x="3763" y="9804"/>
                    </a:lnTo>
                    <a:lnTo>
                      <a:pt x="3728" y="9961"/>
                    </a:lnTo>
                    <a:lnTo>
                      <a:pt x="3652" y="10090"/>
                    </a:lnTo>
                    <a:lnTo>
                      <a:pt x="3612" y="10294"/>
                    </a:lnTo>
                    <a:lnTo>
                      <a:pt x="3509" y="10317"/>
                    </a:lnTo>
                    <a:lnTo>
                      <a:pt x="3433" y="10306"/>
                    </a:lnTo>
                    <a:lnTo>
                      <a:pt x="3341" y="10180"/>
                    </a:lnTo>
                    <a:lnTo>
                      <a:pt x="3205" y="10239"/>
                    </a:lnTo>
                    <a:lnTo>
                      <a:pt x="3156" y="10321"/>
                    </a:lnTo>
                    <a:lnTo>
                      <a:pt x="3101" y="10211"/>
                    </a:lnTo>
                    <a:lnTo>
                      <a:pt x="3114" y="10027"/>
                    </a:lnTo>
                    <a:lnTo>
                      <a:pt x="3134" y="9895"/>
                    </a:lnTo>
                    <a:lnTo>
                      <a:pt x="3226" y="9711"/>
                    </a:lnTo>
                    <a:lnTo>
                      <a:pt x="3312" y="9617"/>
                    </a:lnTo>
                    <a:lnTo>
                      <a:pt x="3305" y="9492"/>
                    </a:lnTo>
                    <a:lnTo>
                      <a:pt x="3233" y="9289"/>
                    </a:lnTo>
                    <a:lnTo>
                      <a:pt x="3345" y="9214"/>
                    </a:lnTo>
                    <a:lnTo>
                      <a:pt x="3376" y="9053"/>
                    </a:lnTo>
                    <a:lnTo>
                      <a:pt x="3149" y="9260"/>
                    </a:lnTo>
                    <a:lnTo>
                      <a:pt x="3057" y="9190"/>
                    </a:lnTo>
                    <a:lnTo>
                      <a:pt x="2937" y="9072"/>
                    </a:lnTo>
                    <a:lnTo>
                      <a:pt x="2846" y="9272"/>
                    </a:lnTo>
                    <a:lnTo>
                      <a:pt x="2739" y="9402"/>
                    </a:lnTo>
                    <a:lnTo>
                      <a:pt x="2627" y="9539"/>
                    </a:lnTo>
                    <a:lnTo>
                      <a:pt x="2528" y="9539"/>
                    </a:lnTo>
                    <a:lnTo>
                      <a:pt x="2527" y="9402"/>
                    </a:lnTo>
                    <a:lnTo>
                      <a:pt x="2600" y="9273"/>
                    </a:lnTo>
                    <a:lnTo>
                      <a:pt x="2481" y="9029"/>
                    </a:lnTo>
                    <a:lnTo>
                      <a:pt x="2357" y="8831"/>
                    </a:lnTo>
                    <a:lnTo>
                      <a:pt x="2187" y="8576"/>
                    </a:lnTo>
                    <a:lnTo>
                      <a:pt x="2036" y="8658"/>
                    </a:lnTo>
                    <a:lnTo>
                      <a:pt x="2072" y="8493"/>
                    </a:lnTo>
                    <a:lnTo>
                      <a:pt x="2195" y="8270"/>
                    </a:lnTo>
                    <a:lnTo>
                      <a:pt x="2215" y="8039"/>
                    </a:lnTo>
                    <a:lnTo>
                      <a:pt x="2070" y="7991"/>
                    </a:lnTo>
                    <a:lnTo>
                      <a:pt x="2108" y="7828"/>
                    </a:lnTo>
                    <a:lnTo>
                      <a:pt x="2147" y="7527"/>
                    </a:lnTo>
                    <a:lnTo>
                      <a:pt x="2031" y="7598"/>
                    </a:lnTo>
                    <a:lnTo>
                      <a:pt x="1922" y="7527"/>
                    </a:lnTo>
                    <a:lnTo>
                      <a:pt x="1832" y="7657"/>
                    </a:lnTo>
                    <a:lnTo>
                      <a:pt x="1743" y="7786"/>
                    </a:lnTo>
                    <a:lnTo>
                      <a:pt x="1586" y="7876"/>
                    </a:lnTo>
                    <a:lnTo>
                      <a:pt x="1447" y="7969"/>
                    </a:lnTo>
                    <a:lnTo>
                      <a:pt x="1408" y="7863"/>
                    </a:lnTo>
                    <a:lnTo>
                      <a:pt x="1488" y="7747"/>
                    </a:lnTo>
                    <a:lnTo>
                      <a:pt x="1324" y="7782"/>
                    </a:lnTo>
                    <a:lnTo>
                      <a:pt x="1278" y="7896"/>
                    </a:lnTo>
                    <a:lnTo>
                      <a:pt x="1208" y="7955"/>
                    </a:lnTo>
                    <a:lnTo>
                      <a:pt x="1196" y="7791"/>
                    </a:lnTo>
                    <a:lnTo>
                      <a:pt x="1158" y="7674"/>
                    </a:lnTo>
                    <a:lnTo>
                      <a:pt x="1040" y="7720"/>
                    </a:lnTo>
                    <a:cubicBezTo>
                      <a:pt x="1028" y="7727"/>
                      <a:pt x="1016" y="7735"/>
                      <a:pt x="1005" y="7742"/>
                    </a:cubicBezTo>
                    <a:cubicBezTo>
                      <a:pt x="993" y="7749"/>
                      <a:pt x="981" y="7756"/>
                      <a:pt x="970" y="7763"/>
                    </a:cubicBezTo>
                    <a:lnTo>
                      <a:pt x="889" y="7639"/>
                    </a:lnTo>
                    <a:lnTo>
                      <a:pt x="759" y="7615"/>
                    </a:lnTo>
                    <a:lnTo>
                      <a:pt x="613" y="7348"/>
                    </a:lnTo>
                    <a:lnTo>
                      <a:pt x="685" y="7239"/>
                    </a:lnTo>
                    <a:lnTo>
                      <a:pt x="801" y="7263"/>
                    </a:lnTo>
                    <a:lnTo>
                      <a:pt x="818" y="7415"/>
                    </a:lnTo>
                    <a:lnTo>
                      <a:pt x="963" y="7254"/>
                    </a:lnTo>
                    <a:lnTo>
                      <a:pt x="1171" y="7066"/>
                    </a:lnTo>
                    <a:lnTo>
                      <a:pt x="1360" y="6964"/>
                    </a:lnTo>
                    <a:lnTo>
                      <a:pt x="1640" y="6779"/>
                    </a:lnTo>
                    <a:lnTo>
                      <a:pt x="1824" y="6697"/>
                    </a:lnTo>
                    <a:lnTo>
                      <a:pt x="1965" y="6776"/>
                    </a:lnTo>
                    <a:lnTo>
                      <a:pt x="2035" y="6806"/>
                    </a:lnTo>
                    <a:lnTo>
                      <a:pt x="1962" y="6970"/>
                    </a:lnTo>
                    <a:lnTo>
                      <a:pt x="2059" y="7060"/>
                    </a:lnTo>
                    <a:lnTo>
                      <a:pt x="2201" y="7154"/>
                    </a:lnTo>
                    <a:lnTo>
                      <a:pt x="2279" y="7259"/>
                    </a:lnTo>
                    <a:lnTo>
                      <a:pt x="2349" y="7380"/>
                    </a:lnTo>
                    <a:lnTo>
                      <a:pt x="2402" y="7486"/>
                    </a:lnTo>
                    <a:lnTo>
                      <a:pt x="2588" y="7427"/>
                    </a:lnTo>
                    <a:lnTo>
                      <a:pt x="2704" y="7392"/>
                    </a:lnTo>
                    <a:lnTo>
                      <a:pt x="2477" y="7353"/>
                    </a:lnTo>
                    <a:lnTo>
                      <a:pt x="2507" y="7224"/>
                    </a:lnTo>
                    <a:lnTo>
                      <a:pt x="2385" y="7111"/>
                    </a:lnTo>
                    <a:lnTo>
                      <a:pt x="2457" y="7001"/>
                    </a:lnTo>
                    <a:lnTo>
                      <a:pt x="2568" y="6884"/>
                    </a:lnTo>
                    <a:lnTo>
                      <a:pt x="2663" y="6782"/>
                    </a:lnTo>
                    <a:lnTo>
                      <a:pt x="2688" y="6638"/>
                    </a:lnTo>
                    <a:lnTo>
                      <a:pt x="2465" y="6293"/>
                    </a:lnTo>
                    <a:lnTo>
                      <a:pt x="2378" y="6333"/>
                    </a:lnTo>
                    <a:lnTo>
                      <a:pt x="2288" y="6439"/>
                    </a:lnTo>
                    <a:lnTo>
                      <a:pt x="2244" y="6334"/>
                    </a:lnTo>
                    <a:lnTo>
                      <a:pt x="2308" y="6154"/>
                    </a:lnTo>
                    <a:lnTo>
                      <a:pt x="2391" y="5828"/>
                    </a:lnTo>
                    <a:lnTo>
                      <a:pt x="2470" y="5946"/>
                    </a:lnTo>
                    <a:lnTo>
                      <a:pt x="2621" y="5667"/>
                    </a:lnTo>
                    <a:lnTo>
                      <a:pt x="2588" y="5538"/>
                    </a:lnTo>
                    <a:lnTo>
                      <a:pt x="2700" y="5236"/>
                    </a:lnTo>
                    <a:lnTo>
                      <a:pt x="2713" y="5107"/>
                    </a:lnTo>
                    <a:lnTo>
                      <a:pt x="2827" y="4916"/>
                    </a:lnTo>
                    <a:lnTo>
                      <a:pt x="2906" y="4653"/>
                    </a:lnTo>
                    <a:lnTo>
                      <a:pt x="2834" y="4528"/>
                    </a:lnTo>
                    <a:lnTo>
                      <a:pt x="2781" y="4435"/>
                    </a:lnTo>
                    <a:lnTo>
                      <a:pt x="2770" y="4225"/>
                    </a:lnTo>
                    <a:lnTo>
                      <a:pt x="2744" y="4021"/>
                    </a:lnTo>
                    <a:lnTo>
                      <a:pt x="2681" y="3962"/>
                    </a:lnTo>
                    <a:lnTo>
                      <a:pt x="2668" y="4165"/>
                    </a:lnTo>
                    <a:lnTo>
                      <a:pt x="2493" y="4247"/>
                    </a:lnTo>
                    <a:lnTo>
                      <a:pt x="2390" y="4259"/>
                    </a:lnTo>
                    <a:lnTo>
                      <a:pt x="2383" y="4388"/>
                    </a:lnTo>
                    <a:lnTo>
                      <a:pt x="2138" y="4670"/>
                    </a:lnTo>
                    <a:lnTo>
                      <a:pt x="2017" y="4784"/>
                    </a:lnTo>
                    <a:lnTo>
                      <a:pt x="2021" y="4928"/>
                    </a:lnTo>
                    <a:lnTo>
                      <a:pt x="2181" y="4928"/>
                    </a:lnTo>
                    <a:lnTo>
                      <a:pt x="2089" y="5051"/>
                    </a:lnTo>
                    <a:lnTo>
                      <a:pt x="1763" y="5172"/>
                    </a:lnTo>
                    <a:lnTo>
                      <a:pt x="1494" y="5367"/>
                    </a:lnTo>
                    <a:lnTo>
                      <a:pt x="1139" y="5673"/>
                    </a:lnTo>
                    <a:lnTo>
                      <a:pt x="1065" y="5619"/>
                    </a:lnTo>
                    <a:lnTo>
                      <a:pt x="1229" y="5493"/>
                    </a:lnTo>
                    <a:lnTo>
                      <a:pt x="1218" y="5329"/>
                    </a:lnTo>
                    <a:lnTo>
                      <a:pt x="1102" y="5458"/>
                    </a:lnTo>
                    <a:lnTo>
                      <a:pt x="951" y="5646"/>
                    </a:lnTo>
                    <a:lnTo>
                      <a:pt x="854" y="5952"/>
                    </a:lnTo>
                    <a:lnTo>
                      <a:pt x="668" y="6179"/>
                    </a:lnTo>
                    <a:lnTo>
                      <a:pt x="513" y="6351"/>
                    </a:lnTo>
                    <a:lnTo>
                      <a:pt x="357" y="6492"/>
                    </a:lnTo>
                    <a:lnTo>
                      <a:pt x="370" y="6645"/>
                    </a:lnTo>
                    <a:lnTo>
                      <a:pt x="328" y="6754"/>
                    </a:lnTo>
                    <a:lnTo>
                      <a:pt x="404" y="6918"/>
                    </a:lnTo>
                    <a:lnTo>
                      <a:pt x="341" y="7041"/>
                    </a:lnTo>
                    <a:lnTo>
                      <a:pt x="468" y="7096"/>
                    </a:lnTo>
                    <a:lnTo>
                      <a:pt x="435" y="7233"/>
                    </a:lnTo>
                    <a:lnTo>
                      <a:pt x="586" y="7126"/>
                    </a:lnTo>
                    <a:lnTo>
                      <a:pt x="490" y="7354"/>
                    </a:lnTo>
                    <a:lnTo>
                      <a:pt x="325" y="7154"/>
                    </a:lnTo>
                    <a:lnTo>
                      <a:pt x="301" y="6908"/>
                    </a:lnTo>
                    <a:lnTo>
                      <a:pt x="265" y="6667"/>
                    </a:lnTo>
                    <a:lnTo>
                      <a:pt x="0" y="6160"/>
                    </a:lnTo>
                    <a:cubicBezTo>
                      <a:pt x="607" y="5114"/>
                      <a:pt x="1274" y="4187"/>
                      <a:pt x="1990" y="3393"/>
                    </a:cubicBezTo>
                    <a:cubicBezTo>
                      <a:pt x="2818" y="2477"/>
                      <a:pt x="3705" y="1746"/>
                      <a:pt x="4632" y="1216"/>
                    </a:cubicBezTo>
                    <a:cubicBezTo>
                      <a:pt x="5586" y="636"/>
                      <a:pt x="6574" y="259"/>
                      <a:pt x="7577" y="95"/>
                    </a:cubicBezTo>
                    <a:cubicBezTo>
                      <a:pt x="8699" y="-89"/>
                      <a:pt x="9831" y="-6"/>
                      <a:pt x="10941" y="343"/>
                    </a:cubicBezTo>
                    <a:cubicBezTo>
                      <a:pt x="11759" y="594"/>
                      <a:pt x="12562" y="990"/>
                      <a:pt x="13336" y="1526"/>
                    </a:cubicBezTo>
                    <a:cubicBezTo>
                      <a:pt x="14083" y="2044"/>
                      <a:pt x="14800" y="2689"/>
                      <a:pt x="15478" y="3453"/>
                    </a:cubicBezTo>
                    <a:cubicBezTo>
                      <a:pt x="16137" y="4153"/>
                      <a:pt x="16753" y="4972"/>
                      <a:pt x="17319" y="5896"/>
                    </a:cubicBezTo>
                    <a:cubicBezTo>
                      <a:pt x="17855" y="6774"/>
                      <a:pt x="18343" y="7742"/>
                      <a:pt x="18774" y="8788"/>
                    </a:cubicBezTo>
                    <a:cubicBezTo>
                      <a:pt x="19246" y="9774"/>
                      <a:pt x="19668" y="10832"/>
                      <a:pt x="20036" y="11950"/>
                    </a:cubicBezTo>
                    <a:cubicBezTo>
                      <a:pt x="20392" y="13028"/>
                      <a:pt x="20696" y="14158"/>
                      <a:pt x="20945" y="15328"/>
                    </a:cubicBezTo>
                    <a:cubicBezTo>
                      <a:pt x="21172" y="16358"/>
                      <a:pt x="21341" y="17425"/>
                      <a:pt x="21451" y="18514"/>
                    </a:cubicBezTo>
                    <a:cubicBezTo>
                      <a:pt x="21551" y="19503"/>
                      <a:pt x="21600" y="20506"/>
                      <a:pt x="21599" y="21511"/>
                    </a:cubicBezTo>
                    <a:lnTo>
                      <a:pt x="21410" y="21296"/>
                    </a:lnTo>
                    <a:lnTo>
                      <a:pt x="21242" y="21132"/>
                    </a:lnTo>
                    <a:lnTo>
                      <a:pt x="21183" y="20971"/>
                    </a:lnTo>
                    <a:lnTo>
                      <a:pt x="21111" y="20701"/>
                    </a:lnTo>
                    <a:lnTo>
                      <a:pt x="21071" y="20595"/>
                    </a:lnTo>
                    <a:lnTo>
                      <a:pt x="20935" y="20474"/>
                    </a:lnTo>
                    <a:cubicBezTo>
                      <a:pt x="20910" y="20403"/>
                      <a:pt x="20893" y="20325"/>
                      <a:pt x="20885" y="20242"/>
                    </a:cubicBezTo>
                    <a:cubicBezTo>
                      <a:pt x="20878" y="20163"/>
                      <a:pt x="20879" y="20083"/>
                      <a:pt x="20878" y="20003"/>
                    </a:cubicBezTo>
                    <a:cubicBezTo>
                      <a:pt x="20878" y="19887"/>
                      <a:pt x="20873" y="19772"/>
                      <a:pt x="20865" y="19657"/>
                    </a:cubicBezTo>
                    <a:lnTo>
                      <a:pt x="20806" y="19224"/>
                    </a:lnTo>
                    <a:lnTo>
                      <a:pt x="20613" y="18374"/>
                    </a:lnTo>
                    <a:lnTo>
                      <a:pt x="20532" y="17853"/>
                    </a:lnTo>
                    <a:lnTo>
                      <a:pt x="20495" y="17531"/>
                    </a:lnTo>
                    <a:lnTo>
                      <a:pt x="20451" y="17300"/>
                    </a:lnTo>
                    <a:lnTo>
                      <a:pt x="20465" y="17039"/>
                    </a:lnTo>
                    <a:lnTo>
                      <a:pt x="20399" y="16647"/>
                    </a:lnTo>
                    <a:lnTo>
                      <a:pt x="20304" y="16145"/>
                    </a:lnTo>
                    <a:lnTo>
                      <a:pt x="20144" y="15894"/>
                    </a:lnTo>
                    <a:lnTo>
                      <a:pt x="19991" y="15416"/>
                    </a:lnTo>
                    <a:lnTo>
                      <a:pt x="19958" y="15078"/>
                    </a:lnTo>
                    <a:lnTo>
                      <a:pt x="19927" y="14823"/>
                    </a:lnTo>
                    <a:lnTo>
                      <a:pt x="19888" y="14647"/>
                    </a:lnTo>
                    <a:lnTo>
                      <a:pt x="19732" y="14102"/>
                    </a:lnTo>
                    <a:lnTo>
                      <a:pt x="19592" y="13641"/>
                    </a:lnTo>
                    <a:lnTo>
                      <a:pt x="19613" y="13386"/>
                    </a:lnTo>
                    <a:lnTo>
                      <a:pt x="19553" y="12708"/>
                    </a:lnTo>
                    <a:lnTo>
                      <a:pt x="19409" y="11711"/>
                    </a:lnTo>
                    <a:lnTo>
                      <a:pt x="19217" y="10880"/>
                    </a:lnTo>
                    <a:lnTo>
                      <a:pt x="18969" y="10276"/>
                    </a:lnTo>
                    <a:lnTo>
                      <a:pt x="18725" y="9684"/>
                    </a:lnTo>
                    <a:lnTo>
                      <a:pt x="18572" y="9272"/>
                    </a:lnTo>
                    <a:cubicBezTo>
                      <a:pt x="18530" y="9314"/>
                      <a:pt x="18481" y="9323"/>
                      <a:pt x="18436" y="9296"/>
                    </a:cubicBezTo>
                    <a:cubicBezTo>
                      <a:pt x="18372" y="9258"/>
                      <a:pt x="18326" y="9157"/>
                      <a:pt x="18319" y="9037"/>
                    </a:cubicBezTo>
                    <a:lnTo>
                      <a:pt x="18247" y="8955"/>
                    </a:lnTo>
                    <a:cubicBezTo>
                      <a:pt x="18222" y="8856"/>
                      <a:pt x="18192" y="8762"/>
                      <a:pt x="18157" y="8672"/>
                    </a:cubicBezTo>
                    <a:cubicBezTo>
                      <a:pt x="18124" y="8586"/>
                      <a:pt x="18087" y="8505"/>
                      <a:pt x="18046" y="8429"/>
                    </a:cubicBezTo>
                    <a:lnTo>
                      <a:pt x="17881" y="8472"/>
                    </a:lnTo>
                    <a:lnTo>
                      <a:pt x="17986" y="8711"/>
                    </a:lnTo>
                    <a:lnTo>
                      <a:pt x="18122" y="9040"/>
                    </a:lnTo>
                    <a:lnTo>
                      <a:pt x="18232" y="9295"/>
                    </a:lnTo>
                    <a:lnTo>
                      <a:pt x="18315" y="9523"/>
                    </a:lnTo>
                    <a:lnTo>
                      <a:pt x="18335" y="9837"/>
                    </a:lnTo>
                    <a:lnTo>
                      <a:pt x="18453" y="9994"/>
                    </a:lnTo>
                    <a:lnTo>
                      <a:pt x="18539" y="10147"/>
                    </a:lnTo>
                    <a:lnTo>
                      <a:pt x="18637" y="10335"/>
                    </a:lnTo>
                    <a:lnTo>
                      <a:pt x="18699" y="10696"/>
                    </a:lnTo>
                    <a:lnTo>
                      <a:pt x="18797" y="10856"/>
                    </a:lnTo>
                    <a:lnTo>
                      <a:pt x="18830" y="10605"/>
                    </a:lnTo>
                    <a:lnTo>
                      <a:pt x="18784" y="10311"/>
                    </a:lnTo>
                    <a:lnTo>
                      <a:pt x="18893" y="10444"/>
                    </a:lnTo>
                    <a:lnTo>
                      <a:pt x="18887" y="10702"/>
                    </a:lnTo>
                    <a:lnTo>
                      <a:pt x="18882" y="10938"/>
                    </a:lnTo>
                    <a:lnTo>
                      <a:pt x="18797" y="11008"/>
                    </a:lnTo>
                    <a:lnTo>
                      <a:pt x="18867" y="11235"/>
                    </a:lnTo>
                    <a:lnTo>
                      <a:pt x="18959" y="11501"/>
                    </a:lnTo>
                    <a:lnTo>
                      <a:pt x="19062" y="11501"/>
                    </a:lnTo>
                    <a:lnTo>
                      <a:pt x="19128" y="11783"/>
                    </a:lnTo>
                    <a:lnTo>
                      <a:pt x="19194" y="12022"/>
                    </a:lnTo>
                    <a:lnTo>
                      <a:pt x="19299" y="12258"/>
                    </a:lnTo>
                    <a:lnTo>
                      <a:pt x="19391" y="12481"/>
                    </a:lnTo>
                    <a:lnTo>
                      <a:pt x="19404" y="12645"/>
                    </a:lnTo>
                    <a:lnTo>
                      <a:pt x="19437" y="12770"/>
                    </a:lnTo>
                    <a:lnTo>
                      <a:pt x="19457" y="12985"/>
                    </a:lnTo>
                    <a:lnTo>
                      <a:pt x="19490" y="13181"/>
                    </a:lnTo>
                    <a:lnTo>
                      <a:pt x="19527" y="13396"/>
                    </a:lnTo>
                    <a:lnTo>
                      <a:pt x="19535" y="13690"/>
                    </a:lnTo>
                    <a:lnTo>
                      <a:pt x="19450" y="13613"/>
                    </a:lnTo>
                    <a:lnTo>
                      <a:pt x="19418" y="13938"/>
                    </a:lnTo>
                    <a:cubicBezTo>
                      <a:pt x="19416" y="13965"/>
                      <a:pt x="19414" y="13992"/>
                      <a:pt x="19412" y="14019"/>
                    </a:cubicBezTo>
                    <a:cubicBezTo>
                      <a:pt x="19411" y="14046"/>
                      <a:pt x="19409" y="14073"/>
                      <a:pt x="19407" y="14099"/>
                    </a:cubicBezTo>
                    <a:lnTo>
                      <a:pt x="19324" y="13888"/>
                    </a:lnTo>
                    <a:lnTo>
                      <a:pt x="19256" y="13900"/>
                    </a:lnTo>
                    <a:cubicBezTo>
                      <a:pt x="19229" y="13884"/>
                      <a:pt x="19204" y="13860"/>
                      <a:pt x="19182" y="13830"/>
                    </a:cubicBezTo>
                    <a:cubicBezTo>
                      <a:pt x="19144" y="13778"/>
                      <a:pt x="19115" y="13709"/>
                      <a:pt x="19099" y="13630"/>
                    </a:cubicBezTo>
                    <a:cubicBezTo>
                      <a:pt x="19074" y="13571"/>
                      <a:pt x="19048" y="13514"/>
                      <a:pt x="19022" y="13457"/>
                    </a:cubicBezTo>
                    <a:cubicBezTo>
                      <a:pt x="18987" y="13383"/>
                      <a:pt x="18951" y="13309"/>
                      <a:pt x="18914" y="13238"/>
                    </a:cubicBezTo>
                    <a:cubicBezTo>
                      <a:pt x="18890" y="13189"/>
                      <a:pt x="18863" y="13141"/>
                      <a:pt x="18836" y="13097"/>
                    </a:cubicBezTo>
                    <a:cubicBezTo>
                      <a:pt x="18804" y="13046"/>
                      <a:pt x="18770" y="12999"/>
                      <a:pt x="18735" y="12957"/>
                    </a:cubicBezTo>
                    <a:lnTo>
                      <a:pt x="18607" y="12862"/>
                    </a:lnTo>
                    <a:lnTo>
                      <a:pt x="18537" y="12655"/>
                    </a:lnTo>
                    <a:lnTo>
                      <a:pt x="18485" y="12443"/>
                    </a:lnTo>
                    <a:lnTo>
                      <a:pt x="18485" y="12232"/>
                    </a:lnTo>
                    <a:lnTo>
                      <a:pt x="18524" y="11844"/>
                    </a:lnTo>
                    <a:lnTo>
                      <a:pt x="18522" y="11374"/>
                    </a:lnTo>
                    <a:lnTo>
                      <a:pt x="18463" y="11103"/>
                    </a:lnTo>
                    <a:lnTo>
                      <a:pt x="18325" y="10880"/>
                    </a:lnTo>
                    <a:lnTo>
                      <a:pt x="18177" y="10554"/>
                    </a:lnTo>
                    <a:lnTo>
                      <a:pt x="18076" y="10495"/>
                    </a:lnTo>
                    <a:lnTo>
                      <a:pt x="17975" y="10495"/>
                    </a:lnTo>
                    <a:lnTo>
                      <a:pt x="17912" y="10531"/>
                    </a:lnTo>
                    <a:lnTo>
                      <a:pt x="17868" y="10778"/>
                    </a:lnTo>
                    <a:lnTo>
                      <a:pt x="17772" y="10789"/>
                    </a:lnTo>
                    <a:lnTo>
                      <a:pt x="17726" y="10624"/>
                    </a:lnTo>
                    <a:lnTo>
                      <a:pt x="17693" y="10412"/>
                    </a:lnTo>
                    <a:lnTo>
                      <a:pt x="17648" y="10178"/>
                    </a:lnTo>
                    <a:lnTo>
                      <a:pt x="17611" y="10088"/>
                    </a:lnTo>
                    <a:lnTo>
                      <a:pt x="17495" y="9991"/>
                    </a:lnTo>
                    <a:lnTo>
                      <a:pt x="17432" y="9874"/>
                    </a:lnTo>
                    <a:lnTo>
                      <a:pt x="17434" y="9725"/>
                    </a:lnTo>
                    <a:lnTo>
                      <a:pt x="17348" y="9467"/>
                    </a:lnTo>
                    <a:lnTo>
                      <a:pt x="17287" y="9251"/>
                    </a:lnTo>
                    <a:lnTo>
                      <a:pt x="17189" y="9133"/>
                    </a:lnTo>
                    <a:lnTo>
                      <a:pt x="17228" y="9309"/>
                    </a:lnTo>
                    <a:lnTo>
                      <a:pt x="17287" y="9508"/>
                    </a:lnTo>
                    <a:lnTo>
                      <a:pt x="17307" y="9659"/>
                    </a:lnTo>
                    <a:lnTo>
                      <a:pt x="17346" y="9929"/>
                    </a:lnTo>
                    <a:lnTo>
                      <a:pt x="17403" y="10239"/>
                    </a:lnTo>
                    <a:lnTo>
                      <a:pt x="17487" y="10525"/>
                    </a:lnTo>
                    <a:lnTo>
                      <a:pt x="17467" y="10678"/>
                    </a:lnTo>
                    <a:lnTo>
                      <a:pt x="17306" y="10380"/>
                    </a:lnTo>
                    <a:lnTo>
                      <a:pt x="17262" y="10267"/>
                    </a:lnTo>
                    <a:cubicBezTo>
                      <a:pt x="17251" y="10247"/>
                      <a:pt x="17241" y="10228"/>
                      <a:pt x="17230" y="10208"/>
                    </a:cubicBezTo>
                    <a:cubicBezTo>
                      <a:pt x="17219" y="10189"/>
                      <a:pt x="17208" y="10169"/>
                      <a:pt x="17197" y="10150"/>
                    </a:cubicBezTo>
                    <a:lnTo>
                      <a:pt x="17074" y="10079"/>
                    </a:lnTo>
                    <a:lnTo>
                      <a:pt x="17044" y="9958"/>
                    </a:lnTo>
                    <a:lnTo>
                      <a:pt x="16952" y="9852"/>
                    </a:lnTo>
                    <a:lnTo>
                      <a:pt x="16830" y="9710"/>
                    </a:lnTo>
                    <a:lnTo>
                      <a:pt x="16714" y="9503"/>
                    </a:lnTo>
                    <a:cubicBezTo>
                      <a:pt x="16693" y="9499"/>
                      <a:pt x="16673" y="9495"/>
                      <a:pt x="16652" y="9491"/>
                    </a:cubicBezTo>
                    <a:cubicBezTo>
                      <a:pt x="16631" y="9487"/>
                      <a:pt x="16610" y="9483"/>
                      <a:pt x="16590" y="9479"/>
                    </a:cubicBezTo>
                    <a:lnTo>
                      <a:pt x="16679" y="9690"/>
                    </a:lnTo>
                    <a:lnTo>
                      <a:pt x="16593" y="9705"/>
                    </a:lnTo>
                    <a:lnTo>
                      <a:pt x="16681" y="9850"/>
                    </a:lnTo>
                    <a:lnTo>
                      <a:pt x="16896" y="10027"/>
                    </a:lnTo>
                    <a:lnTo>
                      <a:pt x="17014" y="10234"/>
                    </a:lnTo>
                    <a:lnTo>
                      <a:pt x="17120" y="10490"/>
                    </a:lnTo>
                    <a:lnTo>
                      <a:pt x="17176" y="10650"/>
                    </a:lnTo>
                    <a:lnTo>
                      <a:pt x="17223" y="10823"/>
                    </a:lnTo>
                    <a:lnTo>
                      <a:pt x="17242" y="10963"/>
                    </a:lnTo>
                    <a:lnTo>
                      <a:pt x="17255" y="11139"/>
                    </a:lnTo>
                    <a:lnTo>
                      <a:pt x="17221" y="11277"/>
                    </a:lnTo>
                    <a:lnTo>
                      <a:pt x="17122" y="11218"/>
                    </a:lnTo>
                    <a:lnTo>
                      <a:pt x="17044" y="11065"/>
                    </a:lnTo>
                    <a:lnTo>
                      <a:pt x="16972" y="10901"/>
                    </a:lnTo>
                    <a:lnTo>
                      <a:pt x="16915" y="10869"/>
                    </a:lnTo>
                    <a:lnTo>
                      <a:pt x="16799" y="10810"/>
                    </a:lnTo>
                    <a:lnTo>
                      <a:pt x="16735" y="10569"/>
                    </a:lnTo>
                    <a:lnTo>
                      <a:pt x="16702" y="10456"/>
                    </a:lnTo>
                    <a:lnTo>
                      <a:pt x="16623" y="10338"/>
                    </a:lnTo>
                    <a:lnTo>
                      <a:pt x="16548" y="10162"/>
                    </a:lnTo>
                    <a:lnTo>
                      <a:pt x="16496" y="9985"/>
                    </a:lnTo>
                    <a:lnTo>
                      <a:pt x="16496" y="9856"/>
                    </a:lnTo>
                    <a:lnTo>
                      <a:pt x="16399" y="9684"/>
                    </a:lnTo>
                    <a:lnTo>
                      <a:pt x="16319" y="9746"/>
                    </a:lnTo>
                    <a:lnTo>
                      <a:pt x="16148" y="9582"/>
                    </a:lnTo>
                    <a:cubicBezTo>
                      <a:pt x="16168" y="9621"/>
                      <a:pt x="16188" y="9660"/>
                      <a:pt x="16208" y="9700"/>
                    </a:cubicBezTo>
                    <a:cubicBezTo>
                      <a:pt x="16228" y="9739"/>
                      <a:pt x="16248" y="9778"/>
                      <a:pt x="16268" y="9817"/>
                    </a:cubicBezTo>
                    <a:lnTo>
                      <a:pt x="16161" y="9785"/>
                    </a:lnTo>
                    <a:lnTo>
                      <a:pt x="16031" y="9605"/>
                    </a:lnTo>
                    <a:lnTo>
                      <a:pt x="15928" y="9436"/>
                    </a:lnTo>
                    <a:lnTo>
                      <a:pt x="15928" y="9271"/>
                    </a:lnTo>
                    <a:lnTo>
                      <a:pt x="16064" y="9294"/>
                    </a:lnTo>
                    <a:lnTo>
                      <a:pt x="15920" y="9071"/>
                    </a:lnTo>
                    <a:lnTo>
                      <a:pt x="15866" y="9021"/>
                    </a:lnTo>
                    <a:lnTo>
                      <a:pt x="15866" y="8880"/>
                    </a:lnTo>
                    <a:cubicBezTo>
                      <a:pt x="15853" y="8850"/>
                      <a:pt x="15840" y="8820"/>
                      <a:pt x="15827" y="8790"/>
                    </a:cubicBezTo>
                    <a:cubicBezTo>
                      <a:pt x="15814" y="8760"/>
                      <a:pt x="15802" y="8730"/>
                      <a:pt x="15789" y="8700"/>
                    </a:cubicBezTo>
                    <a:lnTo>
                      <a:pt x="15699" y="8587"/>
                    </a:lnTo>
                    <a:lnTo>
                      <a:pt x="15800" y="8465"/>
                    </a:lnTo>
                    <a:lnTo>
                      <a:pt x="15955" y="8825"/>
                    </a:lnTo>
                    <a:lnTo>
                      <a:pt x="16018" y="8926"/>
                    </a:lnTo>
                    <a:lnTo>
                      <a:pt x="16064" y="8785"/>
                    </a:lnTo>
                    <a:lnTo>
                      <a:pt x="16025" y="8621"/>
                    </a:lnTo>
                    <a:lnTo>
                      <a:pt x="16110" y="8648"/>
                    </a:lnTo>
                    <a:lnTo>
                      <a:pt x="16224" y="8926"/>
                    </a:lnTo>
                    <a:lnTo>
                      <a:pt x="16327" y="9004"/>
                    </a:lnTo>
                    <a:lnTo>
                      <a:pt x="16507" y="8902"/>
                    </a:lnTo>
                    <a:lnTo>
                      <a:pt x="16625" y="8926"/>
                    </a:lnTo>
                    <a:lnTo>
                      <a:pt x="16756" y="8993"/>
                    </a:lnTo>
                    <a:lnTo>
                      <a:pt x="16815" y="8935"/>
                    </a:lnTo>
                    <a:lnTo>
                      <a:pt x="16815" y="8794"/>
                    </a:lnTo>
                    <a:lnTo>
                      <a:pt x="16917" y="8704"/>
                    </a:lnTo>
                    <a:lnTo>
                      <a:pt x="16989" y="8868"/>
                    </a:lnTo>
                    <a:lnTo>
                      <a:pt x="17083" y="8926"/>
                    </a:lnTo>
                    <a:lnTo>
                      <a:pt x="17192" y="9012"/>
                    </a:lnTo>
                    <a:lnTo>
                      <a:pt x="17004" y="8639"/>
                    </a:lnTo>
                    <a:lnTo>
                      <a:pt x="16796" y="8294"/>
                    </a:lnTo>
                    <a:lnTo>
                      <a:pt x="16703" y="8212"/>
                    </a:lnTo>
                    <a:lnTo>
                      <a:pt x="16690" y="8028"/>
                    </a:lnTo>
                    <a:lnTo>
                      <a:pt x="16653" y="7942"/>
                    </a:lnTo>
                    <a:lnTo>
                      <a:pt x="16554" y="7699"/>
                    </a:lnTo>
                    <a:lnTo>
                      <a:pt x="16495" y="7535"/>
                    </a:lnTo>
                    <a:lnTo>
                      <a:pt x="16397" y="7441"/>
                    </a:lnTo>
                    <a:lnTo>
                      <a:pt x="16208" y="7323"/>
                    </a:lnTo>
                    <a:lnTo>
                      <a:pt x="16078" y="7281"/>
                    </a:lnTo>
                    <a:lnTo>
                      <a:pt x="15916" y="7194"/>
                    </a:lnTo>
                    <a:cubicBezTo>
                      <a:pt x="15898" y="7121"/>
                      <a:pt x="15877" y="7050"/>
                      <a:pt x="15853" y="6983"/>
                    </a:cubicBezTo>
                    <a:cubicBezTo>
                      <a:pt x="15819" y="6886"/>
                      <a:pt x="15778" y="6797"/>
                      <a:pt x="15733" y="6716"/>
                    </a:cubicBezTo>
                    <a:lnTo>
                      <a:pt x="15849" y="6650"/>
                    </a:lnTo>
                    <a:lnTo>
                      <a:pt x="15908" y="6771"/>
                    </a:lnTo>
                    <a:lnTo>
                      <a:pt x="16006" y="6865"/>
                    </a:lnTo>
                    <a:lnTo>
                      <a:pt x="16043" y="6709"/>
                    </a:lnTo>
                    <a:lnTo>
                      <a:pt x="16076" y="6580"/>
                    </a:lnTo>
                    <a:lnTo>
                      <a:pt x="16102" y="6415"/>
                    </a:lnTo>
                    <a:lnTo>
                      <a:pt x="16050" y="6289"/>
                    </a:lnTo>
                    <a:lnTo>
                      <a:pt x="15990" y="6090"/>
                    </a:lnTo>
                    <a:lnTo>
                      <a:pt x="15872" y="5960"/>
                    </a:lnTo>
                    <a:lnTo>
                      <a:pt x="15754" y="5795"/>
                    </a:lnTo>
                    <a:lnTo>
                      <a:pt x="15754" y="5678"/>
                    </a:lnTo>
                    <a:lnTo>
                      <a:pt x="15747" y="5514"/>
                    </a:lnTo>
                    <a:lnTo>
                      <a:pt x="15629" y="5350"/>
                    </a:lnTo>
                    <a:lnTo>
                      <a:pt x="15498" y="5291"/>
                    </a:lnTo>
                    <a:lnTo>
                      <a:pt x="15377" y="5244"/>
                    </a:lnTo>
                    <a:lnTo>
                      <a:pt x="15218" y="5151"/>
                    </a:lnTo>
                    <a:lnTo>
                      <a:pt x="15027" y="5057"/>
                    </a:lnTo>
                    <a:lnTo>
                      <a:pt x="14951" y="5057"/>
                    </a:lnTo>
                    <a:lnTo>
                      <a:pt x="14805" y="4924"/>
                    </a:lnTo>
                    <a:lnTo>
                      <a:pt x="14753" y="4736"/>
                    </a:lnTo>
                    <a:lnTo>
                      <a:pt x="14654" y="4665"/>
                    </a:lnTo>
                    <a:cubicBezTo>
                      <a:pt x="14618" y="4619"/>
                      <a:pt x="14583" y="4567"/>
                      <a:pt x="14551" y="4512"/>
                    </a:cubicBezTo>
                    <a:cubicBezTo>
                      <a:pt x="14509" y="4441"/>
                      <a:pt x="14471" y="4363"/>
                      <a:pt x="14426" y="4297"/>
                    </a:cubicBezTo>
                    <a:cubicBezTo>
                      <a:pt x="14366" y="4207"/>
                      <a:pt x="14296" y="4141"/>
                      <a:pt x="14221" y="4101"/>
                    </a:cubicBezTo>
                    <a:lnTo>
                      <a:pt x="14208" y="4261"/>
                    </a:lnTo>
                    <a:lnTo>
                      <a:pt x="14353" y="4386"/>
                    </a:lnTo>
                    <a:lnTo>
                      <a:pt x="14660" y="4807"/>
                    </a:lnTo>
                    <a:lnTo>
                      <a:pt x="14734" y="4924"/>
                    </a:lnTo>
                    <a:lnTo>
                      <a:pt x="14616" y="5124"/>
                    </a:lnTo>
                    <a:lnTo>
                      <a:pt x="14536" y="5069"/>
                    </a:lnTo>
                    <a:lnTo>
                      <a:pt x="14371" y="5081"/>
                    </a:lnTo>
                    <a:lnTo>
                      <a:pt x="14268" y="5045"/>
                    </a:lnTo>
                    <a:lnTo>
                      <a:pt x="14169" y="4932"/>
                    </a:lnTo>
                    <a:lnTo>
                      <a:pt x="14064" y="4790"/>
                    </a:lnTo>
                    <a:cubicBezTo>
                      <a:pt x="14027" y="4784"/>
                      <a:pt x="13989" y="4773"/>
                      <a:pt x="13953" y="4755"/>
                    </a:cubicBezTo>
                    <a:cubicBezTo>
                      <a:pt x="13881" y="4720"/>
                      <a:pt x="13812" y="4663"/>
                      <a:pt x="13751" y="4586"/>
                    </a:cubicBezTo>
                    <a:lnTo>
                      <a:pt x="13626" y="4586"/>
                    </a:lnTo>
                    <a:lnTo>
                      <a:pt x="13704" y="4815"/>
                    </a:lnTo>
                    <a:lnTo>
                      <a:pt x="13805" y="4877"/>
                    </a:lnTo>
                    <a:lnTo>
                      <a:pt x="13912" y="4978"/>
                    </a:lnTo>
                    <a:lnTo>
                      <a:pt x="14054" y="5110"/>
                    </a:lnTo>
                    <a:lnTo>
                      <a:pt x="14200" y="5122"/>
                    </a:lnTo>
                    <a:lnTo>
                      <a:pt x="14341" y="5193"/>
                    </a:lnTo>
                    <a:lnTo>
                      <a:pt x="14409" y="5310"/>
                    </a:lnTo>
                    <a:lnTo>
                      <a:pt x="14551" y="5401"/>
                    </a:lnTo>
                    <a:lnTo>
                      <a:pt x="14665" y="5526"/>
                    </a:lnTo>
                    <a:lnTo>
                      <a:pt x="14777" y="5585"/>
                    </a:lnTo>
                    <a:lnTo>
                      <a:pt x="14803" y="5443"/>
                    </a:lnTo>
                    <a:lnTo>
                      <a:pt x="14727" y="5307"/>
                    </a:lnTo>
                    <a:lnTo>
                      <a:pt x="14746" y="5201"/>
                    </a:lnTo>
                    <a:lnTo>
                      <a:pt x="14832" y="5178"/>
                    </a:lnTo>
                    <a:lnTo>
                      <a:pt x="14850" y="5345"/>
                    </a:lnTo>
                    <a:lnTo>
                      <a:pt x="15040" y="5345"/>
                    </a:lnTo>
                    <a:lnTo>
                      <a:pt x="15097" y="5473"/>
                    </a:lnTo>
                    <a:lnTo>
                      <a:pt x="15143" y="5638"/>
                    </a:lnTo>
                    <a:lnTo>
                      <a:pt x="15231" y="5795"/>
                    </a:lnTo>
                    <a:lnTo>
                      <a:pt x="15371" y="5771"/>
                    </a:lnTo>
                    <a:lnTo>
                      <a:pt x="15454" y="5747"/>
                    </a:lnTo>
                    <a:lnTo>
                      <a:pt x="15548" y="5771"/>
                    </a:lnTo>
                    <a:lnTo>
                      <a:pt x="15640" y="5912"/>
                    </a:lnTo>
                    <a:lnTo>
                      <a:pt x="15713" y="6050"/>
                    </a:lnTo>
                    <a:lnTo>
                      <a:pt x="15776" y="6107"/>
                    </a:lnTo>
                    <a:lnTo>
                      <a:pt x="15877" y="6262"/>
                    </a:lnTo>
                    <a:lnTo>
                      <a:pt x="15969" y="6317"/>
                    </a:lnTo>
                    <a:lnTo>
                      <a:pt x="16008" y="6454"/>
                    </a:lnTo>
                    <a:lnTo>
                      <a:pt x="15993" y="6635"/>
                    </a:lnTo>
                    <a:lnTo>
                      <a:pt x="15761" y="6583"/>
                    </a:lnTo>
                    <a:lnTo>
                      <a:pt x="15595" y="6548"/>
                    </a:lnTo>
                    <a:lnTo>
                      <a:pt x="15529" y="6594"/>
                    </a:lnTo>
                    <a:cubicBezTo>
                      <a:pt x="15502" y="6606"/>
                      <a:pt x="15480" y="6643"/>
                      <a:pt x="15472" y="6692"/>
                    </a:cubicBezTo>
                    <a:cubicBezTo>
                      <a:pt x="15450" y="6832"/>
                      <a:pt x="15530" y="6954"/>
                      <a:pt x="15604" y="6892"/>
                    </a:cubicBezTo>
                    <a:lnTo>
                      <a:pt x="15660" y="6962"/>
                    </a:lnTo>
                    <a:lnTo>
                      <a:pt x="15750" y="7076"/>
                    </a:lnTo>
                    <a:lnTo>
                      <a:pt x="15770" y="7193"/>
                    </a:lnTo>
                    <a:lnTo>
                      <a:pt x="15750" y="7322"/>
                    </a:lnTo>
                    <a:lnTo>
                      <a:pt x="15647" y="7404"/>
                    </a:lnTo>
                    <a:lnTo>
                      <a:pt x="15496" y="7381"/>
                    </a:lnTo>
                    <a:cubicBezTo>
                      <a:pt x="15439" y="7357"/>
                      <a:pt x="15382" y="7334"/>
                      <a:pt x="15325" y="7310"/>
                    </a:cubicBezTo>
                    <a:cubicBezTo>
                      <a:pt x="15287" y="7294"/>
                      <a:pt x="15249" y="7279"/>
                      <a:pt x="15211" y="7263"/>
                    </a:cubicBezTo>
                    <a:cubicBezTo>
                      <a:pt x="15178" y="7253"/>
                      <a:pt x="15146" y="7237"/>
                      <a:pt x="15115" y="7216"/>
                    </a:cubicBezTo>
                    <a:cubicBezTo>
                      <a:pt x="15055" y="7175"/>
                      <a:pt x="15000" y="7114"/>
                      <a:pt x="14946" y="7051"/>
                    </a:cubicBezTo>
                    <a:cubicBezTo>
                      <a:pt x="14901" y="6998"/>
                      <a:pt x="14856" y="6943"/>
                      <a:pt x="14812" y="6886"/>
                    </a:cubicBezTo>
                    <a:lnTo>
                      <a:pt x="14701" y="6781"/>
                    </a:lnTo>
                    <a:lnTo>
                      <a:pt x="14628" y="6581"/>
                    </a:lnTo>
                    <a:lnTo>
                      <a:pt x="14552" y="6460"/>
                    </a:lnTo>
                    <a:lnTo>
                      <a:pt x="14427" y="6249"/>
                    </a:lnTo>
                    <a:lnTo>
                      <a:pt x="14008" y="5995"/>
                    </a:lnTo>
                    <a:lnTo>
                      <a:pt x="13773" y="5752"/>
                    </a:lnTo>
                    <a:lnTo>
                      <a:pt x="13618" y="5646"/>
                    </a:lnTo>
                    <a:lnTo>
                      <a:pt x="13668" y="5807"/>
                    </a:lnTo>
                    <a:lnTo>
                      <a:pt x="13459" y="5705"/>
                    </a:lnTo>
                    <a:lnTo>
                      <a:pt x="13336" y="5611"/>
                    </a:lnTo>
                    <a:lnTo>
                      <a:pt x="13218" y="5505"/>
                    </a:lnTo>
                    <a:lnTo>
                      <a:pt x="13086" y="5340"/>
                    </a:lnTo>
                    <a:lnTo>
                      <a:pt x="12928" y="5187"/>
                    </a:lnTo>
                    <a:lnTo>
                      <a:pt x="12829" y="5070"/>
                    </a:lnTo>
                    <a:lnTo>
                      <a:pt x="12805" y="4968"/>
                    </a:lnTo>
                    <a:lnTo>
                      <a:pt x="12632" y="4933"/>
                    </a:lnTo>
                    <a:lnTo>
                      <a:pt x="12585" y="4795"/>
                    </a:lnTo>
                    <a:lnTo>
                      <a:pt x="12542" y="4623"/>
                    </a:lnTo>
                    <a:lnTo>
                      <a:pt x="12470" y="4531"/>
                    </a:lnTo>
                    <a:lnTo>
                      <a:pt x="12439" y="4311"/>
                    </a:lnTo>
                    <a:lnTo>
                      <a:pt x="12524" y="4252"/>
                    </a:lnTo>
                    <a:lnTo>
                      <a:pt x="12522" y="4084"/>
                    </a:lnTo>
                    <a:lnTo>
                      <a:pt x="12446" y="4049"/>
                    </a:lnTo>
                    <a:lnTo>
                      <a:pt x="12446" y="3892"/>
                    </a:lnTo>
                    <a:lnTo>
                      <a:pt x="12389" y="3724"/>
                    </a:lnTo>
                    <a:lnTo>
                      <a:pt x="12352" y="3576"/>
                    </a:lnTo>
                    <a:lnTo>
                      <a:pt x="12292" y="3369"/>
                    </a:lnTo>
                    <a:lnTo>
                      <a:pt x="12279" y="3219"/>
                    </a:lnTo>
                    <a:lnTo>
                      <a:pt x="12386" y="3162"/>
                    </a:lnTo>
                    <a:lnTo>
                      <a:pt x="12555" y="3138"/>
                    </a:lnTo>
                    <a:lnTo>
                      <a:pt x="12614" y="3330"/>
                    </a:lnTo>
                    <a:lnTo>
                      <a:pt x="12699" y="3479"/>
                    </a:lnTo>
                    <a:lnTo>
                      <a:pt x="12786" y="3690"/>
                    </a:lnTo>
                    <a:lnTo>
                      <a:pt x="12924" y="3743"/>
                    </a:lnTo>
                    <a:lnTo>
                      <a:pt x="12970" y="3587"/>
                    </a:lnTo>
                    <a:lnTo>
                      <a:pt x="13119" y="3622"/>
                    </a:lnTo>
                    <a:lnTo>
                      <a:pt x="13075" y="3363"/>
                    </a:lnTo>
                    <a:lnTo>
                      <a:pt x="12994" y="3433"/>
                    </a:lnTo>
                    <a:lnTo>
                      <a:pt x="12918" y="3445"/>
                    </a:lnTo>
                    <a:lnTo>
                      <a:pt x="12848" y="3410"/>
                    </a:lnTo>
                    <a:lnTo>
                      <a:pt x="12780" y="3320"/>
                    </a:lnTo>
                    <a:lnTo>
                      <a:pt x="12656" y="3211"/>
                    </a:lnTo>
                    <a:lnTo>
                      <a:pt x="12432" y="3030"/>
                    </a:lnTo>
                    <a:lnTo>
                      <a:pt x="12318" y="3046"/>
                    </a:lnTo>
                    <a:lnTo>
                      <a:pt x="12270" y="2956"/>
                    </a:lnTo>
                    <a:lnTo>
                      <a:pt x="12192" y="2991"/>
                    </a:lnTo>
                    <a:lnTo>
                      <a:pt x="12146" y="3120"/>
                    </a:lnTo>
                    <a:lnTo>
                      <a:pt x="12041" y="3155"/>
                    </a:lnTo>
                    <a:lnTo>
                      <a:pt x="11985" y="3225"/>
                    </a:lnTo>
                    <a:lnTo>
                      <a:pt x="11911" y="3108"/>
                    </a:lnTo>
                    <a:lnTo>
                      <a:pt x="11854" y="2983"/>
                    </a:lnTo>
                    <a:lnTo>
                      <a:pt x="11985" y="2908"/>
                    </a:lnTo>
                    <a:lnTo>
                      <a:pt x="12027" y="2806"/>
                    </a:lnTo>
                    <a:lnTo>
                      <a:pt x="11961" y="2747"/>
                    </a:lnTo>
                    <a:lnTo>
                      <a:pt x="11856" y="2759"/>
                    </a:lnTo>
                    <a:lnTo>
                      <a:pt x="11654" y="2818"/>
                    </a:lnTo>
                    <a:lnTo>
                      <a:pt x="11644" y="2963"/>
                    </a:lnTo>
                    <a:lnTo>
                      <a:pt x="11565" y="2998"/>
                    </a:lnTo>
                    <a:lnTo>
                      <a:pt x="11447" y="2939"/>
                    </a:lnTo>
                    <a:lnTo>
                      <a:pt x="11484" y="2787"/>
                    </a:lnTo>
                    <a:lnTo>
                      <a:pt x="11601" y="2767"/>
                    </a:lnTo>
                    <a:lnTo>
                      <a:pt x="11411" y="2709"/>
                    </a:lnTo>
                    <a:lnTo>
                      <a:pt x="11181" y="2594"/>
                    </a:lnTo>
                    <a:lnTo>
                      <a:pt x="11205" y="2473"/>
                    </a:lnTo>
                    <a:lnTo>
                      <a:pt x="10949" y="2473"/>
                    </a:lnTo>
                    <a:lnTo>
                      <a:pt x="10859" y="2391"/>
                    </a:lnTo>
                    <a:lnTo>
                      <a:pt x="10836" y="2266"/>
                    </a:lnTo>
                    <a:lnTo>
                      <a:pt x="10753" y="2337"/>
                    </a:lnTo>
                    <a:lnTo>
                      <a:pt x="10783" y="2528"/>
                    </a:lnTo>
                    <a:lnTo>
                      <a:pt x="10705" y="2591"/>
                    </a:lnTo>
                    <a:lnTo>
                      <a:pt x="10829" y="2655"/>
                    </a:lnTo>
                    <a:lnTo>
                      <a:pt x="10941" y="2667"/>
                    </a:lnTo>
                    <a:lnTo>
                      <a:pt x="11077" y="2820"/>
                    </a:lnTo>
                    <a:lnTo>
                      <a:pt x="11180" y="2968"/>
                    </a:lnTo>
                    <a:lnTo>
                      <a:pt x="11098" y="3145"/>
                    </a:lnTo>
                    <a:lnTo>
                      <a:pt x="10969" y="3191"/>
                    </a:lnTo>
                    <a:lnTo>
                      <a:pt x="10829" y="3203"/>
                    </a:lnTo>
                    <a:lnTo>
                      <a:pt x="10711" y="3309"/>
                    </a:lnTo>
                    <a:lnTo>
                      <a:pt x="10601" y="3427"/>
                    </a:lnTo>
                    <a:lnTo>
                      <a:pt x="10504" y="3544"/>
                    </a:lnTo>
                    <a:lnTo>
                      <a:pt x="10414" y="3544"/>
                    </a:lnTo>
                    <a:lnTo>
                      <a:pt x="10330" y="3497"/>
                    </a:lnTo>
                    <a:lnTo>
                      <a:pt x="10164" y="3497"/>
                    </a:lnTo>
                    <a:lnTo>
                      <a:pt x="10098" y="3520"/>
                    </a:lnTo>
                    <a:lnTo>
                      <a:pt x="9890" y="3508"/>
                    </a:lnTo>
                    <a:lnTo>
                      <a:pt x="9724" y="3532"/>
                    </a:lnTo>
                    <a:lnTo>
                      <a:pt x="9643" y="3497"/>
                    </a:lnTo>
                    <a:lnTo>
                      <a:pt x="9713" y="3293"/>
                    </a:lnTo>
                    <a:lnTo>
                      <a:pt x="9851" y="3269"/>
                    </a:lnTo>
                    <a:lnTo>
                      <a:pt x="9958" y="3277"/>
                    </a:lnTo>
                    <a:lnTo>
                      <a:pt x="10123" y="3277"/>
                    </a:lnTo>
                    <a:lnTo>
                      <a:pt x="10213" y="3297"/>
                    </a:lnTo>
                    <a:cubicBezTo>
                      <a:pt x="10235" y="3286"/>
                      <a:pt x="10257" y="3274"/>
                      <a:pt x="10278" y="3262"/>
                    </a:cubicBezTo>
                    <a:cubicBezTo>
                      <a:pt x="10331" y="3231"/>
                      <a:pt x="10383" y="3196"/>
                      <a:pt x="10434" y="3156"/>
                    </a:cubicBezTo>
                    <a:lnTo>
                      <a:pt x="10537" y="3073"/>
                    </a:lnTo>
                    <a:cubicBezTo>
                      <a:pt x="10587" y="3061"/>
                      <a:pt x="10635" y="3037"/>
                      <a:pt x="10682" y="3003"/>
                    </a:cubicBezTo>
                    <a:cubicBezTo>
                      <a:pt x="10709" y="2983"/>
                      <a:pt x="10735" y="2960"/>
                      <a:pt x="10760" y="2933"/>
                    </a:cubicBezTo>
                    <a:lnTo>
                      <a:pt x="10845" y="2827"/>
                    </a:lnTo>
                    <a:lnTo>
                      <a:pt x="10603" y="2467"/>
                    </a:lnTo>
                    <a:lnTo>
                      <a:pt x="10462" y="2362"/>
                    </a:lnTo>
                    <a:lnTo>
                      <a:pt x="10412" y="2264"/>
                    </a:lnTo>
                    <a:lnTo>
                      <a:pt x="10265" y="2064"/>
                    </a:lnTo>
                    <a:lnTo>
                      <a:pt x="10161" y="2017"/>
                    </a:lnTo>
                    <a:lnTo>
                      <a:pt x="10195" y="2209"/>
                    </a:lnTo>
                    <a:lnTo>
                      <a:pt x="10183" y="2334"/>
                    </a:lnTo>
                    <a:lnTo>
                      <a:pt x="10112" y="2400"/>
                    </a:lnTo>
                    <a:lnTo>
                      <a:pt x="9985" y="2471"/>
                    </a:lnTo>
                    <a:lnTo>
                      <a:pt x="9919" y="2595"/>
                    </a:lnTo>
                    <a:lnTo>
                      <a:pt x="9851" y="2631"/>
                    </a:lnTo>
                    <a:lnTo>
                      <a:pt x="9762" y="2702"/>
                    </a:lnTo>
                    <a:lnTo>
                      <a:pt x="9586" y="2584"/>
                    </a:lnTo>
                    <a:lnTo>
                      <a:pt x="9620" y="2459"/>
                    </a:lnTo>
                    <a:lnTo>
                      <a:pt x="9672" y="2350"/>
                    </a:lnTo>
                    <a:lnTo>
                      <a:pt x="9681" y="2241"/>
                    </a:lnTo>
                    <a:lnTo>
                      <a:pt x="9726" y="1986"/>
                    </a:lnTo>
                    <a:lnTo>
                      <a:pt x="9713" y="1813"/>
                    </a:lnTo>
                    <a:lnTo>
                      <a:pt x="9842" y="1677"/>
                    </a:lnTo>
                    <a:lnTo>
                      <a:pt x="9919" y="1654"/>
                    </a:lnTo>
                    <a:lnTo>
                      <a:pt x="9974" y="1564"/>
                    </a:lnTo>
                    <a:lnTo>
                      <a:pt x="9839" y="1552"/>
                    </a:lnTo>
                    <a:lnTo>
                      <a:pt x="9736" y="1599"/>
                    </a:lnTo>
                    <a:lnTo>
                      <a:pt x="9642" y="1713"/>
                    </a:lnTo>
                    <a:lnTo>
                      <a:pt x="9638" y="1944"/>
                    </a:lnTo>
                    <a:lnTo>
                      <a:pt x="9619" y="2149"/>
                    </a:lnTo>
                    <a:lnTo>
                      <a:pt x="9597" y="2321"/>
                    </a:lnTo>
                    <a:lnTo>
                      <a:pt x="9507" y="2426"/>
                    </a:lnTo>
                    <a:lnTo>
                      <a:pt x="9470" y="2633"/>
                    </a:lnTo>
                    <a:lnTo>
                      <a:pt x="9387" y="2563"/>
                    </a:lnTo>
                    <a:lnTo>
                      <a:pt x="9420" y="2422"/>
                    </a:lnTo>
                    <a:lnTo>
                      <a:pt x="9414" y="2273"/>
                    </a:lnTo>
                    <a:lnTo>
                      <a:pt x="9317" y="2391"/>
                    </a:lnTo>
                    <a:lnTo>
                      <a:pt x="9256" y="2450"/>
                    </a:lnTo>
                    <a:lnTo>
                      <a:pt x="9144" y="2450"/>
                    </a:lnTo>
                    <a:lnTo>
                      <a:pt x="9026" y="2344"/>
                    </a:lnTo>
                    <a:lnTo>
                      <a:pt x="8960" y="2364"/>
                    </a:lnTo>
                    <a:lnTo>
                      <a:pt x="9052" y="2528"/>
                    </a:lnTo>
                    <a:lnTo>
                      <a:pt x="8986" y="2692"/>
                    </a:lnTo>
                    <a:lnTo>
                      <a:pt x="8866" y="2704"/>
                    </a:lnTo>
                    <a:lnTo>
                      <a:pt x="8737" y="2657"/>
                    </a:lnTo>
                    <a:lnTo>
                      <a:pt x="8588" y="2669"/>
                    </a:lnTo>
                    <a:lnTo>
                      <a:pt x="8708" y="2818"/>
                    </a:lnTo>
                    <a:lnTo>
                      <a:pt x="8704" y="2943"/>
                    </a:lnTo>
                    <a:lnTo>
                      <a:pt x="8619" y="2966"/>
                    </a:lnTo>
                    <a:lnTo>
                      <a:pt x="8490" y="3049"/>
                    </a:lnTo>
                    <a:lnTo>
                      <a:pt x="8317" y="3162"/>
                    </a:lnTo>
                    <a:lnTo>
                      <a:pt x="8223" y="3264"/>
                    </a:lnTo>
                    <a:lnTo>
                      <a:pt x="8190" y="3452"/>
                    </a:lnTo>
                    <a:lnTo>
                      <a:pt x="8125" y="3440"/>
                    </a:lnTo>
                    <a:lnTo>
                      <a:pt x="8047" y="3366"/>
                    </a:lnTo>
                    <a:lnTo>
                      <a:pt x="7916" y="3402"/>
                    </a:lnTo>
                    <a:lnTo>
                      <a:pt x="7870" y="3579"/>
                    </a:lnTo>
                    <a:lnTo>
                      <a:pt x="7830" y="3696"/>
                    </a:lnTo>
                    <a:lnTo>
                      <a:pt x="7706" y="3767"/>
                    </a:lnTo>
                    <a:lnTo>
                      <a:pt x="7588" y="3708"/>
                    </a:lnTo>
                    <a:lnTo>
                      <a:pt x="7518" y="3637"/>
                    </a:lnTo>
                    <a:lnTo>
                      <a:pt x="7374" y="3728"/>
                    </a:lnTo>
                    <a:lnTo>
                      <a:pt x="7276" y="3814"/>
                    </a:lnTo>
                    <a:lnTo>
                      <a:pt x="7250" y="3709"/>
                    </a:lnTo>
                    <a:lnTo>
                      <a:pt x="7132" y="3651"/>
                    </a:lnTo>
                    <a:lnTo>
                      <a:pt x="7044" y="3662"/>
                    </a:lnTo>
                    <a:lnTo>
                      <a:pt x="7031" y="3416"/>
                    </a:lnTo>
                    <a:lnTo>
                      <a:pt x="7130" y="3325"/>
                    </a:lnTo>
                    <a:lnTo>
                      <a:pt x="7056" y="3263"/>
                    </a:lnTo>
                    <a:lnTo>
                      <a:pt x="6974" y="3251"/>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lnSpc>
                    <a:spcPct val="90000"/>
                  </a:lnSpc>
                  <a:defRPr sz="8400">
                    <a:solidFill>
                      <a:srgbClr val="070707"/>
                    </a:solidFill>
                    <a:latin typeface="Calibri"/>
                    <a:ea typeface="Calibri"/>
                    <a:cs typeface="Calibri"/>
                    <a:sym typeface="Calibri"/>
                  </a:defRPr>
                </a:pPr>
                <a:endParaRPr sz="4200"/>
              </a:p>
            </p:txBody>
          </p:sp>
          <p:sp>
            <p:nvSpPr>
              <p:cNvPr id="496" name="Shape 496"/>
              <p:cNvSpPr/>
              <p:nvPr/>
            </p:nvSpPr>
            <p:spPr>
              <a:xfrm>
                <a:off x="3982848" y="1243415"/>
                <a:ext cx="178050" cy="223315"/>
              </a:xfrm>
              <a:custGeom>
                <a:avLst/>
                <a:gdLst/>
                <a:ahLst/>
                <a:cxnLst>
                  <a:cxn ang="0">
                    <a:pos x="wd2" y="hd2"/>
                  </a:cxn>
                  <a:cxn ang="5400000">
                    <a:pos x="wd2" y="hd2"/>
                  </a:cxn>
                  <a:cxn ang="10800000">
                    <a:pos x="wd2" y="hd2"/>
                  </a:cxn>
                  <a:cxn ang="16200000">
                    <a:pos x="wd2" y="hd2"/>
                  </a:cxn>
                </a:cxnLst>
                <a:rect l="0" t="0" r="r" b="b"/>
                <a:pathLst>
                  <a:path w="21180" h="20974" extrusionOk="0">
                    <a:moveTo>
                      <a:pt x="10266" y="844"/>
                    </a:moveTo>
                    <a:lnTo>
                      <a:pt x="7674" y="844"/>
                    </a:lnTo>
                    <a:lnTo>
                      <a:pt x="4819" y="0"/>
                    </a:lnTo>
                    <a:lnTo>
                      <a:pt x="4343" y="2648"/>
                    </a:lnTo>
                    <a:lnTo>
                      <a:pt x="2634" y="3496"/>
                    </a:lnTo>
                    <a:lnTo>
                      <a:pt x="5752" y="6202"/>
                    </a:lnTo>
                    <a:lnTo>
                      <a:pt x="4694" y="7602"/>
                    </a:lnTo>
                    <a:lnTo>
                      <a:pt x="4320" y="9806"/>
                    </a:lnTo>
                    <a:lnTo>
                      <a:pt x="7247" y="11451"/>
                    </a:lnTo>
                    <a:lnTo>
                      <a:pt x="6761" y="13208"/>
                    </a:lnTo>
                    <a:lnTo>
                      <a:pt x="3970" y="12204"/>
                    </a:lnTo>
                    <a:lnTo>
                      <a:pt x="42" y="12204"/>
                    </a:lnTo>
                    <a:lnTo>
                      <a:pt x="0" y="14301"/>
                    </a:lnTo>
                    <a:lnTo>
                      <a:pt x="2309" y="16253"/>
                    </a:lnTo>
                    <a:lnTo>
                      <a:pt x="4721" y="18507"/>
                    </a:lnTo>
                    <a:lnTo>
                      <a:pt x="6812" y="16856"/>
                    </a:lnTo>
                    <a:lnTo>
                      <a:pt x="8832" y="15707"/>
                    </a:lnTo>
                    <a:lnTo>
                      <a:pt x="8816" y="18671"/>
                    </a:lnTo>
                    <a:lnTo>
                      <a:pt x="9961" y="20811"/>
                    </a:lnTo>
                    <a:lnTo>
                      <a:pt x="12927" y="20962"/>
                    </a:lnTo>
                    <a:lnTo>
                      <a:pt x="12355" y="16900"/>
                    </a:lnTo>
                    <a:lnTo>
                      <a:pt x="16744" y="18407"/>
                    </a:lnTo>
                    <a:cubicBezTo>
                      <a:pt x="15981" y="19175"/>
                      <a:pt x="16286" y="20301"/>
                      <a:pt x="17380" y="20755"/>
                    </a:cubicBezTo>
                    <a:cubicBezTo>
                      <a:pt x="19416" y="21600"/>
                      <a:pt x="21600" y="19840"/>
                      <a:pt x="20489" y="18250"/>
                    </a:cubicBezTo>
                    <a:lnTo>
                      <a:pt x="20107" y="16159"/>
                    </a:lnTo>
                    <a:lnTo>
                      <a:pt x="21180" y="14263"/>
                    </a:lnTo>
                    <a:lnTo>
                      <a:pt x="20099" y="10999"/>
                    </a:lnTo>
                    <a:lnTo>
                      <a:pt x="19153" y="8035"/>
                    </a:lnTo>
                    <a:lnTo>
                      <a:pt x="18580" y="6177"/>
                    </a:lnTo>
                    <a:cubicBezTo>
                      <a:pt x="18217" y="5416"/>
                      <a:pt x="17705" y="4704"/>
                      <a:pt x="17062" y="4068"/>
                    </a:cubicBezTo>
                    <a:cubicBezTo>
                      <a:pt x="16337" y="3351"/>
                      <a:pt x="15456" y="2741"/>
                      <a:pt x="14461" y="2266"/>
                    </a:cubicBezTo>
                    <a:lnTo>
                      <a:pt x="10266" y="844"/>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497" name="Shape 497"/>
              <p:cNvSpPr/>
              <p:nvPr/>
            </p:nvSpPr>
            <p:spPr>
              <a:xfrm>
                <a:off x="4295216" y="1109007"/>
                <a:ext cx="61554" cy="29744"/>
              </a:xfrm>
              <a:custGeom>
                <a:avLst/>
                <a:gdLst/>
                <a:ahLst/>
                <a:cxnLst>
                  <a:cxn ang="0">
                    <a:pos x="wd2" y="hd2"/>
                  </a:cxn>
                  <a:cxn ang="5400000">
                    <a:pos x="wd2" y="hd2"/>
                  </a:cxn>
                  <a:cxn ang="10800000">
                    <a:pos x="wd2" y="hd2"/>
                  </a:cxn>
                  <a:cxn ang="16200000">
                    <a:pos x="wd2" y="hd2"/>
                  </a:cxn>
                </a:cxnLst>
                <a:rect l="0" t="0" r="r" b="b"/>
                <a:pathLst>
                  <a:path w="21600" h="21600" extrusionOk="0">
                    <a:moveTo>
                      <a:pt x="7776" y="999"/>
                    </a:moveTo>
                    <a:lnTo>
                      <a:pt x="16031" y="2988"/>
                    </a:lnTo>
                    <a:lnTo>
                      <a:pt x="21600" y="17424"/>
                    </a:lnTo>
                    <a:lnTo>
                      <a:pt x="13178" y="21600"/>
                    </a:lnTo>
                    <a:lnTo>
                      <a:pt x="5321" y="12716"/>
                    </a:lnTo>
                    <a:lnTo>
                      <a:pt x="0" y="0"/>
                    </a:lnTo>
                    <a:lnTo>
                      <a:pt x="7776" y="999"/>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498" name="Shape 498"/>
              <p:cNvSpPr/>
              <p:nvPr/>
            </p:nvSpPr>
            <p:spPr>
              <a:xfrm>
                <a:off x="4230253" y="1182630"/>
                <a:ext cx="71725" cy="47046"/>
              </a:xfrm>
              <a:custGeom>
                <a:avLst/>
                <a:gdLst/>
                <a:ahLst/>
                <a:cxnLst>
                  <a:cxn ang="0">
                    <a:pos x="wd2" y="hd2"/>
                  </a:cxn>
                  <a:cxn ang="5400000">
                    <a:pos x="wd2" y="hd2"/>
                  </a:cxn>
                  <a:cxn ang="10800000">
                    <a:pos x="wd2" y="hd2"/>
                  </a:cxn>
                  <a:cxn ang="16200000">
                    <a:pos x="wd2" y="hd2"/>
                  </a:cxn>
                </a:cxnLst>
                <a:rect l="0" t="0" r="r" b="b"/>
                <a:pathLst>
                  <a:path w="21600" h="21600" extrusionOk="0">
                    <a:moveTo>
                      <a:pt x="4898" y="0"/>
                    </a:moveTo>
                    <a:lnTo>
                      <a:pt x="10252" y="4850"/>
                    </a:lnTo>
                    <a:lnTo>
                      <a:pt x="21600" y="13527"/>
                    </a:lnTo>
                    <a:lnTo>
                      <a:pt x="17432" y="21600"/>
                    </a:lnTo>
                    <a:lnTo>
                      <a:pt x="12804" y="18684"/>
                    </a:lnTo>
                    <a:lnTo>
                      <a:pt x="7529" y="18684"/>
                    </a:lnTo>
                    <a:lnTo>
                      <a:pt x="3200" y="14264"/>
                    </a:lnTo>
                    <a:lnTo>
                      <a:pt x="0" y="6164"/>
                    </a:lnTo>
                    <a:lnTo>
                      <a:pt x="4898"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499" name="Shape 499"/>
              <p:cNvSpPr/>
              <p:nvPr/>
            </p:nvSpPr>
            <p:spPr>
              <a:xfrm>
                <a:off x="4247846" y="734073"/>
                <a:ext cx="68144" cy="3853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543" y="10415"/>
                    </a:lnTo>
                    <a:lnTo>
                      <a:pt x="11409" y="21600"/>
                    </a:lnTo>
                    <a:lnTo>
                      <a:pt x="21600" y="19952"/>
                    </a:lnTo>
                    <a:lnTo>
                      <a:pt x="14185" y="6837"/>
                    </a:lnTo>
                    <a:lnTo>
                      <a:pt x="7404" y="2044"/>
                    </a:lnTo>
                    <a:lnTo>
                      <a:pt x="0"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00" name="Shape 500"/>
              <p:cNvSpPr/>
              <p:nvPr/>
            </p:nvSpPr>
            <p:spPr>
              <a:xfrm>
                <a:off x="3787736" y="1059905"/>
                <a:ext cx="38271" cy="3315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7239" y="6531"/>
                    </a:lnTo>
                    <a:lnTo>
                      <a:pt x="21600" y="21600"/>
                    </a:lnTo>
                    <a:lnTo>
                      <a:pt x="7563" y="17418"/>
                    </a:lnTo>
                    <a:lnTo>
                      <a:pt x="0"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01" name="Shape 501"/>
              <p:cNvSpPr/>
              <p:nvPr/>
            </p:nvSpPr>
            <p:spPr>
              <a:xfrm>
                <a:off x="3175212" y="701224"/>
                <a:ext cx="267846" cy="134003"/>
              </a:xfrm>
              <a:custGeom>
                <a:avLst/>
                <a:gdLst/>
                <a:ahLst/>
                <a:cxnLst>
                  <a:cxn ang="0">
                    <a:pos x="wd2" y="hd2"/>
                  </a:cxn>
                  <a:cxn ang="5400000">
                    <a:pos x="wd2" y="hd2"/>
                  </a:cxn>
                  <a:cxn ang="10800000">
                    <a:pos x="wd2" y="hd2"/>
                  </a:cxn>
                  <a:cxn ang="16200000">
                    <a:pos x="wd2" y="hd2"/>
                  </a:cxn>
                </a:cxnLst>
                <a:rect l="0" t="0" r="r" b="b"/>
                <a:pathLst>
                  <a:path w="21600" h="21600" extrusionOk="0">
                    <a:moveTo>
                      <a:pt x="2449" y="2836"/>
                    </a:moveTo>
                    <a:lnTo>
                      <a:pt x="4638" y="3611"/>
                    </a:lnTo>
                    <a:lnTo>
                      <a:pt x="7047" y="6139"/>
                    </a:lnTo>
                    <a:lnTo>
                      <a:pt x="8502" y="8873"/>
                    </a:lnTo>
                    <a:lnTo>
                      <a:pt x="9483" y="6470"/>
                    </a:lnTo>
                    <a:lnTo>
                      <a:pt x="10000" y="2333"/>
                    </a:lnTo>
                    <a:lnTo>
                      <a:pt x="11639" y="0"/>
                    </a:lnTo>
                    <a:lnTo>
                      <a:pt x="14954" y="71"/>
                    </a:lnTo>
                    <a:lnTo>
                      <a:pt x="16717" y="3714"/>
                    </a:lnTo>
                    <a:lnTo>
                      <a:pt x="13709" y="4575"/>
                    </a:lnTo>
                    <a:lnTo>
                      <a:pt x="14825" y="6806"/>
                    </a:lnTo>
                    <a:lnTo>
                      <a:pt x="12296" y="8099"/>
                    </a:lnTo>
                    <a:lnTo>
                      <a:pt x="14021" y="10405"/>
                    </a:lnTo>
                    <a:lnTo>
                      <a:pt x="17207" y="9123"/>
                    </a:lnTo>
                    <a:lnTo>
                      <a:pt x="20312" y="7571"/>
                    </a:lnTo>
                    <a:lnTo>
                      <a:pt x="21600" y="9619"/>
                    </a:lnTo>
                    <a:lnTo>
                      <a:pt x="19837" y="11925"/>
                    </a:lnTo>
                    <a:lnTo>
                      <a:pt x="18295" y="13368"/>
                    </a:lnTo>
                    <a:lnTo>
                      <a:pt x="16624" y="14995"/>
                    </a:lnTo>
                    <a:lnTo>
                      <a:pt x="14043" y="15685"/>
                    </a:lnTo>
                    <a:lnTo>
                      <a:pt x="14905" y="18864"/>
                    </a:lnTo>
                    <a:lnTo>
                      <a:pt x="11886" y="20576"/>
                    </a:lnTo>
                    <a:lnTo>
                      <a:pt x="10216" y="21600"/>
                    </a:lnTo>
                    <a:lnTo>
                      <a:pt x="7973" y="21600"/>
                    </a:lnTo>
                    <a:lnTo>
                      <a:pt x="7251" y="16612"/>
                    </a:lnTo>
                    <a:lnTo>
                      <a:pt x="5245" y="15750"/>
                    </a:lnTo>
                    <a:lnTo>
                      <a:pt x="4232" y="13261"/>
                    </a:lnTo>
                    <a:lnTo>
                      <a:pt x="1267" y="14036"/>
                    </a:lnTo>
                    <a:lnTo>
                      <a:pt x="1135" y="11473"/>
                    </a:lnTo>
                    <a:lnTo>
                      <a:pt x="1577" y="9156"/>
                    </a:lnTo>
                    <a:lnTo>
                      <a:pt x="171" y="8391"/>
                    </a:lnTo>
                    <a:lnTo>
                      <a:pt x="0" y="5470"/>
                    </a:lnTo>
                    <a:lnTo>
                      <a:pt x="2449" y="2836"/>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02" name="Shape 502"/>
              <p:cNvSpPr/>
              <p:nvPr/>
            </p:nvSpPr>
            <p:spPr>
              <a:xfrm>
                <a:off x="2862984" y="575518"/>
                <a:ext cx="188831" cy="75285"/>
              </a:xfrm>
              <a:custGeom>
                <a:avLst/>
                <a:gdLst/>
                <a:ahLst/>
                <a:cxnLst>
                  <a:cxn ang="0">
                    <a:pos x="wd2" y="hd2"/>
                  </a:cxn>
                  <a:cxn ang="5400000">
                    <a:pos x="wd2" y="hd2"/>
                  </a:cxn>
                  <a:cxn ang="10800000">
                    <a:pos x="wd2" y="hd2"/>
                  </a:cxn>
                  <a:cxn ang="16200000">
                    <a:pos x="wd2" y="hd2"/>
                  </a:cxn>
                </a:cxnLst>
                <a:rect l="0" t="0" r="r" b="b"/>
                <a:pathLst>
                  <a:path w="21600" h="21600" extrusionOk="0">
                    <a:moveTo>
                      <a:pt x="8108" y="1841"/>
                    </a:moveTo>
                    <a:lnTo>
                      <a:pt x="11219" y="0"/>
                    </a:lnTo>
                    <a:lnTo>
                      <a:pt x="12693" y="2920"/>
                    </a:lnTo>
                    <a:lnTo>
                      <a:pt x="15002" y="7025"/>
                    </a:lnTo>
                    <a:lnTo>
                      <a:pt x="17984" y="6564"/>
                    </a:lnTo>
                    <a:lnTo>
                      <a:pt x="20370" y="7178"/>
                    </a:lnTo>
                    <a:lnTo>
                      <a:pt x="21592" y="11781"/>
                    </a:lnTo>
                    <a:lnTo>
                      <a:pt x="20377" y="16536"/>
                    </a:lnTo>
                    <a:lnTo>
                      <a:pt x="21600" y="20967"/>
                    </a:lnTo>
                    <a:lnTo>
                      <a:pt x="18320" y="21600"/>
                    </a:lnTo>
                    <a:lnTo>
                      <a:pt x="15874" y="18991"/>
                    </a:lnTo>
                    <a:lnTo>
                      <a:pt x="13304" y="18531"/>
                    </a:lnTo>
                    <a:lnTo>
                      <a:pt x="13366" y="13775"/>
                    </a:lnTo>
                    <a:lnTo>
                      <a:pt x="10805" y="13793"/>
                    </a:lnTo>
                    <a:lnTo>
                      <a:pt x="9589" y="17629"/>
                    </a:lnTo>
                    <a:lnTo>
                      <a:pt x="7203" y="17936"/>
                    </a:lnTo>
                    <a:lnTo>
                      <a:pt x="4443" y="20698"/>
                    </a:lnTo>
                    <a:lnTo>
                      <a:pt x="4471" y="15980"/>
                    </a:lnTo>
                    <a:lnTo>
                      <a:pt x="5077" y="11088"/>
                    </a:lnTo>
                    <a:lnTo>
                      <a:pt x="0" y="11088"/>
                    </a:lnTo>
                    <a:lnTo>
                      <a:pt x="1197" y="3322"/>
                    </a:lnTo>
                    <a:lnTo>
                      <a:pt x="3832" y="1039"/>
                    </a:lnTo>
                    <a:lnTo>
                      <a:pt x="5591" y="6390"/>
                    </a:lnTo>
                    <a:lnTo>
                      <a:pt x="8108" y="1841"/>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03" name="Shape 503"/>
              <p:cNvSpPr/>
              <p:nvPr/>
            </p:nvSpPr>
            <p:spPr>
              <a:xfrm>
                <a:off x="2448511" y="499464"/>
                <a:ext cx="186593" cy="101127"/>
              </a:xfrm>
              <a:custGeom>
                <a:avLst/>
                <a:gdLst/>
                <a:ahLst/>
                <a:cxnLst>
                  <a:cxn ang="0">
                    <a:pos x="wd2" y="hd2"/>
                  </a:cxn>
                  <a:cxn ang="5400000">
                    <a:pos x="wd2" y="hd2"/>
                  </a:cxn>
                  <a:cxn ang="10800000">
                    <a:pos x="wd2" y="hd2"/>
                  </a:cxn>
                  <a:cxn ang="16200000">
                    <a:pos x="wd2" y="hd2"/>
                  </a:cxn>
                </a:cxnLst>
                <a:rect l="0" t="0" r="r" b="b"/>
                <a:pathLst>
                  <a:path w="21600" h="21600" extrusionOk="0">
                    <a:moveTo>
                      <a:pt x="11598" y="3226"/>
                    </a:moveTo>
                    <a:lnTo>
                      <a:pt x="13655" y="5410"/>
                    </a:lnTo>
                    <a:lnTo>
                      <a:pt x="16478" y="8622"/>
                    </a:lnTo>
                    <a:lnTo>
                      <a:pt x="18327" y="5996"/>
                    </a:lnTo>
                    <a:lnTo>
                      <a:pt x="20857" y="7022"/>
                    </a:lnTo>
                    <a:lnTo>
                      <a:pt x="21600" y="12391"/>
                    </a:lnTo>
                    <a:lnTo>
                      <a:pt x="18938" y="14662"/>
                    </a:lnTo>
                    <a:lnTo>
                      <a:pt x="19124" y="19672"/>
                    </a:lnTo>
                    <a:lnTo>
                      <a:pt x="16540" y="21600"/>
                    </a:lnTo>
                    <a:lnTo>
                      <a:pt x="14133" y="19544"/>
                    </a:lnTo>
                    <a:lnTo>
                      <a:pt x="12834" y="16474"/>
                    </a:lnTo>
                    <a:lnTo>
                      <a:pt x="11162" y="13734"/>
                    </a:lnTo>
                    <a:lnTo>
                      <a:pt x="8028" y="8479"/>
                    </a:lnTo>
                    <a:lnTo>
                      <a:pt x="6001" y="11749"/>
                    </a:lnTo>
                    <a:lnTo>
                      <a:pt x="2356" y="11749"/>
                    </a:lnTo>
                    <a:lnTo>
                      <a:pt x="262" y="8665"/>
                    </a:lnTo>
                    <a:lnTo>
                      <a:pt x="0" y="4897"/>
                    </a:lnTo>
                    <a:lnTo>
                      <a:pt x="4482" y="2384"/>
                    </a:lnTo>
                    <a:lnTo>
                      <a:pt x="5906" y="0"/>
                    </a:lnTo>
                    <a:lnTo>
                      <a:pt x="8629" y="878"/>
                    </a:lnTo>
                    <a:lnTo>
                      <a:pt x="9527" y="5373"/>
                    </a:lnTo>
                    <a:lnTo>
                      <a:pt x="11598" y="3226"/>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04" name="Shape 504"/>
              <p:cNvSpPr/>
              <p:nvPr/>
            </p:nvSpPr>
            <p:spPr>
              <a:xfrm>
                <a:off x="1942817" y="639221"/>
                <a:ext cx="101570" cy="75366"/>
              </a:xfrm>
              <a:custGeom>
                <a:avLst/>
                <a:gdLst/>
                <a:ahLst/>
                <a:cxnLst>
                  <a:cxn ang="0">
                    <a:pos x="wd2" y="hd2"/>
                  </a:cxn>
                  <a:cxn ang="5400000">
                    <a:pos x="wd2" y="hd2"/>
                  </a:cxn>
                  <a:cxn ang="10800000">
                    <a:pos x="wd2" y="hd2"/>
                  </a:cxn>
                  <a:cxn ang="16200000">
                    <a:pos x="wd2" y="hd2"/>
                  </a:cxn>
                </a:cxnLst>
                <a:rect l="0" t="0" r="r" b="b"/>
                <a:pathLst>
                  <a:path w="21600" h="21600" extrusionOk="0">
                    <a:moveTo>
                      <a:pt x="20237" y="0"/>
                    </a:moveTo>
                    <a:lnTo>
                      <a:pt x="10984" y="172"/>
                    </a:lnTo>
                    <a:lnTo>
                      <a:pt x="3381" y="1772"/>
                    </a:lnTo>
                    <a:lnTo>
                      <a:pt x="4897" y="8630"/>
                    </a:lnTo>
                    <a:lnTo>
                      <a:pt x="1644" y="12271"/>
                    </a:lnTo>
                    <a:lnTo>
                      <a:pt x="0" y="18536"/>
                    </a:lnTo>
                    <a:lnTo>
                      <a:pt x="4912" y="21600"/>
                    </a:lnTo>
                    <a:lnTo>
                      <a:pt x="10939" y="17022"/>
                    </a:lnTo>
                    <a:lnTo>
                      <a:pt x="16851" y="13650"/>
                    </a:lnTo>
                    <a:lnTo>
                      <a:pt x="21600" y="7998"/>
                    </a:lnTo>
                    <a:lnTo>
                      <a:pt x="20237"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05" name="Shape 505"/>
              <p:cNvSpPr/>
              <p:nvPr/>
            </p:nvSpPr>
            <p:spPr>
              <a:xfrm>
                <a:off x="1892662" y="725523"/>
                <a:ext cx="72593" cy="37300"/>
              </a:xfrm>
              <a:custGeom>
                <a:avLst/>
                <a:gdLst/>
                <a:ahLst/>
                <a:cxnLst>
                  <a:cxn ang="0">
                    <a:pos x="wd2" y="hd2"/>
                  </a:cxn>
                  <a:cxn ang="5400000">
                    <a:pos x="wd2" y="hd2"/>
                  </a:cxn>
                  <a:cxn ang="10800000">
                    <a:pos x="wd2" y="hd2"/>
                  </a:cxn>
                  <a:cxn ang="16200000">
                    <a:pos x="wd2" y="hd2"/>
                  </a:cxn>
                </a:cxnLst>
                <a:rect l="0" t="0" r="r" b="b"/>
                <a:pathLst>
                  <a:path w="21600" h="21600" extrusionOk="0">
                    <a:moveTo>
                      <a:pt x="10682" y="304"/>
                    </a:moveTo>
                    <a:lnTo>
                      <a:pt x="3918" y="3868"/>
                    </a:lnTo>
                    <a:lnTo>
                      <a:pt x="0" y="9563"/>
                    </a:lnTo>
                    <a:lnTo>
                      <a:pt x="1470" y="18816"/>
                    </a:lnTo>
                    <a:lnTo>
                      <a:pt x="6166" y="21600"/>
                    </a:lnTo>
                    <a:lnTo>
                      <a:pt x="14598" y="13241"/>
                    </a:lnTo>
                    <a:lnTo>
                      <a:pt x="21600" y="7047"/>
                    </a:lnTo>
                    <a:lnTo>
                      <a:pt x="18557" y="0"/>
                    </a:lnTo>
                    <a:lnTo>
                      <a:pt x="10682" y="304"/>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06" name="Shape 506"/>
              <p:cNvSpPr/>
              <p:nvPr/>
            </p:nvSpPr>
            <p:spPr>
              <a:xfrm>
                <a:off x="1869306" y="645238"/>
                <a:ext cx="73821" cy="48641"/>
              </a:xfrm>
              <a:custGeom>
                <a:avLst/>
                <a:gdLst/>
                <a:ahLst/>
                <a:cxnLst>
                  <a:cxn ang="0">
                    <a:pos x="wd2" y="hd2"/>
                  </a:cxn>
                  <a:cxn ang="5400000">
                    <a:pos x="wd2" y="hd2"/>
                  </a:cxn>
                  <a:cxn ang="10800000">
                    <a:pos x="wd2" y="hd2"/>
                  </a:cxn>
                  <a:cxn ang="16200000">
                    <a:pos x="wd2" y="hd2"/>
                  </a:cxn>
                </a:cxnLst>
                <a:rect l="0" t="0" r="r" b="b"/>
                <a:pathLst>
                  <a:path w="21600" h="21600" extrusionOk="0">
                    <a:moveTo>
                      <a:pt x="9436" y="0"/>
                    </a:moveTo>
                    <a:lnTo>
                      <a:pt x="5445" y="6706"/>
                    </a:lnTo>
                    <a:lnTo>
                      <a:pt x="0" y="13317"/>
                    </a:lnTo>
                    <a:lnTo>
                      <a:pt x="1676" y="21600"/>
                    </a:lnTo>
                    <a:lnTo>
                      <a:pt x="9416" y="19225"/>
                    </a:lnTo>
                    <a:lnTo>
                      <a:pt x="16925" y="15663"/>
                    </a:lnTo>
                    <a:lnTo>
                      <a:pt x="21600" y="6401"/>
                    </a:lnTo>
                    <a:lnTo>
                      <a:pt x="14597" y="5005"/>
                    </a:lnTo>
                    <a:lnTo>
                      <a:pt x="9436"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07" name="Shape 507"/>
              <p:cNvSpPr/>
              <p:nvPr/>
            </p:nvSpPr>
            <p:spPr>
              <a:xfrm>
                <a:off x="2710073" y="396599"/>
                <a:ext cx="27699" cy="46479"/>
              </a:xfrm>
              <a:custGeom>
                <a:avLst/>
                <a:gdLst/>
                <a:ahLst/>
                <a:cxnLst>
                  <a:cxn ang="0">
                    <a:pos x="wd2" y="hd2"/>
                  </a:cxn>
                  <a:cxn ang="5400000">
                    <a:pos x="wd2" y="hd2"/>
                  </a:cxn>
                  <a:cxn ang="10800000">
                    <a:pos x="wd2" y="hd2"/>
                  </a:cxn>
                  <a:cxn ang="16200000">
                    <a:pos x="wd2" y="hd2"/>
                  </a:cxn>
                </a:cxnLst>
                <a:rect l="0" t="0" r="r" b="b"/>
                <a:pathLst>
                  <a:path w="21600" h="21600" extrusionOk="0">
                    <a:moveTo>
                      <a:pt x="6188" y="0"/>
                    </a:moveTo>
                    <a:lnTo>
                      <a:pt x="0" y="11338"/>
                    </a:lnTo>
                    <a:lnTo>
                      <a:pt x="14062" y="21600"/>
                    </a:lnTo>
                    <a:lnTo>
                      <a:pt x="21600" y="10385"/>
                    </a:lnTo>
                    <a:lnTo>
                      <a:pt x="6188"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08" name="Shape 508"/>
              <p:cNvSpPr/>
              <p:nvPr/>
            </p:nvSpPr>
            <p:spPr>
              <a:xfrm>
                <a:off x="1600123" y="1107250"/>
                <a:ext cx="67686" cy="60625"/>
              </a:xfrm>
              <a:custGeom>
                <a:avLst/>
                <a:gdLst/>
                <a:ahLst/>
                <a:cxnLst>
                  <a:cxn ang="0">
                    <a:pos x="wd2" y="hd2"/>
                  </a:cxn>
                  <a:cxn ang="5400000">
                    <a:pos x="wd2" y="hd2"/>
                  </a:cxn>
                  <a:cxn ang="10800000">
                    <a:pos x="wd2" y="hd2"/>
                  </a:cxn>
                  <a:cxn ang="16200000">
                    <a:pos x="wd2" y="hd2"/>
                  </a:cxn>
                </a:cxnLst>
                <a:rect l="0" t="0" r="r" b="b"/>
                <a:pathLst>
                  <a:path w="21600" h="21600" extrusionOk="0">
                    <a:moveTo>
                      <a:pt x="16290" y="2206"/>
                    </a:moveTo>
                    <a:lnTo>
                      <a:pt x="21600" y="7730"/>
                    </a:lnTo>
                    <a:lnTo>
                      <a:pt x="19740" y="16457"/>
                    </a:lnTo>
                    <a:lnTo>
                      <a:pt x="13790" y="21600"/>
                    </a:lnTo>
                    <a:lnTo>
                      <a:pt x="2574" y="13289"/>
                    </a:lnTo>
                    <a:lnTo>
                      <a:pt x="0" y="4928"/>
                    </a:lnTo>
                    <a:lnTo>
                      <a:pt x="11167" y="0"/>
                    </a:lnTo>
                    <a:lnTo>
                      <a:pt x="16290" y="2206"/>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09" name="Shape 509"/>
              <p:cNvSpPr/>
              <p:nvPr/>
            </p:nvSpPr>
            <p:spPr>
              <a:xfrm>
                <a:off x="2586553" y="974145"/>
                <a:ext cx="1468535" cy="1018217"/>
              </a:xfrm>
              <a:custGeom>
                <a:avLst/>
                <a:gdLst/>
                <a:ahLst/>
                <a:cxnLst>
                  <a:cxn ang="0">
                    <a:pos x="wd2" y="hd2"/>
                  </a:cxn>
                  <a:cxn ang="5400000">
                    <a:pos x="wd2" y="hd2"/>
                  </a:cxn>
                  <a:cxn ang="10800000">
                    <a:pos x="wd2" y="hd2"/>
                  </a:cxn>
                  <a:cxn ang="16200000">
                    <a:pos x="wd2" y="hd2"/>
                  </a:cxn>
                </a:cxnLst>
                <a:rect l="0" t="0" r="r" b="b"/>
                <a:pathLst>
                  <a:path w="21600" h="21600" extrusionOk="0">
                    <a:moveTo>
                      <a:pt x="5455" y="4385"/>
                    </a:moveTo>
                    <a:lnTo>
                      <a:pt x="4472" y="4411"/>
                    </a:lnTo>
                    <a:lnTo>
                      <a:pt x="3992" y="4496"/>
                    </a:lnTo>
                    <a:lnTo>
                      <a:pt x="3545" y="5108"/>
                    </a:lnTo>
                    <a:lnTo>
                      <a:pt x="3512" y="5585"/>
                    </a:lnTo>
                    <a:lnTo>
                      <a:pt x="3157" y="5595"/>
                    </a:lnTo>
                    <a:lnTo>
                      <a:pt x="2556" y="6377"/>
                    </a:lnTo>
                    <a:lnTo>
                      <a:pt x="2234" y="6807"/>
                    </a:lnTo>
                    <a:lnTo>
                      <a:pt x="1976" y="7544"/>
                    </a:lnTo>
                    <a:lnTo>
                      <a:pt x="1979" y="8270"/>
                    </a:lnTo>
                    <a:lnTo>
                      <a:pt x="2073" y="9040"/>
                    </a:lnTo>
                    <a:lnTo>
                      <a:pt x="2292" y="9198"/>
                    </a:lnTo>
                    <a:lnTo>
                      <a:pt x="2425" y="9685"/>
                    </a:lnTo>
                    <a:lnTo>
                      <a:pt x="2606" y="9969"/>
                    </a:lnTo>
                    <a:lnTo>
                      <a:pt x="2809" y="10262"/>
                    </a:lnTo>
                    <a:lnTo>
                      <a:pt x="3224" y="10329"/>
                    </a:lnTo>
                    <a:lnTo>
                      <a:pt x="3452" y="10228"/>
                    </a:lnTo>
                    <a:lnTo>
                      <a:pt x="3771" y="10238"/>
                    </a:lnTo>
                    <a:lnTo>
                      <a:pt x="3582" y="10771"/>
                    </a:lnTo>
                    <a:lnTo>
                      <a:pt x="3207" y="11483"/>
                    </a:lnTo>
                    <a:lnTo>
                      <a:pt x="2791" y="11619"/>
                    </a:lnTo>
                    <a:lnTo>
                      <a:pt x="2240" y="11381"/>
                    </a:lnTo>
                    <a:lnTo>
                      <a:pt x="2697" y="10963"/>
                    </a:lnTo>
                    <a:lnTo>
                      <a:pt x="2556" y="10498"/>
                    </a:lnTo>
                    <a:lnTo>
                      <a:pt x="2242" y="9919"/>
                    </a:lnTo>
                    <a:lnTo>
                      <a:pt x="1724" y="9488"/>
                    </a:lnTo>
                    <a:lnTo>
                      <a:pt x="1531" y="10112"/>
                    </a:lnTo>
                    <a:lnTo>
                      <a:pt x="1700" y="10382"/>
                    </a:lnTo>
                    <a:lnTo>
                      <a:pt x="1928" y="10847"/>
                    </a:lnTo>
                    <a:lnTo>
                      <a:pt x="1834" y="11334"/>
                    </a:lnTo>
                    <a:lnTo>
                      <a:pt x="1810" y="11911"/>
                    </a:lnTo>
                    <a:lnTo>
                      <a:pt x="2068" y="12114"/>
                    </a:lnTo>
                    <a:lnTo>
                      <a:pt x="2178" y="12510"/>
                    </a:lnTo>
                    <a:lnTo>
                      <a:pt x="1991" y="12734"/>
                    </a:lnTo>
                    <a:lnTo>
                      <a:pt x="1669" y="12768"/>
                    </a:lnTo>
                    <a:lnTo>
                      <a:pt x="1551" y="11629"/>
                    </a:lnTo>
                    <a:lnTo>
                      <a:pt x="1105" y="11495"/>
                    </a:lnTo>
                    <a:lnTo>
                      <a:pt x="863" y="11833"/>
                    </a:lnTo>
                    <a:lnTo>
                      <a:pt x="428" y="11809"/>
                    </a:lnTo>
                    <a:lnTo>
                      <a:pt x="444" y="10906"/>
                    </a:lnTo>
                    <a:lnTo>
                      <a:pt x="314" y="10373"/>
                    </a:lnTo>
                    <a:lnTo>
                      <a:pt x="23" y="10305"/>
                    </a:lnTo>
                    <a:lnTo>
                      <a:pt x="84" y="11072"/>
                    </a:lnTo>
                    <a:lnTo>
                      <a:pt x="164" y="11604"/>
                    </a:lnTo>
                    <a:lnTo>
                      <a:pt x="188" y="12215"/>
                    </a:lnTo>
                    <a:lnTo>
                      <a:pt x="141" y="12778"/>
                    </a:lnTo>
                    <a:lnTo>
                      <a:pt x="47" y="13175"/>
                    </a:lnTo>
                    <a:lnTo>
                      <a:pt x="0" y="13515"/>
                    </a:lnTo>
                    <a:lnTo>
                      <a:pt x="306" y="13651"/>
                    </a:lnTo>
                    <a:lnTo>
                      <a:pt x="391" y="13076"/>
                    </a:lnTo>
                    <a:lnTo>
                      <a:pt x="769" y="12861"/>
                    </a:lnTo>
                    <a:lnTo>
                      <a:pt x="957" y="13382"/>
                    </a:lnTo>
                    <a:lnTo>
                      <a:pt x="1333" y="13775"/>
                    </a:lnTo>
                    <a:lnTo>
                      <a:pt x="1585" y="13911"/>
                    </a:lnTo>
                    <a:lnTo>
                      <a:pt x="1741" y="13505"/>
                    </a:lnTo>
                    <a:lnTo>
                      <a:pt x="2013" y="13958"/>
                    </a:lnTo>
                    <a:lnTo>
                      <a:pt x="2516" y="14058"/>
                    </a:lnTo>
                    <a:lnTo>
                      <a:pt x="2696" y="13494"/>
                    </a:lnTo>
                    <a:lnTo>
                      <a:pt x="2485" y="12861"/>
                    </a:lnTo>
                    <a:lnTo>
                      <a:pt x="2422" y="12432"/>
                    </a:lnTo>
                    <a:lnTo>
                      <a:pt x="2822" y="12308"/>
                    </a:lnTo>
                    <a:lnTo>
                      <a:pt x="2893" y="12818"/>
                    </a:lnTo>
                    <a:cubicBezTo>
                      <a:pt x="2695" y="13095"/>
                      <a:pt x="2706" y="13557"/>
                      <a:pt x="2917" y="13814"/>
                    </a:cubicBezTo>
                    <a:cubicBezTo>
                      <a:pt x="3063" y="13993"/>
                      <a:pt x="3272" y="14016"/>
                      <a:pt x="3435" y="13871"/>
                    </a:cubicBezTo>
                    <a:lnTo>
                      <a:pt x="3898" y="13905"/>
                    </a:lnTo>
                    <a:lnTo>
                      <a:pt x="4157" y="14041"/>
                    </a:lnTo>
                    <a:cubicBezTo>
                      <a:pt x="4345" y="14008"/>
                      <a:pt x="4534" y="13981"/>
                      <a:pt x="4723" y="13962"/>
                    </a:cubicBezTo>
                    <a:cubicBezTo>
                      <a:pt x="4883" y="13945"/>
                      <a:pt x="5042" y="13934"/>
                      <a:pt x="5203" y="13928"/>
                    </a:cubicBezTo>
                    <a:lnTo>
                      <a:pt x="5493" y="13803"/>
                    </a:lnTo>
                    <a:lnTo>
                      <a:pt x="5752" y="13248"/>
                    </a:lnTo>
                    <a:lnTo>
                      <a:pt x="5587" y="12216"/>
                    </a:lnTo>
                    <a:lnTo>
                      <a:pt x="5218" y="12250"/>
                    </a:lnTo>
                    <a:cubicBezTo>
                      <a:pt x="5045" y="12150"/>
                      <a:pt x="4851" y="12150"/>
                      <a:pt x="4678" y="12250"/>
                    </a:cubicBezTo>
                    <a:cubicBezTo>
                      <a:pt x="4514" y="12345"/>
                      <a:pt x="4380" y="12522"/>
                      <a:pt x="4301" y="12748"/>
                    </a:cubicBezTo>
                    <a:lnTo>
                      <a:pt x="3971" y="12816"/>
                    </a:lnTo>
                    <a:lnTo>
                      <a:pt x="3492" y="12681"/>
                    </a:lnTo>
                    <a:lnTo>
                      <a:pt x="3516" y="12216"/>
                    </a:lnTo>
                    <a:lnTo>
                      <a:pt x="3830" y="12092"/>
                    </a:lnTo>
                    <a:lnTo>
                      <a:pt x="4190" y="12126"/>
                    </a:lnTo>
                    <a:lnTo>
                      <a:pt x="4612" y="11921"/>
                    </a:lnTo>
                    <a:lnTo>
                      <a:pt x="5130" y="11548"/>
                    </a:lnTo>
                    <a:lnTo>
                      <a:pt x="5538" y="11719"/>
                    </a:lnTo>
                    <a:lnTo>
                      <a:pt x="5781" y="11347"/>
                    </a:lnTo>
                    <a:lnTo>
                      <a:pt x="5757" y="10950"/>
                    </a:lnTo>
                    <a:lnTo>
                      <a:pt x="5474" y="10520"/>
                    </a:lnTo>
                    <a:lnTo>
                      <a:pt x="5545" y="10078"/>
                    </a:lnTo>
                    <a:lnTo>
                      <a:pt x="5686" y="9569"/>
                    </a:lnTo>
                    <a:lnTo>
                      <a:pt x="5773" y="9070"/>
                    </a:lnTo>
                    <a:lnTo>
                      <a:pt x="5639" y="8469"/>
                    </a:lnTo>
                    <a:lnTo>
                      <a:pt x="5835" y="7692"/>
                    </a:lnTo>
                    <a:lnTo>
                      <a:pt x="5874" y="7125"/>
                    </a:lnTo>
                    <a:lnTo>
                      <a:pt x="5898" y="6467"/>
                    </a:lnTo>
                    <a:lnTo>
                      <a:pt x="6055" y="6094"/>
                    </a:lnTo>
                    <a:lnTo>
                      <a:pt x="6243" y="7171"/>
                    </a:lnTo>
                    <a:lnTo>
                      <a:pt x="6627" y="7205"/>
                    </a:lnTo>
                    <a:lnTo>
                      <a:pt x="6769" y="7534"/>
                    </a:lnTo>
                    <a:lnTo>
                      <a:pt x="6446" y="7941"/>
                    </a:lnTo>
                    <a:lnTo>
                      <a:pt x="6360" y="8406"/>
                    </a:lnTo>
                    <a:lnTo>
                      <a:pt x="6061" y="9324"/>
                    </a:lnTo>
                    <a:lnTo>
                      <a:pt x="6454" y="9494"/>
                    </a:lnTo>
                    <a:lnTo>
                      <a:pt x="6501" y="9845"/>
                    </a:lnTo>
                    <a:lnTo>
                      <a:pt x="6643" y="10262"/>
                    </a:lnTo>
                    <a:lnTo>
                      <a:pt x="6869" y="10431"/>
                    </a:lnTo>
                    <a:lnTo>
                      <a:pt x="7199" y="10805"/>
                    </a:lnTo>
                    <a:cubicBezTo>
                      <a:pt x="7319" y="10894"/>
                      <a:pt x="7445" y="10962"/>
                      <a:pt x="7576" y="11008"/>
                    </a:cubicBezTo>
                    <a:cubicBezTo>
                      <a:pt x="7740" y="11066"/>
                      <a:pt x="7910" y="11089"/>
                      <a:pt x="8079" y="11076"/>
                    </a:cubicBezTo>
                    <a:cubicBezTo>
                      <a:pt x="8180" y="10950"/>
                      <a:pt x="8282" y="10826"/>
                      <a:pt x="8385" y="10703"/>
                    </a:cubicBezTo>
                    <a:cubicBezTo>
                      <a:pt x="8537" y="10522"/>
                      <a:pt x="8692" y="10344"/>
                      <a:pt x="8848" y="10170"/>
                    </a:cubicBezTo>
                    <a:cubicBezTo>
                      <a:pt x="9056" y="10000"/>
                      <a:pt x="9309" y="9987"/>
                      <a:pt x="9524" y="10136"/>
                    </a:cubicBezTo>
                    <a:cubicBezTo>
                      <a:pt x="9653" y="10225"/>
                      <a:pt x="9759" y="10367"/>
                      <a:pt x="9831" y="10545"/>
                    </a:cubicBezTo>
                    <a:lnTo>
                      <a:pt x="10562" y="11156"/>
                    </a:lnTo>
                    <a:lnTo>
                      <a:pt x="10939" y="11575"/>
                    </a:lnTo>
                    <a:lnTo>
                      <a:pt x="11173" y="11869"/>
                    </a:lnTo>
                    <a:lnTo>
                      <a:pt x="11668" y="12527"/>
                    </a:lnTo>
                    <a:lnTo>
                      <a:pt x="11809" y="12866"/>
                    </a:lnTo>
                    <a:lnTo>
                      <a:pt x="12130" y="13385"/>
                    </a:lnTo>
                    <a:lnTo>
                      <a:pt x="12743" y="13521"/>
                    </a:lnTo>
                    <a:lnTo>
                      <a:pt x="12789" y="12670"/>
                    </a:lnTo>
                    <a:lnTo>
                      <a:pt x="12976" y="13124"/>
                    </a:lnTo>
                    <a:lnTo>
                      <a:pt x="13300" y="13380"/>
                    </a:lnTo>
                    <a:lnTo>
                      <a:pt x="13091" y="13707"/>
                    </a:lnTo>
                    <a:lnTo>
                      <a:pt x="13529" y="14077"/>
                    </a:lnTo>
                    <a:lnTo>
                      <a:pt x="14080" y="14236"/>
                    </a:lnTo>
                    <a:lnTo>
                      <a:pt x="14692" y="14678"/>
                    </a:lnTo>
                    <a:lnTo>
                      <a:pt x="14967" y="15064"/>
                    </a:lnTo>
                    <a:lnTo>
                      <a:pt x="14742" y="15356"/>
                    </a:lnTo>
                    <a:cubicBezTo>
                      <a:pt x="14636" y="15162"/>
                      <a:pt x="14437" y="15146"/>
                      <a:pt x="14318" y="15322"/>
                    </a:cubicBezTo>
                    <a:cubicBezTo>
                      <a:pt x="14192" y="15507"/>
                      <a:pt x="14214" y="15805"/>
                      <a:pt x="14334" y="16014"/>
                    </a:cubicBezTo>
                    <a:cubicBezTo>
                      <a:pt x="14459" y="16233"/>
                      <a:pt x="14659" y="16317"/>
                      <a:pt x="14821" y="16477"/>
                    </a:cubicBezTo>
                    <a:cubicBezTo>
                      <a:pt x="14992" y="16646"/>
                      <a:pt x="15117" y="16894"/>
                      <a:pt x="15175" y="17180"/>
                    </a:cubicBezTo>
                    <a:lnTo>
                      <a:pt x="15545" y="17848"/>
                    </a:lnTo>
                    <a:lnTo>
                      <a:pt x="16056" y="18257"/>
                    </a:lnTo>
                    <a:lnTo>
                      <a:pt x="16488" y="18620"/>
                    </a:lnTo>
                    <a:lnTo>
                      <a:pt x="17344" y="19017"/>
                    </a:lnTo>
                    <a:lnTo>
                      <a:pt x="17565" y="19686"/>
                    </a:lnTo>
                    <a:lnTo>
                      <a:pt x="17776" y="19924"/>
                    </a:lnTo>
                    <a:cubicBezTo>
                      <a:pt x="17877" y="19983"/>
                      <a:pt x="17976" y="20047"/>
                      <a:pt x="18073" y="20116"/>
                    </a:cubicBezTo>
                    <a:cubicBezTo>
                      <a:pt x="18211" y="20212"/>
                      <a:pt x="18344" y="20318"/>
                      <a:pt x="18475" y="20433"/>
                    </a:cubicBezTo>
                    <a:lnTo>
                      <a:pt x="18843" y="20727"/>
                    </a:lnTo>
                    <a:cubicBezTo>
                      <a:pt x="19008" y="20916"/>
                      <a:pt x="19184" y="21083"/>
                      <a:pt x="19370" y="21226"/>
                    </a:cubicBezTo>
                    <a:cubicBezTo>
                      <a:pt x="19573" y="21381"/>
                      <a:pt x="19786" y="21507"/>
                      <a:pt x="20006" y="21600"/>
                    </a:cubicBezTo>
                    <a:lnTo>
                      <a:pt x="20217" y="21329"/>
                    </a:lnTo>
                    <a:cubicBezTo>
                      <a:pt x="20232" y="21155"/>
                      <a:pt x="20310" y="21005"/>
                      <a:pt x="20421" y="20934"/>
                    </a:cubicBezTo>
                    <a:cubicBezTo>
                      <a:pt x="20556" y="20847"/>
                      <a:pt x="20708" y="20895"/>
                      <a:pt x="20853" y="20934"/>
                    </a:cubicBezTo>
                    <a:cubicBezTo>
                      <a:pt x="21009" y="20976"/>
                      <a:pt x="21166" y="21006"/>
                      <a:pt x="21325" y="21024"/>
                    </a:cubicBezTo>
                    <a:lnTo>
                      <a:pt x="21600" y="20832"/>
                    </a:lnTo>
                    <a:lnTo>
                      <a:pt x="21600" y="20196"/>
                    </a:lnTo>
                    <a:lnTo>
                      <a:pt x="21529" y="19901"/>
                    </a:lnTo>
                    <a:lnTo>
                      <a:pt x="21396" y="19494"/>
                    </a:lnTo>
                    <a:lnTo>
                      <a:pt x="21122" y="18883"/>
                    </a:lnTo>
                    <a:lnTo>
                      <a:pt x="20697" y="18284"/>
                    </a:lnTo>
                    <a:lnTo>
                      <a:pt x="20462" y="17843"/>
                    </a:lnTo>
                    <a:lnTo>
                      <a:pt x="20351" y="17105"/>
                    </a:lnTo>
                    <a:lnTo>
                      <a:pt x="20092" y="16188"/>
                    </a:lnTo>
                    <a:lnTo>
                      <a:pt x="19550" y="15781"/>
                    </a:lnTo>
                    <a:lnTo>
                      <a:pt x="19056" y="15102"/>
                    </a:lnTo>
                    <a:lnTo>
                      <a:pt x="19103" y="14614"/>
                    </a:lnTo>
                    <a:lnTo>
                      <a:pt x="19378" y="14082"/>
                    </a:lnTo>
                    <a:lnTo>
                      <a:pt x="19520" y="13539"/>
                    </a:lnTo>
                    <a:lnTo>
                      <a:pt x="19339" y="12845"/>
                    </a:lnTo>
                    <a:lnTo>
                      <a:pt x="19425" y="12302"/>
                    </a:lnTo>
                    <a:cubicBezTo>
                      <a:pt x="19354" y="12106"/>
                      <a:pt x="19267" y="11924"/>
                      <a:pt x="19166" y="11757"/>
                    </a:cubicBezTo>
                    <a:cubicBezTo>
                      <a:pt x="19038" y="11546"/>
                      <a:pt x="18890" y="11362"/>
                      <a:pt x="18725" y="11213"/>
                    </a:cubicBezTo>
                    <a:cubicBezTo>
                      <a:pt x="18709" y="10836"/>
                      <a:pt x="18715" y="10457"/>
                      <a:pt x="18742" y="10081"/>
                    </a:cubicBezTo>
                    <a:cubicBezTo>
                      <a:pt x="18778" y="9593"/>
                      <a:pt x="18850" y="9109"/>
                      <a:pt x="18844" y="8618"/>
                    </a:cubicBezTo>
                    <a:cubicBezTo>
                      <a:pt x="18840" y="8191"/>
                      <a:pt x="18776" y="7766"/>
                      <a:pt x="18632" y="7393"/>
                    </a:cubicBezTo>
                    <a:cubicBezTo>
                      <a:pt x="18466" y="6963"/>
                      <a:pt x="18202" y="6628"/>
                      <a:pt x="17886" y="6443"/>
                    </a:cubicBezTo>
                    <a:lnTo>
                      <a:pt x="17218" y="5830"/>
                    </a:lnTo>
                    <a:lnTo>
                      <a:pt x="17030" y="5628"/>
                    </a:lnTo>
                    <a:lnTo>
                      <a:pt x="16513" y="5379"/>
                    </a:lnTo>
                    <a:lnTo>
                      <a:pt x="16208" y="5209"/>
                    </a:lnTo>
                    <a:lnTo>
                      <a:pt x="15862" y="4869"/>
                    </a:lnTo>
                    <a:lnTo>
                      <a:pt x="15516" y="4632"/>
                    </a:lnTo>
                    <a:lnTo>
                      <a:pt x="15304" y="3986"/>
                    </a:lnTo>
                    <a:lnTo>
                      <a:pt x="14889" y="3727"/>
                    </a:lnTo>
                    <a:lnTo>
                      <a:pt x="14606" y="3168"/>
                    </a:lnTo>
                    <a:lnTo>
                      <a:pt x="14215" y="2823"/>
                    </a:lnTo>
                    <a:lnTo>
                      <a:pt x="13904" y="2916"/>
                    </a:lnTo>
                    <a:lnTo>
                      <a:pt x="14115" y="3368"/>
                    </a:lnTo>
                    <a:lnTo>
                      <a:pt x="14373" y="3705"/>
                    </a:lnTo>
                    <a:lnTo>
                      <a:pt x="13832" y="3433"/>
                    </a:lnTo>
                    <a:lnTo>
                      <a:pt x="13486" y="3229"/>
                    </a:lnTo>
                    <a:lnTo>
                      <a:pt x="13109" y="3127"/>
                    </a:lnTo>
                    <a:lnTo>
                      <a:pt x="13376" y="2869"/>
                    </a:lnTo>
                    <a:lnTo>
                      <a:pt x="13633" y="2667"/>
                    </a:lnTo>
                    <a:lnTo>
                      <a:pt x="13224" y="2262"/>
                    </a:lnTo>
                    <a:lnTo>
                      <a:pt x="12902" y="2205"/>
                    </a:lnTo>
                    <a:lnTo>
                      <a:pt x="12369" y="2310"/>
                    </a:lnTo>
                    <a:cubicBezTo>
                      <a:pt x="12246" y="2320"/>
                      <a:pt x="12125" y="2273"/>
                      <a:pt x="12024" y="2175"/>
                    </a:cubicBezTo>
                    <a:cubicBezTo>
                      <a:pt x="11913" y="2069"/>
                      <a:pt x="11834" y="1912"/>
                      <a:pt x="11740" y="1777"/>
                    </a:cubicBezTo>
                    <a:cubicBezTo>
                      <a:pt x="11554" y="1508"/>
                      <a:pt x="11315" y="1328"/>
                      <a:pt x="11056" y="1261"/>
                    </a:cubicBezTo>
                    <a:cubicBezTo>
                      <a:pt x="10964" y="1225"/>
                      <a:pt x="10868" y="1298"/>
                      <a:pt x="10836" y="1427"/>
                    </a:cubicBezTo>
                    <a:cubicBezTo>
                      <a:pt x="10791" y="1608"/>
                      <a:pt x="10883" y="1799"/>
                      <a:pt x="11016" y="1802"/>
                    </a:cubicBezTo>
                    <a:lnTo>
                      <a:pt x="10545" y="1702"/>
                    </a:lnTo>
                    <a:lnTo>
                      <a:pt x="10279" y="1238"/>
                    </a:lnTo>
                    <a:lnTo>
                      <a:pt x="9981" y="768"/>
                    </a:lnTo>
                    <a:cubicBezTo>
                      <a:pt x="9877" y="581"/>
                      <a:pt x="9753" y="421"/>
                      <a:pt x="9612" y="294"/>
                    </a:cubicBezTo>
                    <a:cubicBezTo>
                      <a:pt x="9446" y="145"/>
                      <a:pt x="9262" y="45"/>
                      <a:pt x="9069" y="0"/>
                    </a:cubicBezTo>
                    <a:lnTo>
                      <a:pt x="8724" y="38"/>
                    </a:lnTo>
                    <a:lnTo>
                      <a:pt x="8676" y="704"/>
                    </a:lnTo>
                    <a:lnTo>
                      <a:pt x="8559" y="1135"/>
                    </a:lnTo>
                    <a:lnTo>
                      <a:pt x="7961" y="999"/>
                    </a:lnTo>
                    <a:lnTo>
                      <a:pt x="7560" y="933"/>
                    </a:lnTo>
                    <a:lnTo>
                      <a:pt x="7443" y="1306"/>
                    </a:lnTo>
                    <a:lnTo>
                      <a:pt x="7127" y="1309"/>
                    </a:lnTo>
                    <a:lnTo>
                      <a:pt x="6632" y="1751"/>
                    </a:lnTo>
                    <a:lnTo>
                      <a:pt x="6491" y="2171"/>
                    </a:lnTo>
                    <a:lnTo>
                      <a:pt x="6349" y="2646"/>
                    </a:lnTo>
                    <a:lnTo>
                      <a:pt x="6396" y="3143"/>
                    </a:lnTo>
                    <a:lnTo>
                      <a:pt x="6679" y="3404"/>
                    </a:lnTo>
                    <a:lnTo>
                      <a:pt x="6539" y="3969"/>
                    </a:lnTo>
                    <a:lnTo>
                      <a:pt x="6273" y="3957"/>
                    </a:lnTo>
                    <a:lnTo>
                      <a:pt x="6187" y="4296"/>
                    </a:lnTo>
                    <a:lnTo>
                      <a:pt x="6053" y="4782"/>
                    </a:lnTo>
                    <a:lnTo>
                      <a:pt x="6124" y="5338"/>
                    </a:lnTo>
                    <a:lnTo>
                      <a:pt x="5983" y="5717"/>
                    </a:lnTo>
                    <a:lnTo>
                      <a:pt x="5828" y="5062"/>
                    </a:lnTo>
                    <a:lnTo>
                      <a:pt x="5828" y="4723"/>
                    </a:lnTo>
                    <a:lnTo>
                      <a:pt x="5455" y="4385"/>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10" name="Shape 510"/>
              <p:cNvSpPr/>
              <p:nvPr/>
            </p:nvSpPr>
            <p:spPr>
              <a:xfrm>
                <a:off x="2607036" y="1382565"/>
                <a:ext cx="78338" cy="98116"/>
              </a:xfrm>
              <a:custGeom>
                <a:avLst/>
                <a:gdLst/>
                <a:ahLst/>
                <a:cxnLst>
                  <a:cxn ang="0">
                    <a:pos x="wd2" y="hd2"/>
                  </a:cxn>
                  <a:cxn ang="5400000">
                    <a:pos x="wd2" y="hd2"/>
                  </a:cxn>
                  <a:cxn ang="10800000">
                    <a:pos x="wd2" y="hd2"/>
                  </a:cxn>
                  <a:cxn ang="16200000">
                    <a:pos x="wd2" y="hd2"/>
                  </a:cxn>
                </a:cxnLst>
                <a:rect l="0" t="0" r="r" b="b"/>
                <a:pathLst>
                  <a:path w="21600" h="21600" extrusionOk="0">
                    <a:moveTo>
                      <a:pt x="4554" y="0"/>
                    </a:moveTo>
                    <a:lnTo>
                      <a:pt x="12145" y="2252"/>
                    </a:lnTo>
                    <a:lnTo>
                      <a:pt x="17508" y="4147"/>
                    </a:lnTo>
                    <a:lnTo>
                      <a:pt x="21305" y="11063"/>
                    </a:lnTo>
                    <a:lnTo>
                      <a:pt x="21600" y="19260"/>
                    </a:lnTo>
                    <a:lnTo>
                      <a:pt x="16900" y="20658"/>
                    </a:lnTo>
                    <a:lnTo>
                      <a:pt x="10708" y="21600"/>
                    </a:lnTo>
                    <a:lnTo>
                      <a:pt x="6468" y="17037"/>
                    </a:lnTo>
                    <a:lnTo>
                      <a:pt x="0" y="12815"/>
                    </a:lnTo>
                    <a:lnTo>
                      <a:pt x="1830" y="6252"/>
                    </a:lnTo>
                    <a:lnTo>
                      <a:pt x="576" y="2013"/>
                    </a:lnTo>
                    <a:lnTo>
                      <a:pt x="4554"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11" name="Shape 511"/>
              <p:cNvSpPr/>
              <p:nvPr/>
            </p:nvSpPr>
            <p:spPr>
              <a:xfrm>
                <a:off x="2672783" y="1336715"/>
                <a:ext cx="29087" cy="45824"/>
              </a:xfrm>
              <a:custGeom>
                <a:avLst/>
                <a:gdLst/>
                <a:ahLst/>
                <a:cxnLst>
                  <a:cxn ang="0">
                    <a:pos x="wd2" y="hd2"/>
                  </a:cxn>
                  <a:cxn ang="5400000">
                    <a:pos x="wd2" y="hd2"/>
                  </a:cxn>
                  <a:cxn ang="10800000">
                    <a:pos x="wd2" y="hd2"/>
                  </a:cxn>
                  <a:cxn ang="16200000">
                    <a:pos x="wd2" y="hd2"/>
                  </a:cxn>
                </a:cxnLst>
                <a:rect l="0" t="0" r="r" b="b"/>
                <a:pathLst>
                  <a:path w="21600" h="21600" extrusionOk="0">
                    <a:moveTo>
                      <a:pt x="7065" y="0"/>
                    </a:moveTo>
                    <a:lnTo>
                      <a:pt x="19230" y="6996"/>
                    </a:lnTo>
                    <a:lnTo>
                      <a:pt x="21600" y="18575"/>
                    </a:lnTo>
                    <a:lnTo>
                      <a:pt x="7846" y="21600"/>
                    </a:lnTo>
                    <a:lnTo>
                      <a:pt x="0" y="15332"/>
                    </a:lnTo>
                    <a:lnTo>
                      <a:pt x="7065"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12" name="Shape 512"/>
              <p:cNvSpPr/>
              <p:nvPr/>
            </p:nvSpPr>
            <p:spPr>
              <a:xfrm>
                <a:off x="2483205" y="1393477"/>
                <a:ext cx="83267" cy="92180"/>
              </a:xfrm>
              <a:custGeom>
                <a:avLst/>
                <a:gdLst/>
                <a:ahLst/>
                <a:cxnLst>
                  <a:cxn ang="0">
                    <a:pos x="wd2" y="hd2"/>
                  </a:cxn>
                  <a:cxn ang="5400000">
                    <a:pos x="wd2" y="hd2"/>
                  </a:cxn>
                  <a:cxn ang="10800000">
                    <a:pos x="wd2" y="hd2"/>
                  </a:cxn>
                  <a:cxn ang="16200000">
                    <a:pos x="wd2" y="hd2"/>
                  </a:cxn>
                </a:cxnLst>
                <a:rect l="0" t="0" r="r" b="b"/>
                <a:pathLst>
                  <a:path w="21600" h="21600" extrusionOk="0">
                    <a:moveTo>
                      <a:pt x="7034" y="4084"/>
                    </a:moveTo>
                    <a:lnTo>
                      <a:pt x="14037" y="951"/>
                    </a:lnTo>
                    <a:lnTo>
                      <a:pt x="20768" y="0"/>
                    </a:lnTo>
                    <a:lnTo>
                      <a:pt x="21600" y="4466"/>
                    </a:lnTo>
                    <a:lnTo>
                      <a:pt x="21600" y="9462"/>
                    </a:lnTo>
                    <a:lnTo>
                      <a:pt x="18270" y="14709"/>
                    </a:lnTo>
                    <a:lnTo>
                      <a:pt x="11767" y="21600"/>
                    </a:lnTo>
                    <a:lnTo>
                      <a:pt x="5959" y="21600"/>
                    </a:lnTo>
                    <a:lnTo>
                      <a:pt x="4656" y="12656"/>
                    </a:lnTo>
                    <a:lnTo>
                      <a:pt x="987" y="11920"/>
                    </a:lnTo>
                    <a:lnTo>
                      <a:pt x="0" y="7424"/>
                    </a:lnTo>
                    <a:lnTo>
                      <a:pt x="7034" y="4084"/>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13" name="Shape 513"/>
              <p:cNvSpPr/>
              <p:nvPr/>
            </p:nvSpPr>
            <p:spPr>
              <a:xfrm>
                <a:off x="2338717" y="1445116"/>
                <a:ext cx="247331" cy="175171"/>
              </a:xfrm>
              <a:custGeom>
                <a:avLst/>
                <a:gdLst/>
                <a:ahLst/>
                <a:cxnLst>
                  <a:cxn ang="0">
                    <a:pos x="wd2" y="hd2"/>
                  </a:cxn>
                  <a:cxn ang="5400000">
                    <a:pos x="wd2" y="hd2"/>
                  </a:cxn>
                  <a:cxn ang="10800000">
                    <a:pos x="wd2" y="hd2"/>
                  </a:cxn>
                  <a:cxn ang="16200000">
                    <a:pos x="wd2" y="hd2"/>
                  </a:cxn>
                </a:cxnLst>
                <a:rect l="0" t="0" r="r" b="b"/>
                <a:pathLst>
                  <a:path w="21600" h="21600" extrusionOk="0">
                    <a:moveTo>
                      <a:pt x="10135" y="116"/>
                    </a:moveTo>
                    <a:lnTo>
                      <a:pt x="7736" y="0"/>
                    </a:lnTo>
                    <a:lnTo>
                      <a:pt x="5503" y="1867"/>
                    </a:lnTo>
                    <a:lnTo>
                      <a:pt x="3311" y="3631"/>
                    </a:lnTo>
                    <a:lnTo>
                      <a:pt x="0" y="5601"/>
                    </a:lnTo>
                    <a:lnTo>
                      <a:pt x="553" y="8428"/>
                    </a:lnTo>
                    <a:lnTo>
                      <a:pt x="3528" y="11857"/>
                    </a:lnTo>
                    <a:lnTo>
                      <a:pt x="4929" y="13233"/>
                    </a:lnTo>
                    <a:lnTo>
                      <a:pt x="8513" y="9615"/>
                    </a:lnTo>
                    <a:lnTo>
                      <a:pt x="6289" y="14923"/>
                    </a:lnTo>
                    <a:lnTo>
                      <a:pt x="6937" y="17404"/>
                    </a:lnTo>
                    <a:lnTo>
                      <a:pt x="9406" y="17404"/>
                    </a:lnTo>
                    <a:lnTo>
                      <a:pt x="8624" y="20231"/>
                    </a:lnTo>
                    <a:lnTo>
                      <a:pt x="12079" y="21600"/>
                    </a:lnTo>
                    <a:cubicBezTo>
                      <a:pt x="12715" y="21450"/>
                      <a:pt x="13354" y="21318"/>
                      <a:pt x="13994" y="21204"/>
                    </a:cubicBezTo>
                    <a:cubicBezTo>
                      <a:pt x="14954" y="21034"/>
                      <a:pt x="15918" y="20905"/>
                      <a:pt x="16883" y="20817"/>
                    </a:cubicBezTo>
                    <a:cubicBezTo>
                      <a:pt x="17565" y="20989"/>
                      <a:pt x="18268" y="20853"/>
                      <a:pt x="18892" y="20429"/>
                    </a:cubicBezTo>
                    <a:cubicBezTo>
                      <a:pt x="19533" y="19993"/>
                      <a:pt x="20057" y="19276"/>
                      <a:pt x="20386" y="18385"/>
                    </a:cubicBezTo>
                    <a:lnTo>
                      <a:pt x="21600" y="14899"/>
                    </a:lnTo>
                    <a:lnTo>
                      <a:pt x="21180" y="11865"/>
                    </a:lnTo>
                    <a:lnTo>
                      <a:pt x="18798" y="12063"/>
                    </a:lnTo>
                    <a:lnTo>
                      <a:pt x="17958" y="8907"/>
                    </a:lnTo>
                    <a:lnTo>
                      <a:pt x="15762" y="9558"/>
                    </a:lnTo>
                    <a:lnTo>
                      <a:pt x="14689" y="13250"/>
                    </a:lnTo>
                    <a:lnTo>
                      <a:pt x="13714" y="10490"/>
                    </a:lnTo>
                    <a:lnTo>
                      <a:pt x="13159" y="8132"/>
                    </a:lnTo>
                    <a:lnTo>
                      <a:pt x="13585" y="4909"/>
                    </a:lnTo>
                    <a:lnTo>
                      <a:pt x="13445" y="2799"/>
                    </a:lnTo>
                    <a:lnTo>
                      <a:pt x="10836" y="6483"/>
                    </a:lnTo>
                    <a:lnTo>
                      <a:pt x="10001" y="4769"/>
                    </a:lnTo>
                    <a:lnTo>
                      <a:pt x="11116" y="3393"/>
                    </a:lnTo>
                    <a:lnTo>
                      <a:pt x="11945" y="928"/>
                    </a:lnTo>
                    <a:lnTo>
                      <a:pt x="10135" y="116"/>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14" name="Shape 514"/>
              <p:cNvSpPr/>
              <p:nvPr/>
            </p:nvSpPr>
            <p:spPr>
              <a:xfrm>
                <a:off x="2603337" y="1646967"/>
                <a:ext cx="124991" cy="165149"/>
              </a:xfrm>
              <a:custGeom>
                <a:avLst/>
                <a:gdLst/>
                <a:ahLst/>
                <a:cxnLst>
                  <a:cxn ang="0">
                    <a:pos x="wd2" y="hd2"/>
                  </a:cxn>
                  <a:cxn ang="5400000">
                    <a:pos x="wd2" y="hd2"/>
                  </a:cxn>
                  <a:cxn ang="10800000">
                    <a:pos x="wd2" y="hd2"/>
                  </a:cxn>
                  <a:cxn ang="16200000">
                    <a:pos x="wd2" y="hd2"/>
                  </a:cxn>
                </a:cxnLst>
                <a:rect l="0" t="0" r="r" b="b"/>
                <a:pathLst>
                  <a:path w="21516" h="21281" extrusionOk="0">
                    <a:moveTo>
                      <a:pt x="16062" y="145"/>
                    </a:moveTo>
                    <a:lnTo>
                      <a:pt x="18559" y="1996"/>
                    </a:lnTo>
                    <a:lnTo>
                      <a:pt x="18755" y="4746"/>
                    </a:lnTo>
                    <a:lnTo>
                      <a:pt x="21516" y="7829"/>
                    </a:lnTo>
                    <a:lnTo>
                      <a:pt x="20964" y="11197"/>
                    </a:lnTo>
                    <a:lnTo>
                      <a:pt x="19031" y="14918"/>
                    </a:lnTo>
                    <a:lnTo>
                      <a:pt x="18479" y="18087"/>
                    </a:lnTo>
                    <a:lnTo>
                      <a:pt x="15084" y="20077"/>
                    </a:lnTo>
                    <a:cubicBezTo>
                      <a:pt x="14091" y="20966"/>
                      <a:pt x="12556" y="21409"/>
                      <a:pt x="11023" y="21249"/>
                    </a:cubicBezTo>
                    <a:cubicBezTo>
                      <a:pt x="7381" y="20867"/>
                      <a:pt x="5464" y="17810"/>
                      <a:pt x="7399" y="15469"/>
                    </a:cubicBezTo>
                    <a:lnTo>
                      <a:pt x="1984" y="15469"/>
                    </a:lnTo>
                    <a:lnTo>
                      <a:pt x="10" y="10379"/>
                    </a:lnTo>
                    <a:cubicBezTo>
                      <a:pt x="-84" y="9375"/>
                      <a:pt x="478" y="8398"/>
                      <a:pt x="1518" y="7760"/>
                    </a:cubicBezTo>
                    <a:cubicBezTo>
                      <a:pt x="3296" y="6669"/>
                      <a:pt x="5899" y="6789"/>
                      <a:pt x="7484" y="8036"/>
                    </a:cubicBezTo>
                    <a:cubicBezTo>
                      <a:pt x="7545" y="9180"/>
                      <a:pt x="9290" y="9808"/>
                      <a:pt x="10523" y="9130"/>
                    </a:cubicBezTo>
                    <a:cubicBezTo>
                      <a:pt x="11635" y="8518"/>
                      <a:pt x="11430" y="7310"/>
                      <a:pt x="10799" y="6305"/>
                    </a:cubicBezTo>
                    <a:cubicBezTo>
                      <a:pt x="9787" y="4695"/>
                      <a:pt x="8151" y="3351"/>
                      <a:pt x="6104" y="2446"/>
                    </a:cubicBezTo>
                    <a:cubicBezTo>
                      <a:pt x="6962" y="1800"/>
                      <a:pt x="7958" y="1265"/>
                      <a:pt x="9050" y="862"/>
                    </a:cubicBezTo>
                    <a:cubicBezTo>
                      <a:pt x="11222" y="61"/>
                      <a:pt x="13682" y="-191"/>
                      <a:pt x="16062" y="145"/>
                    </a:cubicBez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15" name="Shape 515"/>
              <p:cNvSpPr/>
              <p:nvPr/>
            </p:nvSpPr>
            <p:spPr>
              <a:xfrm>
                <a:off x="675158" y="1381156"/>
                <a:ext cx="4972378" cy="4668834"/>
              </a:xfrm>
              <a:custGeom>
                <a:avLst/>
                <a:gdLst/>
                <a:ahLst/>
                <a:cxnLst>
                  <a:cxn ang="0">
                    <a:pos x="wd2" y="hd2"/>
                  </a:cxn>
                  <a:cxn ang="5400000">
                    <a:pos x="wd2" y="hd2"/>
                  </a:cxn>
                  <a:cxn ang="10800000">
                    <a:pos x="wd2" y="hd2"/>
                  </a:cxn>
                  <a:cxn ang="16200000">
                    <a:pos x="wd2" y="hd2"/>
                  </a:cxn>
                </a:cxnLst>
                <a:rect l="0" t="0" r="r" b="b"/>
                <a:pathLst>
                  <a:path w="21600" h="21600" extrusionOk="0">
                    <a:moveTo>
                      <a:pt x="6982" y="827"/>
                    </a:moveTo>
                    <a:lnTo>
                      <a:pt x="7131" y="835"/>
                    </a:lnTo>
                    <a:lnTo>
                      <a:pt x="7235" y="824"/>
                    </a:lnTo>
                    <a:lnTo>
                      <a:pt x="7298" y="913"/>
                    </a:lnTo>
                    <a:lnTo>
                      <a:pt x="7325" y="1000"/>
                    </a:lnTo>
                    <a:lnTo>
                      <a:pt x="7441" y="1022"/>
                    </a:lnTo>
                    <a:lnTo>
                      <a:pt x="7487" y="1088"/>
                    </a:lnTo>
                    <a:lnTo>
                      <a:pt x="7527" y="1212"/>
                    </a:lnTo>
                    <a:lnTo>
                      <a:pt x="7603" y="1298"/>
                    </a:lnTo>
                    <a:lnTo>
                      <a:pt x="7603" y="1387"/>
                    </a:lnTo>
                    <a:lnTo>
                      <a:pt x="7656" y="1456"/>
                    </a:lnTo>
                    <a:lnTo>
                      <a:pt x="7774" y="1483"/>
                    </a:lnTo>
                    <a:lnTo>
                      <a:pt x="7846" y="1517"/>
                    </a:lnTo>
                    <a:lnTo>
                      <a:pt x="7900" y="1570"/>
                    </a:lnTo>
                    <a:cubicBezTo>
                      <a:pt x="7875" y="1614"/>
                      <a:pt x="7901" y="1671"/>
                      <a:pt x="7949" y="1678"/>
                    </a:cubicBezTo>
                    <a:cubicBezTo>
                      <a:pt x="8022" y="1689"/>
                      <a:pt x="8065" y="1593"/>
                      <a:pt x="8011" y="1539"/>
                    </a:cubicBezTo>
                    <a:lnTo>
                      <a:pt x="8004" y="1414"/>
                    </a:lnTo>
                    <a:lnTo>
                      <a:pt x="8064" y="1310"/>
                    </a:lnTo>
                    <a:lnTo>
                      <a:pt x="8148" y="1280"/>
                    </a:lnTo>
                    <a:lnTo>
                      <a:pt x="8245" y="1273"/>
                    </a:lnTo>
                    <a:lnTo>
                      <a:pt x="8314" y="1372"/>
                    </a:lnTo>
                    <a:lnTo>
                      <a:pt x="8307" y="1465"/>
                    </a:lnTo>
                    <a:lnTo>
                      <a:pt x="8250" y="1544"/>
                    </a:lnTo>
                    <a:lnTo>
                      <a:pt x="8238" y="1638"/>
                    </a:lnTo>
                    <a:lnTo>
                      <a:pt x="8280" y="1741"/>
                    </a:lnTo>
                    <a:lnTo>
                      <a:pt x="8252" y="1852"/>
                    </a:lnTo>
                    <a:lnTo>
                      <a:pt x="8315" y="2016"/>
                    </a:lnTo>
                    <a:lnTo>
                      <a:pt x="8370" y="2072"/>
                    </a:lnTo>
                    <a:lnTo>
                      <a:pt x="8444" y="2116"/>
                    </a:lnTo>
                    <a:lnTo>
                      <a:pt x="8525" y="2102"/>
                    </a:lnTo>
                    <a:lnTo>
                      <a:pt x="8606" y="2124"/>
                    </a:lnTo>
                    <a:lnTo>
                      <a:pt x="8558" y="2220"/>
                    </a:lnTo>
                    <a:lnTo>
                      <a:pt x="8485" y="2205"/>
                    </a:lnTo>
                    <a:lnTo>
                      <a:pt x="8462" y="2284"/>
                    </a:lnTo>
                    <a:lnTo>
                      <a:pt x="8441" y="2449"/>
                    </a:lnTo>
                    <a:lnTo>
                      <a:pt x="8379" y="2618"/>
                    </a:lnTo>
                    <a:lnTo>
                      <a:pt x="8312" y="2588"/>
                    </a:lnTo>
                    <a:lnTo>
                      <a:pt x="8203" y="2531"/>
                    </a:lnTo>
                    <a:lnTo>
                      <a:pt x="8124" y="2598"/>
                    </a:lnTo>
                    <a:lnTo>
                      <a:pt x="8205" y="2699"/>
                    </a:lnTo>
                    <a:cubicBezTo>
                      <a:pt x="8263" y="2733"/>
                      <a:pt x="8323" y="2760"/>
                      <a:pt x="8386" y="2780"/>
                    </a:cubicBezTo>
                    <a:cubicBezTo>
                      <a:pt x="8432" y="2794"/>
                      <a:pt x="8479" y="2805"/>
                      <a:pt x="8525" y="2795"/>
                    </a:cubicBezTo>
                    <a:cubicBezTo>
                      <a:pt x="8571" y="2785"/>
                      <a:pt x="8611" y="2757"/>
                      <a:pt x="8637" y="2716"/>
                    </a:cubicBezTo>
                    <a:lnTo>
                      <a:pt x="8664" y="2637"/>
                    </a:lnTo>
                    <a:lnTo>
                      <a:pt x="8584" y="2645"/>
                    </a:lnTo>
                    <a:cubicBezTo>
                      <a:pt x="8554" y="2675"/>
                      <a:pt x="8510" y="2681"/>
                      <a:pt x="8473" y="2662"/>
                    </a:cubicBezTo>
                    <a:cubicBezTo>
                      <a:pt x="8359" y="2599"/>
                      <a:pt x="8398" y="2415"/>
                      <a:pt x="8527" y="2412"/>
                    </a:cubicBezTo>
                    <a:lnTo>
                      <a:pt x="8630" y="2449"/>
                    </a:lnTo>
                    <a:lnTo>
                      <a:pt x="8693" y="2335"/>
                    </a:lnTo>
                    <a:lnTo>
                      <a:pt x="8728" y="2264"/>
                    </a:lnTo>
                    <a:lnTo>
                      <a:pt x="8813" y="2264"/>
                    </a:lnTo>
                    <a:lnTo>
                      <a:pt x="8883" y="2328"/>
                    </a:lnTo>
                    <a:lnTo>
                      <a:pt x="8913" y="2180"/>
                    </a:lnTo>
                    <a:lnTo>
                      <a:pt x="8888" y="2034"/>
                    </a:lnTo>
                    <a:lnTo>
                      <a:pt x="8901" y="1920"/>
                    </a:lnTo>
                    <a:lnTo>
                      <a:pt x="8955" y="1834"/>
                    </a:lnTo>
                    <a:cubicBezTo>
                      <a:pt x="8964" y="1773"/>
                      <a:pt x="8971" y="1712"/>
                      <a:pt x="8975" y="1651"/>
                    </a:cubicBezTo>
                    <a:cubicBezTo>
                      <a:pt x="8979" y="1601"/>
                      <a:pt x="8982" y="1552"/>
                      <a:pt x="8982" y="1502"/>
                    </a:cubicBezTo>
                    <a:lnTo>
                      <a:pt x="8975" y="1347"/>
                    </a:lnTo>
                    <a:cubicBezTo>
                      <a:pt x="8984" y="1319"/>
                      <a:pt x="9001" y="1296"/>
                      <a:pt x="9024" y="1280"/>
                    </a:cubicBezTo>
                    <a:cubicBezTo>
                      <a:pt x="9068" y="1251"/>
                      <a:pt x="9123" y="1256"/>
                      <a:pt x="9175" y="1258"/>
                    </a:cubicBezTo>
                    <a:cubicBezTo>
                      <a:pt x="9214" y="1260"/>
                      <a:pt x="9254" y="1260"/>
                      <a:pt x="9293" y="1258"/>
                    </a:cubicBezTo>
                    <a:lnTo>
                      <a:pt x="9383" y="1324"/>
                    </a:lnTo>
                    <a:lnTo>
                      <a:pt x="9342" y="1409"/>
                    </a:lnTo>
                    <a:lnTo>
                      <a:pt x="9274" y="1569"/>
                    </a:lnTo>
                    <a:lnTo>
                      <a:pt x="9178" y="1638"/>
                    </a:lnTo>
                    <a:lnTo>
                      <a:pt x="9194" y="1866"/>
                    </a:lnTo>
                    <a:lnTo>
                      <a:pt x="9194" y="1997"/>
                    </a:lnTo>
                    <a:lnTo>
                      <a:pt x="9264" y="2101"/>
                    </a:lnTo>
                    <a:cubicBezTo>
                      <a:pt x="9307" y="2131"/>
                      <a:pt x="9342" y="2173"/>
                      <a:pt x="9366" y="2222"/>
                    </a:cubicBezTo>
                    <a:cubicBezTo>
                      <a:pt x="9382" y="2255"/>
                      <a:pt x="9393" y="2291"/>
                      <a:pt x="9399" y="2328"/>
                    </a:cubicBezTo>
                    <a:lnTo>
                      <a:pt x="9482" y="2336"/>
                    </a:lnTo>
                    <a:lnTo>
                      <a:pt x="9556" y="2400"/>
                    </a:lnTo>
                    <a:cubicBezTo>
                      <a:pt x="9583" y="2419"/>
                      <a:pt x="9608" y="2443"/>
                      <a:pt x="9630" y="2469"/>
                    </a:cubicBezTo>
                    <a:cubicBezTo>
                      <a:pt x="9660" y="2506"/>
                      <a:pt x="9685" y="2549"/>
                      <a:pt x="9702" y="2595"/>
                    </a:cubicBezTo>
                    <a:cubicBezTo>
                      <a:pt x="9712" y="2619"/>
                      <a:pt x="9722" y="2644"/>
                      <a:pt x="9732" y="2668"/>
                    </a:cubicBezTo>
                    <a:cubicBezTo>
                      <a:pt x="9742" y="2692"/>
                      <a:pt x="9752" y="2716"/>
                      <a:pt x="9762" y="2740"/>
                    </a:cubicBezTo>
                    <a:lnTo>
                      <a:pt x="9811" y="2856"/>
                    </a:lnTo>
                    <a:lnTo>
                      <a:pt x="9887" y="2814"/>
                    </a:lnTo>
                    <a:lnTo>
                      <a:pt x="9859" y="2582"/>
                    </a:lnTo>
                    <a:lnTo>
                      <a:pt x="9928" y="2479"/>
                    </a:lnTo>
                    <a:lnTo>
                      <a:pt x="9921" y="2310"/>
                    </a:lnTo>
                    <a:lnTo>
                      <a:pt x="9875" y="2239"/>
                    </a:lnTo>
                    <a:lnTo>
                      <a:pt x="9712" y="2214"/>
                    </a:lnTo>
                    <a:lnTo>
                      <a:pt x="9622" y="2125"/>
                    </a:lnTo>
                    <a:lnTo>
                      <a:pt x="9548" y="1994"/>
                    </a:lnTo>
                    <a:lnTo>
                      <a:pt x="9500" y="1935"/>
                    </a:lnTo>
                    <a:lnTo>
                      <a:pt x="9451" y="1765"/>
                    </a:lnTo>
                    <a:lnTo>
                      <a:pt x="9437" y="1636"/>
                    </a:lnTo>
                    <a:lnTo>
                      <a:pt x="9444" y="1522"/>
                    </a:lnTo>
                    <a:lnTo>
                      <a:pt x="9505" y="1384"/>
                    </a:lnTo>
                    <a:lnTo>
                      <a:pt x="9539" y="1305"/>
                    </a:lnTo>
                    <a:lnTo>
                      <a:pt x="9644" y="1275"/>
                    </a:lnTo>
                    <a:lnTo>
                      <a:pt x="9776" y="1268"/>
                    </a:lnTo>
                    <a:lnTo>
                      <a:pt x="9843" y="1297"/>
                    </a:lnTo>
                    <a:lnTo>
                      <a:pt x="9987" y="1259"/>
                    </a:lnTo>
                    <a:lnTo>
                      <a:pt x="10085" y="1215"/>
                    </a:lnTo>
                    <a:lnTo>
                      <a:pt x="10208" y="1215"/>
                    </a:lnTo>
                    <a:lnTo>
                      <a:pt x="10317" y="1280"/>
                    </a:lnTo>
                    <a:lnTo>
                      <a:pt x="10446" y="1371"/>
                    </a:lnTo>
                    <a:lnTo>
                      <a:pt x="10527" y="1403"/>
                    </a:lnTo>
                    <a:lnTo>
                      <a:pt x="10673" y="1499"/>
                    </a:lnTo>
                    <a:lnTo>
                      <a:pt x="10750" y="1507"/>
                    </a:lnTo>
                    <a:lnTo>
                      <a:pt x="10903" y="1507"/>
                    </a:lnTo>
                    <a:lnTo>
                      <a:pt x="10965" y="1558"/>
                    </a:lnTo>
                    <a:lnTo>
                      <a:pt x="11043" y="1622"/>
                    </a:lnTo>
                    <a:lnTo>
                      <a:pt x="11141" y="1642"/>
                    </a:lnTo>
                    <a:cubicBezTo>
                      <a:pt x="11167" y="1646"/>
                      <a:pt x="11193" y="1654"/>
                      <a:pt x="11218" y="1664"/>
                    </a:cubicBezTo>
                    <a:cubicBezTo>
                      <a:pt x="11254" y="1680"/>
                      <a:pt x="11287" y="1703"/>
                      <a:pt x="11315" y="1731"/>
                    </a:cubicBezTo>
                    <a:lnTo>
                      <a:pt x="11396" y="1808"/>
                    </a:lnTo>
                    <a:lnTo>
                      <a:pt x="11452" y="1948"/>
                    </a:lnTo>
                    <a:lnTo>
                      <a:pt x="11505" y="2034"/>
                    </a:lnTo>
                    <a:lnTo>
                      <a:pt x="11670" y="2064"/>
                    </a:lnTo>
                    <a:lnTo>
                      <a:pt x="11784" y="2091"/>
                    </a:lnTo>
                    <a:lnTo>
                      <a:pt x="12021" y="2143"/>
                    </a:lnTo>
                    <a:lnTo>
                      <a:pt x="12188" y="2173"/>
                    </a:lnTo>
                    <a:cubicBezTo>
                      <a:pt x="12226" y="2161"/>
                      <a:pt x="12267" y="2168"/>
                      <a:pt x="12299" y="2193"/>
                    </a:cubicBezTo>
                    <a:cubicBezTo>
                      <a:pt x="12345" y="2228"/>
                      <a:pt x="12365" y="2291"/>
                      <a:pt x="12348" y="2348"/>
                    </a:cubicBezTo>
                    <a:lnTo>
                      <a:pt x="12320" y="2499"/>
                    </a:lnTo>
                    <a:lnTo>
                      <a:pt x="12307" y="2647"/>
                    </a:lnTo>
                    <a:lnTo>
                      <a:pt x="12353" y="2763"/>
                    </a:lnTo>
                    <a:lnTo>
                      <a:pt x="12265" y="2812"/>
                    </a:lnTo>
                    <a:cubicBezTo>
                      <a:pt x="12226" y="2799"/>
                      <a:pt x="12189" y="2782"/>
                      <a:pt x="12154" y="2760"/>
                    </a:cubicBezTo>
                    <a:cubicBezTo>
                      <a:pt x="12092" y="2723"/>
                      <a:pt x="12039" y="2672"/>
                      <a:pt x="11996" y="2612"/>
                    </a:cubicBezTo>
                    <a:lnTo>
                      <a:pt x="11906" y="2598"/>
                    </a:lnTo>
                    <a:lnTo>
                      <a:pt x="11869" y="2672"/>
                    </a:lnTo>
                    <a:lnTo>
                      <a:pt x="11943" y="2778"/>
                    </a:lnTo>
                    <a:lnTo>
                      <a:pt x="12073" y="2842"/>
                    </a:lnTo>
                    <a:lnTo>
                      <a:pt x="12196" y="2870"/>
                    </a:lnTo>
                    <a:cubicBezTo>
                      <a:pt x="12252" y="2881"/>
                      <a:pt x="12306" y="2906"/>
                      <a:pt x="12352" y="2941"/>
                    </a:cubicBezTo>
                    <a:cubicBezTo>
                      <a:pt x="12395" y="2975"/>
                      <a:pt x="12431" y="3017"/>
                      <a:pt x="12459" y="3065"/>
                    </a:cubicBezTo>
                    <a:lnTo>
                      <a:pt x="12466" y="3161"/>
                    </a:lnTo>
                    <a:cubicBezTo>
                      <a:pt x="12485" y="3191"/>
                      <a:pt x="12502" y="3222"/>
                      <a:pt x="12517" y="3255"/>
                    </a:cubicBezTo>
                    <a:cubicBezTo>
                      <a:pt x="12534" y="3294"/>
                      <a:pt x="12548" y="3335"/>
                      <a:pt x="12558" y="3378"/>
                    </a:cubicBezTo>
                    <a:lnTo>
                      <a:pt x="12459" y="3479"/>
                    </a:lnTo>
                    <a:lnTo>
                      <a:pt x="12328" y="3383"/>
                    </a:lnTo>
                    <a:lnTo>
                      <a:pt x="12360" y="3497"/>
                    </a:lnTo>
                    <a:lnTo>
                      <a:pt x="12388" y="3606"/>
                    </a:lnTo>
                    <a:lnTo>
                      <a:pt x="12168" y="3614"/>
                    </a:lnTo>
                    <a:lnTo>
                      <a:pt x="11947" y="3586"/>
                    </a:lnTo>
                    <a:lnTo>
                      <a:pt x="11769" y="3586"/>
                    </a:lnTo>
                    <a:lnTo>
                      <a:pt x="11618" y="3490"/>
                    </a:lnTo>
                    <a:cubicBezTo>
                      <a:pt x="11588" y="3446"/>
                      <a:pt x="11548" y="3411"/>
                      <a:pt x="11502" y="3389"/>
                    </a:cubicBezTo>
                    <a:cubicBezTo>
                      <a:pt x="11446" y="3361"/>
                      <a:pt x="11382" y="3353"/>
                      <a:pt x="11321" y="3367"/>
                    </a:cubicBezTo>
                    <a:lnTo>
                      <a:pt x="11148" y="3411"/>
                    </a:lnTo>
                    <a:lnTo>
                      <a:pt x="11080" y="3520"/>
                    </a:lnTo>
                    <a:lnTo>
                      <a:pt x="11173" y="3562"/>
                    </a:lnTo>
                    <a:lnTo>
                      <a:pt x="11173" y="3658"/>
                    </a:lnTo>
                    <a:lnTo>
                      <a:pt x="11041" y="3688"/>
                    </a:lnTo>
                    <a:cubicBezTo>
                      <a:pt x="11002" y="3696"/>
                      <a:pt x="10964" y="3668"/>
                      <a:pt x="10957" y="3626"/>
                    </a:cubicBezTo>
                    <a:cubicBezTo>
                      <a:pt x="10950" y="3580"/>
                      <a:pt x="10984" y="3542"/>
                      <a:pt x="10992" y="3497"/>
                    </a:cubicBezTo>
                    <a:cubicBezTo>
                      <a:pt x="11001" y="3449"/>
                      <a:pt x="10979" y="3400"/>
                      <a:pt x="10939" y="3377"/>
                    </a:cubicBezTo>
                    <a:lnTo>
                      <a:pt x="10871" y="3214"/>
                    </a:lnTo>
                    <a:lnTo>
                      <a:pt x="10927" y="3087"/>
                    </a:lnTo>
                    <a:lnTo>
                      <a:pt x="11099" y="3058"/>
                    </a:lnTo>
                    <a:cubicBezTo>
                      <a:pt x="11143" y="3095"/>
                      <a:pt x="11209" y="3081"/>
                      <a:pt x="11236" y="3028"/>
                    </a:cubicBezTo>
                    <a:cubicBezTo>
                      <a:pt x="11261" y="2979"/>
                      <a:pt x="11242" y="2918"/>
                      <a:pt x="11194" y="2895"/>
                    </a:cubicBezTo>
                    <a:lnTo>
                      <a:pt x="11162" y="2836"/>
                    </a:lnTo>
                    <a:lnTo>
                      <a:pt x="11197" y="2733"/>
                    </a:lnTo>
                    <a:lnTo>
                      <a:pt x="11222" y="2589"/>
                    </a:lnTo>
                    <a:lnTo>
                      <a:pt x="11197" y="2443"/>
                    </a:lnTo>
                    <a:lnTo>
                      <a:pt x="11053" y="2409"/>
                    </a:lnTo>
                    <a:lnTo>
                      <a:pt x="10999" y="2596"/>
                    </a:lnTo>
                    <a:lnTo>
                      <a:pt x="10942" y="2690"/>
                    </a:lnTo>
                    <a:lnTo>
                      <a:pt x="10865" y="2727"/>
                    </a:lnTo>
                    <a:lnTo>
                      <a:pt x="10817" y="2660"/>
                    </a:lnTo>
                    <a:lnTo>
                      <a:pt x="10754" y="2500"/>
                    </a:lnTo>
                    <a:lnTo>
                      <a:pt x="10781" y="2399"/>
                    </a:lnTo>
                    <a:lnTo>
                      <a:pt x="10830" y="2332"/>
                    </a:lnTo>
                    <a:lnTo>
                      <a:pt x="10781" y="2275"/>
                    </a:lnTo>
                    <a:lnTo>
                      <a:pt x="10684" y="2238"/>
                    </a:lnTo>
                    <a:lnTo>
                      <a:pt x="10600" y="2181"/>
                    </a:lnTo>
                    <a:lnTo>
                      <a:pt x="10517" y="2122"/>
                    </a:lnTo>
                    <a:lnTo>
                      <a:pt x="10552" y="2262"/>
                    </a:lnTo>
                    <a:lnTo>
                      <a:pt x="10607" y="2328"/>
                    </a:lnTo>
                    <a:lnTo>
                      <a:pt x="10633" y="2419"/>
                    </a:lnTo>
                    <a:lnTo>
                      <a:pt x="10639" y="2505"/>
                    </a:lnTo>
                    <a:lnTo>
                      <a:pt x="10498" y="2436"/>
                    </a:lnTo>
                    <a:lnTo>
                      <a:pt x="10463" y="2355"/>
                    </a:lnTo>
                    <a:lnTo>
                      <a:pt x="10421" y="2254"/>
                    </a:lnTo>
                    <a:lnTo>
                      <a:pt x="10345" y="2231"/>
                    </a:lnTo>
                    <a:lnTo>
                      <a:pt x="10299" y="2312"/>
                    </a:lnTo>
                    <a:lnTo>
                      <a:pt x="10338" y="2436"/>
                    </a:lnTo>
                    <a:lnTo>
                      <a:pt x="10382" y="2609"/>
                    </a:lnTo>
                    <a:lnTo>
                      <a:pt x="10389" y="2728"/>
                    </a:lnTo>
                    <a:lnTo>
                      <a:pt x="10389" y="2839"/>
                    </a:lnTo>
                    <a:lnTo>
                      <a:pt x="10361" y="2940"/>
                    </a:lnTo>
                    <a:lnTo>
                      <a:pt x="10333" y="3026"/>
                    </a:lnTo>
                    <a:lnTo>
                      <a:pt x="10284" y="3159"/>
                    </a:lnTo>
                    <a:lnTo>
                      <a:pt x="10277" y="3241"/>
                    </a:lnTo>
                    <a:lnTo>
                      <a:pt x="10356" y="3317"/>
                    </a:lnTo>
                    <a:lnTo>
                      <a:pt x="10495" y="3376"/>
                    </a:lnTo>
                    <a:lnTo>
                      <a:pt x="10586" y="3406"/>
                    </a:lnTo>
                    <a:lnTo>
                      <a:pt x="10704" y="3512"/>
                    </a:lnTo>
                    <a:lnTo>
                      <a:pt x="10778" y="3620"/>
                    </a:lnTo>
                    <a:lnTo>
                      <a:pt x="10737" y="3709"/>
                    </a:lnTo>
                    <a:lnTo>
                      <a:pt x="10654" y="3714"/>
                    </a:lnTo>
                    <a:lnTo>
                      <a:pt x="10517" y="3662"/>
                    </a:lnTo>
                    <a:lnTo>
                      <a:pt x="10380" y="3677"/>
                    </a:lnTo>
                    <a:cubicBezTo>
                      <a:pt x="10381" y="3717"/>
                      <a:pt x="10367" y="3755"/>
                      <a:pt x="10343" y="3785"/>
                    </a:cubicBezTo>
                    <a:cubicBezTo>
                      <a:pt x="10311" y="3826"/>
                      <a:pt x="10262" y="3848"/>
                      <a:pt x="10211" y="3845"/>
                    </a:cubicBezTo>
                    <a:lnTo>
                      <a:pt x="10102" y="3793"/>
                    </a:lnTo>
                    <a:lnTo>
                      <a:pt x="9970" y="3800"/>
                    </a:lnTo>
                    <a:cubicBezTo>
                      <a:pt x="9960" y="3762"/>
                      <a:pt x="9953" y="3723"/>
                      <a:pt x="9952" y="3684"/>
                    </a:cubicBezTo>
                    <a:cubicBezTo>
                      <a:pt x="9947" y="3578"/>
                      <a:pt x="9975" y="3473"/>
                      <a:pt x="10031" y="3385"/>
                    </a:cubicBezTo>
                    <a:cubicBezTo>
                      <a:pt x="10030" y="3354"/>
                      <a:pt x="10014" y="3327"/>
                      <a:pt x="9989" y="3313"/>
                    </a:cubicBezTo>
                    <a:cubicBezTo>
                      <a:pt x="9848" y="3235"/>
                      <a:pt x="9741" y="3476"/>
                      <a:pt x="9887" y="3542"/>
                    </a:cubicBezTo>
                    <a:lnTo>
                      <a:pt x="9827" y="3688"/>
                    </a:lnTo>
                    <a:lnTo>
                      <a:pt x="9732" y="3812"/>
                    </a:lnTo>
                    <a:lnTo>
                      <a:pt x="9628" y="3864"/>
                    </a:lnTo>
                    <a:cubicBezTo>
                      <a:pt x="9618" y="3904"/>
                      <a:pt x="9599" y="3942"/>
                      <a:pt x="9575" y="3975"/>
                    </a:cubicBezTo>
                    <a:cubicBezTo>
                      <a:pt x="9539" y="4021"/>
                      <a:pt x="9492" y="4056"/>
                      <a:pt x="9438" y="4074"/>
                    </a:cubicBezTo>
                    <a:cubicBezTo>
                      <a:pt x="9430" y="4101"/>
                      <a:pt x="9420" y="4127"/>
                      <a:pt x="9407" y="4152"/>
                    </a:cubicBezTo>
                    <a:cubicBezTo>
                      <a:pt x="9381" y="4206"/>
                      <a:pt x="9343" y="4252"/>
                      <a:pt x="9298" y="4288"/>
                    </a:cubicBezTo>
                    <a:lnTo>
                      <a:pt x="9263" y="4415"/>
                    </a:lnTo>
                    <a:lnTo>
                      <a:pt x="9187" y="4486"/>
                    </a:lnTo>
                    <a:cubicBezTo>
                      <a:pt x="9179" y="4525"/>
                      <a:pt x="9172" y="4564"/>
                      <a:pt x="9166" y="4602"/>
                    </a:cubicBezTo>
                    <a:cubicBezTo>
                      <a:pt x="9156" y="4659"/>
                      <a:pt x="9148" y="4716"/>
                      <a:pt x="9140" y="4773"/>
                    </a:cubicBezTo>
                    <a:cubicBezTo>
                      <a:pt x="9148" y="4808"/>
                      <a:pt x="9158" y="4842"/>
                      <a:pt x="9168" y="4876"/>
                    </a:cubicBezTo>
                    <a:cubicBezTo>
                      <a:pt x="9180" y="4914"/>
                      <a:pt x="9193" y="4951"/>
                      <a:pt x="9207" y="4988"/>
                    </a:cubicBezTo>
                    <a:cubicBezTo>
                      <a:pt x="9233" y="5010"/>
                      <a:pt x="9256" y="5035"/>
                      <a:pt x="9277" y="5061"/>
                    </a:cubicBezTo>
                    <a:cubicBezTo>
                      <a:pt x="9326" y="5123"/>
                      <a:pt x="9362" y="5194"/>
                      <a:pt x="9384" y="5272"/>
                    </a:cubicBezTo>
                    <a:lnTo>
                      <a:pt x="9452" y="5434"/>
                    </a:lnTo>
                    <a:lnTo>
                      <a:pt x="9547" y="5508"/>
                    </a:lnTo>
                    <a:cubicBezTo>
                      <a:pt x="9551" y="5474"/>
                      <a:pt x="9565" y="5443"/>
                      <a:pt x="9589" y="5419"/>
                    </a:cubicBezTo>
                    <a:cubicBezTo>
                      <a:pt x="9650" y="5357"/>
                      <a:pt x="9747" y="5360"/>
                      <a:pt x="9804" y="5427"/>
                    </a:cubicBezTo>
                    <a:lnTo>
                      <a:pt x="9972" y="5464"/>
                    </a:lnTo>
                    <a:lnTo>
                      <a:pt x="10020" y="5560"/>
                    </a:lnTo>
                    <a:lnTo>
                      <a:pt x="10113" y="5567"/>
                    </a:lnTo>
                    <a:lnTo>
                      <a:pt x="10248" y="5653"/>
                    </a:lnTo>
                    <a:lnTo>
                      <a:pt x="10422" y="5737"/>
                    </a:lnTo>
                    <a:lnTo>
                      <a:pt x="10522" y="5745"/>
                    </a:lnTo>
                    <a:lnTo>
                      <a:pt x="10694" y="5750"/>
                    </a:lnTo>
                    <a:cubicBezTo>
                      <a:pt x="10727" y="5745"/>
                      <a:pt x="10760" y="5748"/>
                      <a:pt x="10792" y="5757"/>
                    </a:cubicBezTo>
                    <a:cubicBezTo>
                      <a:pt x="10842" y="5772"/>
                      <a:pt x="10887" y="5803"/>
                      <a:pt x="10924" y="5841"/>
                    </a:cubicBezTo>
                    <a:cubicBezTo>
                      <a:pt x="10976" y="5894"/>
                      <a:pt x="11014" y="5959"/>
                      <a:pt x="11036" y="6032"/>
                    </a:cubicBezTo>
                    <a:cubicBezTo>
                      <a:pt x="11037" y="6070"/>
                      <a:pt x="11050" y="6106"/>
                      <a:pt x="11073" y="6136"/>
                    </a:cubicBezTo>
                    <a:cubicBezTo>
                      <a:pt x="11105" y="6176"/>
                      <a:pt x="11151" y="6197"/>
                      <a:pt x="11198" y="6215"/>
                    </a:cubicBezTo>
                    <a:cubicBezTo>
                      <a:pt x="11235" y="6228"/>
                      <a:pt x="11272" y="6240"/>
                      <a:pt x="11309" y="6249"/>
                    </a:cubicBezTo>
                    <a:lnTo>
                      <a:pt x="11323" y="6403"/>
                    </a:lnTo>
                    <a:lnTo>
                      <a:pt x="11329" y="6534"/>
                    </a:lnTo>
                    <a:lnTo>
                      <a:pt x="11403" y="6648"/>
                    </a:lnTo>
                    <a:lnTo>
                      <a:pt x="11547" y="6749"/>
                    </a:lnTo>
                    <a:cubicBezTo>
                      <a:pt x="11589" y="6765"/>
                      <a:pt x="11635" y="6760"/>
                      <a:pt x="11672" y="6735"/>
                    </a:cubicBezTo>
                    <a:cubicBezTo>
                      <a:pt x="11760" y="6675"/>
                      <a:pt x="11771" y="6543"/>
                      <a:pt x="11695" y="6467"/>
                    </a:cubicBezTo>
                    <a:cubicBezTo>
                      <a:pt x="11673" y="6413"/>
                      <a:pt x="11648" y="6361"/>
                      <a:pt x="11621" y="6309"/>
                    </a:cubicBezTo>
                    <a:cubicBezTo>
                      <a:pt x="11573" y="6217"/>
                      <a:pt x="11519" y="6128"/>
                      <a:pt x="11458" y="6044"/>
                    </a:cubicBezTo>
                    <a:lnTo>
                      <a:pt x="11458" y="5953"/>
                    </a:lnTo>
                    <a:lnTo>
                      <a:pt x="11505" y="5842"/>
                    </a:lnTo>
                    <a:lnTo>
                      <a:pt x="11491" y="5746"/>
                    </a:lnTo>
                    <a:lnTo>
                      <a:pt x="11394" y="5687"/>
                    </a:lnTo>
                    <a:lnTo>
                      <a:pt x="11255" y="5608"/>
                    </a:lnTo>
                    <a:lnTo>
                      <a:pt x="11234" y="5437"/>
                    </a:lnTo>
                    <a:lnTo>
                      <a:pt x="11292" y="5363"/>
                    </a:lnTo>
                    <a:lnTo>
                      <a:pt x="11359" y="5363"/>
                    </a:lnTo>
                    <a:lnTo>
                      <a:pt x="11442" y="5413"/>
                    </a:lnTo>
                    <a:lnTo>
                      <a:pt x="11484" y="5501"/>
                    </a:lnTo>
                    <a:lnTo>
                      <a:pt x="11496" y="5603"/>
                    </a:lnTo>
                    <a:lnTo>
                      <a:pt x="11546" y="5684"/>
                    </a:lnTo>
                    <a:lnTo>
                      <a:pt x="11602" y="5755"/>
                    </a:lnTo>
                    <a:cubicBezTo>
                      <a:pt x="11632" y="5747"/>
                      <a:pt x="11659" y="5729"/>
                      <a:pt x="11678" y="5703"/>
                    </a:cubicBezTo>
                    <a:cubicBezTo>
                      <a:pt x="11720" y="5647"/>
                      <a:pt x="11720" y="5567"/>
                      <a:pt x="11678" y="5510"/>
                    </a:cubicBezTo>
                    <a:lnTo>
                      <a:pt x="11687" y="5305"/>
                    </a:lnTo>
                    <a:lnTo>
                      <a:pt x="11631" y="5137"/>
                    </a:lnTo>
                    <a:lnTo>
                      <a:pt x="11504" y="5001"/>
                    </a:lnTo>
                    <a:lnTo>
                      <a:pt x="11355" y="4959"/>
                    </a:lnTo>
                    <a:lnTo>
                      <a:pt x="11334" y="4831"/>
                    </a:lnTo>
                    <a:lnTo>
                      <a:pt x="11341" y="4729"/>
                    </a:lnTo>
                    <a:lnTo>
                      <a:pt x="11348" y="4507"/>
                    </a:lnTo>
                    <a:lnTo>
                      <a:pt x="11294" y="4448"/>
                    </a:lnTo>
                    <a:lnTo>
                      <a:pt x="11212" y="4396"/>
                    </a:lnTo>
                    <a:lnTo>
                      <a:pt x="11184" y="4307"/>
                    </a:lnTo>
                    <a:lnTo>
                      <a:pt x="11212" y="4203"/>
                    </a:lnTo>
                    <a:lnTo>
                      <a:pt x="11142" y="4028"/>
                    </a:lnTo>
                    <a:lnTo>
                      <a:pt x="11149" y="3859"/>
                    </a:lnTo>
                    <a:lnTo>
                      <a:pt x="11226" y="3845"/>
                    </a:lnTo>
                    <a:lnTo>
                      <a:pt x="11432" y="3859"/>
                    </a:lnTo>
                    <a:lnTo>
                      <a:pt x="11485" y="3771"/>
                    </a:lnTo>
                    <a:lnTo>
                      <a:pt x="11550" y="3741"/>
                    </a:lnTo>
                    <a:lnTo>
                      <a:pt x="11760" y="3790"/>
                    </a:lnTo>
                    <a:lnTo>
                      <a:pt x="11845" y="3861"/>
                    </a:lnTo>
                    <a:lnTo>
                      <a:pt x="11924" y="3913"/>
                    </a:lnTo>
                    <a:lnTo>
                      <a:pt x="12056" y="3943"/>
                    </a:lnTo>
                    <a:lnTo>
                      <a:pt x="12235" y="3948"/>
                    </a:lnTo>
                    <a:lnTo>
                      <a:pt x="12277" y="4074"/>
                    </a:lnTo>
                    <a:lnTo>
                      <a:pt x="12320" y="4299"/>
                    </a:lnTo>
                    <a:lnTo>
                      <a:pt x="12439" y="4425"/>
                    </a:lnTo>
                    <a:lnTo>
                      <a:pt x="12576" y="4455"/>
                    </a:lnTo>
                    <a:lnTo>
                      <a:pt x="12685" y="4418"/>
                    </a:lnTo>
                    <a:cubicBezTo>
                      <a:pt x="12703" y="4385"/>
                      <a:pt x="12717" y="4350"/>
                      <a:pt x="12727" y="4314"/>
                    </a:cubicBezTo>
                    <a:cubicBezTo>
                      <a:pt x="12750" y="4222"/>
                      <a:pt x="12742" y="4125"/>
                      <a:pt x="12706" y="4039"/>
                    </a:cubicBezTo>
                    <a:lnTo>
                      <a:pt x="12706" y="3894"/>
                    </a:lnTo>
                    <a:lnTo>
                      <a:pt x="12724" y="3822"/>
                    </a:lnTo>
                    <a:lnTo>
                      <a:pt x="12840" y="3889"/>
                    </a:lnTo>
                    <a:lnTo>
                      <a:pt x="12901" y="3933"/>
                    </a:lnTo>
                    <a:cubicBezTo>
                      <a:pt x="12943" y="3970"/>
                      <a:pt x="12987" y="4005"/>
                      <a:pt x="13033" y="4037"/>
                    </a:cubicBezTo>
                    <a:cubicBezTo>
                      <a:pt x="13072" y="4063"/>
                      <a:pt x="13112" y="4088"/>
                      <a:pt x="13153" y="4111"/>
                    </a:cubicBezTo>
                    <a:lnTo>
                      <a:pt x="13279" y="4204"/>
                    </a:lnTo>
                    <a:lnTo>
                      <a:pt x="13409" y="4320"/>
                    </a:lnTo>
                    <a:lnTo>
                      <a:pt x="13497" y="4426"/>
                    </a:lnTo>
                    <a:lnTo>
                      <a:pt x="13646" y="4604"/>
                    </a:lnTo>
                    <a:lnTo>
                      <a:pt x="13736" y="4662"/>
                    </a:lnTo>
                    <a:lnTo>
                      <a:pt x="13914" y="4702"/>
                    </a:lnTo>
                    <a:lnTo>
                      <a:pt x="14011" y="4724"/>
                    </a:lnTo>
                    <a:lnTo>
                      <a:pt x="14211" y="4717"/>
                    </a:lnTo>
                    <a:lnTo>
                      <a:pt x="14343" y="4746"/>
                    </a:lnTo>
                    <a:lnTo>
                      <a:pt x="14331" y="4858"/>
                    </a:lnTo>
                    <a:lnTo>
                      <a:pt x="14487" y="4917"/>
                    </a:lnTo>
                    <a:lnTo>
                      <a:pt x="14563" y="4932"/>
                    </a:lnTo>
                    <a:lnTo>
                      <a:pt x="14665" y="5055"/>
                    </a:lnTo>
                    <a:cubicBezTo>
                      <a:pt x="14686" y="5090"/>
                      <a:pt x="14708" y="5125"/>
                      <a:pt x="14730" y="5159"/>
                    </a:cubicBezTo>
                    <a:cubicBezTo>
                      <a:pt x="14787" y="5245"/>
                      <a:pt x="14849" y="5328"/>
                      <a:pt x="14916" y="5406"/>
                    </a:cubicBezTo>
                    <a:lnTo>
                      <a:pt x="14958" y="5478"/>
                    </a:lnTo>
                    <a:lnTo>
                      <a:pt x="14951" y="5594"/>
                    </a:lnTo>
                    <a:cubicBezTo>
                      <a:pt x="14966" y="5643"/>
                      <a:pt x="15001" y="5682"/>
                      <a:pt x="15046" y="5700"/>
                    </a:cubicBezTo>
                    <a:cubicBezTo>
                      <a:pt x="15081" y="5714"/>
                      <a:pt x="15120" y="5714"/>
                      <a:pt x="15155" y="5700"/>
                    </a:cubicBezTo>
                    <a:lnTo>
                      <a:pt x="15241" y="5610"/>
                    </a:lnTo>
                    <a:lnTo>
                      <a:pt x="15354" y="5635"/>
                    </a:lnTo>
                    <a:lnTo>
                      <a:pt x="15403" y="5723"/>
                    </a:lnTo>
                    <a:lnTo>
                      <a:pt x="15521" y="5750"/>
                    </a:lnTo>
                    <a:lnTo>
                      <a:pt x="15616" y="5755"/>
                    </a:lnTo>
                    <a:lnTo>
                      <a:pt x="15674" y="5874"/>
                    </a:lnTo>
                    <a:lnTo>
                      <a:pt x="15716" y="5943"/>
                    </a:lnTo>
                    <a:lnTo>
                      <a:pt x="15756" y="6020"/>
                    </a:lnTo>
                    <a:lnTo>
                      <a:pt x="15769" y="6098"/>
                    </a:lnTo>
                    <a:lnTo>
                      <a:pt x="15797" y="6229"/>
                    </a:lnTo>
                    <a:lnTo>
                      <a:pt x="15651" y="6288"/>
                    </a:lnTo>
                    <a:lnTo>
                      <a:pt x="15538" y="6288"/>
                    </a:lnTo>
                    <a:lnTo>
                      <a:pt x="15480" y="6363"/>
                    </a:lnTo>
                    <a:lnTo>
                      <a:pt x="15427" y="6491"/>
                    </a:lnTo>
                    <a:lnTo>
                      <a:pt x="15305" y="6481"/>
                    </a:lnTo>
                    <a:lnTo>
                      <a:pt x="15263" y="6414"/>
                    </a:lnTo>
                    <a:cubicBezTo>
                      <a:pt x="15274" y="6398"/>
                      <a:pt x="15284" y="6382"/>
                      <a:pt x="15295" y="6366"/>
                    </a:cubicBezTo>
                    <a:cubicBezTo>
                      <a:pt x="15305" y="6350"/>
                      <a:pt x="15315" y="6334"/>
                      <a:pt x="15326" y="6318"/>
                    </a:cubicBezTo>
                    <a:lnTo>
                      <a:pt x="15136" y="6399"/>
                    </a:lnTo>
                    <a:lnTo>
                      <a:pt x="15055" y="6480"/>
                    </a:lnTo>
                    <a:lnTo>
                      <a:pt x="14951" y="6532"/>
                    </a:lnTo>
                    <a:lnTo>
                      <a:pt x="14820" y="6525"/>
                    </a:lnTo>
                    <a:lnTo>
                      <a:pt x="14820" y="6431"/>
                    </a:lnTo>
                    <a:lnTo>
                      <a:pt x="14799" y="6330"/>
                    </a:lnTo>
                    <a:lnTo>
                      <a:pt x="14780" y="6258"/>
                    </a:lnTo>
                    <a:lnTo>
                      <a:pt x="14780" y="6120"/>
                    </a:lnTo>
                    <a:cubicBezTo>
                      <a:pt x="14775" y="6084"/>
                      <a:pt x="14770" y="6047"/>
                      <a:pt x="14766" y="6011"/>
                    </a:cubicBezTo>
                    <a:cubicBezTo>
                      <a:pt x="14757" y="5930"/>
                      <a:pt x="14751" y="5848"/>
                      <a:pt x="14748" y="5767"/>
                    </a:cubicBezTo>
                    <a:lnTo>
                      <a:pt x="14692" y="5626"/>
                    </a:lnTo>
                    <a:lnTo>
                      <a:pt x="14680" y="5534"/>
                    </a:lnTo>
                    <a:lnTo>
                      <a:pt x="14581" y="5665"/>
                    </a:lnTo>
                    <a:lnTo>
                      <a:pt x="14539" y="5840"/>
                    </a:lnTo>
                    <a:lnTo>
                      <a:pt x="14478" y="5951"/>
                    </a:lnTo>
                    <a:cubicBezTo>
                      <a:pt x="14456" y="5983"/>
                      <a:pt x="14429" y="6010"/>
                      <a:pt x="14397" y="6030"/>
                    </a:cubicBezTo>
                    <a:cubicBezTo>
                      <a:pt x="14341" y="6066"/>
                      <a:pt x="14276" y="6080"/>
                      <a:pt x="14214" y="6102"/>
                    </a:cubicBezTo>
                    <a:cubicBezTo>
                      <a:pt x="14166" y="6118"/>
                      <a:pt x="14120" y="6140"/>
                      <a:pt x="14077" y="6166"/>
                    </a:cubicBezTo>
                    <a:lnTo>
                      <a:pt x="14144" y="6237"/>
                    </a:lnTo>
                    <a:cubicBezTo>
                      <a:pt x="14183" y="6237"/>
                      <a:pt x="14222" y="6242"/>
                      <a:pt x="14260" y="6252"/>
                    </a:cubicBezTo>
                    <a:cubicBezTo>
                      <a:pt x="14308" y="6264"/>
                      <a:pt x="14354" y="6284"/>
                      <a:pt x="14397" y="6311"/>
                    </a:cubicBezTo>
                    <a:lnTo>
                      <a:pt x="14302" y="6422"/>
                    </a:lnTo>
                    <a:lnTo>
                      <a:pt x="14116" y="6399"/>
                    </a:lnTo>
                    <a:lnTo>
                      <a:pt x="14014" y="6392"/>
                    </a:lnTo>
                    <a:lnTo>
                      <a:pt x="13938" y="6311"/>
                    </a:lnTo>
                    <a:lnTo>
                      <a:pt x="13796" y="6355"/>
                    </a:lnTo>
                    <a:lnTo>
                      <a:pt x="13720" y="6390"/>
                    </a:lnTo>
                    <a:lnTo>
                      <a:pt x="13666" y="6473"/>
                    </a:lnTo>
                    <a:lnTo>
                      <a:pt x="13648" y="6629"/>
                    </a:lnTo>
                    <a:cubicBezTo>
                      <a:pt x="13623" y="6645"/>
                      <a:pt x="13599" y="6664"/>
                      <a:pt x="13579" y="6686"/>
                    </a:cubicBezTo>
                    <a:cubicBezTo>
                      <a:pt x="13547" y="6718"/>
                      <a:pt x="13521" y="6757"/>
                      <a:pt x="13502" y="6799"/>
                    </a:cubicBezTo>
                    <a:lnTo>
                      <a:pt x="13471" y="6886"/>
                    </a:lnTo>
                    <a:lnTo>
                      <a:pt x="13598" y="6791"/>
                    </a:lnTo>
                    <a:lnTo>
                      <a:pt x="13761" y="6628"/>
                    </a:lnTo>
                    <a:lnTo>
                      <a:pt x="13863" y="6539"/>
                    </a:lnTo>
                    <a:lnTo>
                      <a:pt x="14007" y="6524"/>
                    </a:lnTo>
                    <a:cubicBezTo>
                      <a:pt x="14032" y="6528"/>
                      <a:pt x="14056" y="6540"/>
                      <a:pt x="14076" y="6557"/>
                    </a:cubicBezTo>
                    <a:cubicBezTo>
                      <a:pt x="14122" y="6595"/>
                      <a:pt x="14143" y="6659"/>
                      <a:pt x="14130" y="6720"/>
                    </a:cubicBezTo>
                    <a:lnTo>
                      <a:pt x="14220" y="6892"/>
                    </a:lnTo>
                    <a:lnTo>
                      <a:pt x="14227" y="6989"/>
                    </a:lnTo>
                    <a:cubicBezTo>
                      <a:pt x="14208" y="7016"/>
                      <a:pt x="14211" y="7055"/>
                      <a:pt x="14234" y="7079"/>
                    </a:cubicBezTo>
                    <a:cubicBezTo>
                      <a:pt x="14303" y="7152"/>
                      <a:pt x="14415" y="7066"/>
                      <a:pt x="14371" y="6973"/>
                    </a:cubicBezTo>
                    <a:lnTo>
                      <a:pt x="14498" y="6973"/>
                    </a:lnTo>
                    <a:lnTo>
                      <a:pt x="14700" y="7015"/>
                    </a:lnTo>
                    <a:lnTo>
                      <a:pt x="14697" y="6827"/>
                    </a:lnTo>
                    <a:lnTo>
                      <a:pt x="14739" y="6696"/>
                    </a:lnTo>
                    <a:lnTo>
                      <a:pt x="14818" y="6696"/>
                    </a:lnTo>
                    <a:lnTo>
                      <a:pt x="14882" y="6777"/>
                    </a:lnTo>
                    <a:lnTo>
                      <a:pt x="14965" y="6878"/>
                    </a:lnTo>
                    <a:cubicBezTo>
                      <a:pt x="15005" y="6910"/>
                      <a:pt x="15027" y="6961"/>
                      <a:pt x="15025" y="7013"/>
                    </a:cubicBezTo>
                    <a:cubicBezTo>
                      <a:pt x="15023" y="7087"/>
                      <a:pt x="14976" y="7152"/>
                      <a:pt x="14909" y="7172"/>
                    </a:cubicBezTo>
                    <a:lnTo>
                      <a:pt x="14863" y="7275"/>
                    </a:lnTo>
                    <a:lnTo>
                      <a:pt x="14759" y="7388"/>
                    </a:lnTo>
                    <a:lnTo>
                      <a:pt x="14713" y="7589"/>
                    </a:lnTo>
                    <a:lnTo>
                      <a:pt x="14646" y="7618"/>
                    </a:lnTo>
                    <a:lnTo>
                      <a:pt x="14597" y="7756"/>
                    </a:lnTo>
                    <a:cubicBezTo>
                      <a:pt x="14605" y="7815"/>
                      <a:pt x="14590" y="7873"/>
                      <a:pt x="14556" y="7919"/>
                    </a:cubicBezTo>
                    <a:cubicBezTo>
                      <a:pt x="14517" y="7972"/>
                      <a:pt x="14457" y="8003"/>
                      <a:pt x="14394" y="8003"/>
                    </a:cubicBezTo>
                    <a:cubicBezTo>
                      <a:pt x="14339" y="8054"/>
                      <a:pt x="14257" y="8049"/>
                      <a:pt x="14208" y="7993"/>
                    </a:cubicBezTo>
                    <a:cubicBezTo>
                      <a:pt x="14161" y="7939"/>
                      <a:pt x="14161" y="7855"/>
                      <a:pt x="14208" y="7801"/>
                    </a:cubicBezTo>
                    <a:cubicBezTo>
                      <a:pt x="14245" y="7760"/>
                      <a:pt x="14270" y="7709"/>
                      <a:pt x="14278" y="7653"/>
                    </a:cubicBezTo>
                    <a:cubicBezTo>
                      <a:pt x="14287" y="7592"/>
                      <a:pt x="14276" y="7530"/>
                      <a:pt x="14248" y="7477"/>
                    </a:cubicBezTo>
                    <a:lnTo>
                      <a:pt x="14129" y="7739"/>
                    </a:lnTo>
                    <a:cubicBezTo>
                      <a:pt x="14099" y="7772"/>
                      <a:pt x="14069" y="7805"/>
                      <a:pt x="14038" y="7838"/>
                    </a:cubicBezTo>
                    <a:cubicBezTo>
                      <a:pt x="13983" y="7899"/>
                      <a:pt x="13927" y="7960"/>
                      <a:pt x="13874" y="8023"/>
                    </a:cubicBezTo>
                    <a:cubicBezTo>
                      <a:pt x="13811" y="8097"/>
                      <a:pt x="13750" y="8173"/>
                      <a:pt x="13692" y="8251"/>
                    </a:cubicBezTo>
                    <a:cubicBezTo>
                      <a:pt x="13674" y="8300"/>
                      <a:pt x="13662" y="8353"/>
                      <a:pt x="13658" y="8406"/>
                    </a:cubicBezTo>
                    <a:cubicBezTo>
                      <a:pt x="13652" y="8468"/>
                      <a:pt x="13657" y="8531"/>
                      <a:pt x="13671" y="8591"/>
                    </a:cubicBezTo>
                    <a:lnTo>
                      <a:pt x="13815" y="8608"/>
                    </a:lnTo>
                    <a:cubicBezTo>
                      <a:pt x="13848" y="8648"/>
                      <a:pt x="13863" y="8702"/>
                      <a:pt x="13854" y="8754"/>
                    </a:cubicBezTo>
                    <a:cubicBezTo>
                      <a:pt x="13842" y="8831"/>
                      <a:pt x="13785" y="8890"/>
                      <a:pt x="13713" y="8902"/>
                    </a:cubicBezTo>
                    <a:cubicBezTo>
                      <a:pt x="13663" y="8907"/>
                      <a:pt x="13617" y="8928"/>
                      <a:pt x="13578" y="8961"/>
                    </a:cubicBezTo>
                    <a:cubicBezTo>
                      <a:pt x="13521" y="9010"/>
                      <a:pt x="13486" y="9080"/>
                      <a:pt x="13457" y="9151"/>
                    </a:cubicBezTo>
                    <a:cubicBezTo>
                      <a:pt x="13436" y="9205"/>
                      <a:pt x="13417" y="9261"/>
                      <a:pt x="13390" y="9312"/>
                    </a:cubicBezTo>
                    <a:cubicBezTo>
                      <a:pt x="13361" y="9365"/>
                      <a:pt x="13323" y="9412"/>
                      <a:pt x="13290" y="9462"/>
                    </a:cubicBezTo>
                    <a:cubicBezTo>
                      <a:pt x="13253" y="9518"/>
                      <a:pt x="13221" y="9578"/>
                      <a:pt x="13195" y="9641"/>
                    </a:cubicBezTo>
                    <a:lnTo>
                      <a:pt x="13153" y="9816"/>
                    </a:lnTo>
                    <a:lnTo>
                      <a:pt x="13113" y="10014"/>
                    </a:lnTo>
                    <a:lnTo>
                      <a:pt x="13227" y="10272"/>
                    </a:lnTo>
                    <a:lnTo>
                      <a:pt x="13282" y="10524"/>
                    </a:lnTo>
                    <a:lnTo>
                      <a:pt x="13227" y="10658"/>
                    </a:lnTo>
                    <a:cubicBezTo>
                      <a:pt x="13128" y="10708"/>
                      <a:pt x="13040" y="10780"/>
                      <a:pt x="12969" y="10870"/>
                    </a:cubicBezTo>
                    <a:cubicBezTo>
                      <a:pt x="12918" y="10934"/>
                      <a:pt x="12878" y="11005"/>
                      <a:pt x="12834" y="11075"/>
                    </a:cubicBezTo>
                    <a:cubicBezTo>
                      <a:pt x="12768" y="11180"/>
                      <a:pt x="12696" y="11282"/>
                      <a:pt x="12646" y="11397"/>
                    </a:cubicBezTo>
                    <a:cubicBezTo>
                      <a:pt x="12614" y="11470"/>
                      <a:pt x="12591" y="11550"/>
                      <a:pt x="12537" y="11607"/>
                    </a:cubicBezTo>
                    <a:cubicBezTo>
                      <a:pt x="12460" y="11689"/>
                      <a:pt x="12338" y="11706"/>
                      <a:pt x="12270" y="11797"/>
                    </a:cubicBezTo>
                    <a:cubicBezTo>
                      <a:pt x="12214" y="11872"/>
                      <a:pt x="12209" y="11977"/>
                      <a:pt x="12258" y="12057"/>
                    </a:cubicBezTo>
                    <a:lnTo>
                      <a:pt x="12300" y="12215"/>
                    </a:lnTo>
                    <a:lnTo>
                      <a:pt x="12404" y="12462"/>
                    </a:lnTo>
                    <a:lnTo>
                      <a:pt x="12515" y="12738"/>
                    </a:lnTo>
                    <a:cubicBezTo>
                      <a:pt x="12556" y="12789"/>
                      <a:pt x="12589" y="12847"/>
                      <a:pt x="12613" y="12909"/>
                    </a:cubicBezTo>
                    <a:cubicBezTo>
                      <a:pt x="12652" y="13010"/>
                      <a:pt x="12665" y="13119"/>
                      <a:pt x="12662" y="13228"/>
                    </a:cubicBezTo>
                    <a:cubicBezTo>
                      <a:pt x="12659" y="13331"/>
                      <a:pt x="12641" y="13436"/>
                      <a:pt x="12587" y="13522"/>
                    </a:cubicBezTo>
                    <a:cubicBezTo>
                      <a:pt x="12538" y="13603"/>
                      <a:pt x="12461" y="13661"/>
                      <a:pt x="12374" y="13685"/>
                    </a:cubicBezTo>
                    <a:cubicBezTo>
                      <a:pt x="12357" y="13669"/>
                      <a:pt x="12345" y="13649"/>
                      <a:pt x="12339" y="13626"/>
                    </a:cubicBezTo>
                    <a:cubicBezTo>
                      <a:pt x="12321" y="13557"/>
                      <a:pt x="12355" y="13485"/>
                      <a:pt x="12418" y="13461"/>
                    </a:cubicBezTo>
                    <a:cubicBezTo>
                      <a:pt x="12408" y="13436"/>
                      <a:pt x="12396" y="13412"/>
                      <a:pt x="12384" y="13389"/>
                    </a:cubicBezTo>
                    <a:cubicBezTo>
                      <a:pt x="12346" y="13322"/>
                      <a:pt x="12297" y="13263"/>
                      <a:pt x="12240" y="13214"/>
                    </a:cubicBezTo>
                    <a:lnTo>
                      <a:pt x="12143" y="13081"/>
                    </a:lnTo>
                    <a:cubicBezTo>
                      <a:pt x="12128" y="13006"/>
                      <a:pt x="12114" y="12931"/>
                      <a:pt x="12101" y="12856"/>
                    </a:cubicBezTo>
                    <a:cubicBezTo>
                      <a:pt x="12089" y="12787"/>
                      <a:pt x="12076" y="12716"/>
                      <a:pt x="12043" y="12656"/>
                    </a:cubicBezTo>
                    <a:cubicBezTo>
                      <a:pt x="11992" y="12563"/>
                      <a:pt x="11903" y="12506"/>
                      <a:pt x="11804" y="12487"/>
                    </a:cubicBezTo>
                    <a:cubicBezTo>
                      <a:pt x="11728" y="12473"/>
                      <a:pt x="11650" y="12483"/>
                      <a:pt x="11578" y="12515"/>
                    </a:cubicBezTo>
                    <a:cubicBezTo>
                      <a:pt x="11541" y="12556"/>
                      <a:pt x="11487" y="12576"/>
                      <a:pt x="11433" y="12566"/>
                    </a:cubicBezTo>
                    <a:cubicBezTo>
                      <a:pt x="11359" y="12553"/>
                      <a:pt x="11303" y="12489"/>
                      <a:pt x="11294" y="12410"/>
                    </a:cubicBezTo>
                    <a:lnTo>
                      <a:pt x="11069" y="12447"/>
                    </a:lnTo>
                    <a:lnTo>
                      <a:pt x="10769" y="12485"/>
                    </a:lnTo>
                    <a:cubicBezTo>
                      <a:pt x="10692" y="12422"/>
                      <a:pt x="10581" y="12447"/>
                      <a:pt x="10533" y="12536"/>
                    </a:cubicBezTo>
                    <a:cubicBezTo>
                      <a:pt x="10477" y="12642"/>
                      <a:pt x="10535" y="12774"/>
                      <a:pt x="10647" y="12796"/>
                    </a:cubicBezTo>
                    <a:cubicBezTo>
                      <a:pt x="10640" y="12843"/>
                      <a:pt x="10601" y="12878"/>
                      <a:pt x="10556" y="12878"/>
                    </a:cubicBezTo>
                    <a:cubicBezTo>
                      <a:pt x="10517" y="12877"/>
                      <a:pt x="10484" y="12849"/>
                      <a:pt x="10448" y="12833"/>
                    </a:cubicBezTo>
                    <a:cubicBezTo>
                      <a:pt x="10387" y="12806"/>
                      <a:pt x="10318" y="12811"/>
                      <a:pt x="10262" y="12848"/>
                    </a:cubicBezTo>
                    <a:lnTo>
                      <a:pt x="9890" y="12736"/>
                    </a:lnTo>
                    <a:lnTo>
                      <a:pt x="9698" y="12744"/>
                    </a:lnTo>
                    <a:lnTo>
                      <a:pt x="9561" y="12781"/>
                    </a:lnTo>
                    <a:cubicBezTo>
                      <a:pt x="9511" y="12813"/>
                      <a:pt x="9459" y="12842"/>
                      <a:pt x="9405" y="12868"/>
                    </a:cubicBezTo>
                    <a:cubicBezTo>
                      <a:pt x="9327" y="12905"/>
                      <a:pt x="9245" y="12935"/>
                      <a:pt x="9161" y="12957"/>
                    </a:cubicBezTo>
                    <a:cubicBezTo>
                      <a:pt x="9135" y="12986"/>
                      <a:pt x="9104" y="13011"/>
                      <a:pt x="9071" y="13031"/>
                    </a:cubicBezTo>
                    <a:cubicBezTo>
                      <a:pt x="8994" y="13076"/>
                      <a:pt x="8903" y="13092"/>
                      <a:pt x="8837" y="13154"/>
                    </a:cubicBezTo>
                    <a:cubicBezTo>
                      <a:pt x="8802" y="13187"/>
                      <a:pt x="8777" y="13230"/>
                      <a:pt x="8765" y="13278"/>
                    </a:cubicBezTo>
                    <a:cubicBezTo>
                      <a:pt x="8753" y="13328"/>
                      <a:pt x="8742" y="13379"/>
                      <a:pt x="8730" y="13429"/>
                    </a:cubicBezTo>
                    <a:cubicBezTo>
                      <a:pt x="8716" y="13488"/>
                      <a:pt x="8701" y="13548"/>
                      <a:pt x="8686" y="13607"/>
                    </a:cubicBezTo>
                    <a:lnTo>
                      <a:pt x="8681" y="13783"/>
                    </a:lnTo>
                    <a:cubicBezTo>
                      <a:pt x="8682" y="13874"/>
                      <a:pt x="8671" y="13964"/>
                      <a:pt x="8649" y="14052"/>
                    </a:cubicBezTo>
                    <a:cubicBezTo>
                      <a:pt x="8626" y="14140"/>
                      <a:pt x="8593" y="14224"/>
                      <a:pt x="8549" y="14302"/>
                    </a:cubicBezTo>
                    <a:cubicBezTo>
                      <a:pt x="8561" y="14389"/>
                      <a:pt x="8581" y="14474"/>
                      <a:pt x="8607" y="14557"/>
                    </a:cubicBezTo>
                    <a:cubicBezTo>
                      <a:pt x="8651" y="14698"/>
                      <a:pt x="8715" y="14833"/>
                      <a:pt x="8795" y="14955"/>
                    </a:cubicBezTo>
                    <a:lnTo>
                      <a:pt x="8872" y="15104"/>
                    </a:lnTo>
                    <a:lnTo>
                      <a:pt x="8990" y="15311"/>
                    </a:lnTo>
                    <a:cubicBezTo>
                      <a:pt x="9060" y="15309"/>
                      <a:pt x="9128" y="15325"/>
                      <a:pt x="9192" y="15356"/>
                    </a:cubicBezTo>
                    <a:cubicBezTo>
                      <a:pt x="9236" y="15378"/>
                      <a:pt x="9277" y="15408"/>
                      <a:pt x="9322" y="15430"/>
                    </a:cubicBezTo>
                    <a:cubicBezTo>
                      <a:pt x="9377" y="15457"/>
                      <a:pt x="9437" y="15472"/>
                      <a:pt x="9498" y="15479"/>
                    </a:cubicBezTo>
                    <a:cubicBezTo>
                      <a:pt x="9657" y="15497"/>
                      <a:pt x="9815" y="15460"/>
                      <a:pt x="9969" y="15415"/>
                    </a:cubicBezTo>
                    <a:cubicBezTo>
                      <a:pt x="10055" y="15390"/>
                      <a:pt x="10140" y="15363"/>
                      <a:pt x="10224" y="15333"/>
                    </a:cubicBezTo>
                    <a:cubicBezTo>
                      <a:pt x="10255" y="15283"/>
                      <a:pt x="10280" y="15230"/>
                      <a:pt x="10298" y="15173"/>
                    </a:cubicBezTo>
                    <a:cubicBezTo>
                      <a:pt x="10323" y="15097"/>
                      <a:pt x="10335" y="15016"/>
                      <a:pt x="10333" y="14936"/>
                    </a:cubicBezTo>
                    <a:lnTo>
                      <a:pt x="10419" y="14730"/>
                    </a:lnTo>
                    <a:lnTo>
                      <a:pt x="10705" y="14612"/>
                    </a:lnTo>
                    <a:lnTo>
                      <a:pt x="10907" y="14582"/>
                    </a:lnTo>
                    <a:lnTo>
                      <a:pt x="11139" y="14560"/>
                    </a:lnTo>
                    <a:lnTo>
                      <a:pt x="11290" y="14604"/>
                    </a:lnTo>
                    <a:lnTo>
                      <a:pt x="11318" y="14728"/>
                    </a:lnTo>
                    <a:cubicBezTo>
                      <a:pt x="11308" y="14764"/>
                      <a:pt x="11292" y="14798"/>
                      <a:pt x="11272" y="14828"/>
                    </a:cubicBezTo>
                    <a:cubicBezTo>
                      <a:pt x="11236" y="14881"/>
                      <a:pt x="11187" y="14922"/>
                      <a:pt x="11130" y="14947"/>
                    </a:cubicBezTo>
                    <a:cubicBezTo>
                      <a:pt x="11128" y="15011"/>
                      <a:pt x="11128" y="15075"/>
                      <a:pt x="11130" y="15139"/>
                    </a:cubicBezTo>
                    <a:cubicBezTo>
                      <a:pt x="11132" y="15208"/>
                      <a:pt x="11137" y="15278"/>
                      <a:pt x="11119" y="15344"/>
                    </a:cubicBezTo>
                    <a:cubicBezTo>
                      <a:pt x="11101" y="15410"/>
                      <a:pt x="11062" y="15466"/>
                      <a:pt x="11009" y="15505"/>
                    </a:cubicBezTo>
                    <a:cubicBezTo>
                      <a:pt x="11037" y="15517"/>
                      <a:pt x="11060" y="15540"/>
                      <a:pt x="11072" y="15569"/>
                    </a:cubicBezTo>
                    <a:cubicBezTo>
                      <a:pt x="11115" y="15670"/>
                      <a:pt x="11039" y="15782"/>
                      <a:pt x="10935" y="15772"/>
                    </a:cubicBezTo>
                    <a:cubicBezTo>
                      <a:pt x="10909" y="15783"/>
                      <a:pt x="10889" y="15807"/>
                      <a:pt x="10882" y="15836"/>
                    </a:cubicBezTo>
                    <a:cubicBezTo>
                      <a:pt x="10871" y="15877"/>
                      <a:pt x="10886" y="15921"/>
                      <a:pt x="10916" y="15949"/>
                    </a:cubicBezTo>
                    <a:cubicBezTo>
                      <a:pt x="10994" y="16022"/>
                      <a:pt x="11116" y="15982"/>
                      <a:pt x="11142" y="15875"/>
                    </a:cubicBezTo>
                    <a:lnTo>
                      <a:pt x="11369" y="15757"/>
                    </a:lnTo>
                    <a:cubicBezTo>
                      <a:pt x="11387" y="15722"/>
                      <a:pt x="11410" y="15692"/>
                      <a:pt x="11439" y="15668"/>
                    </a:cubicBezTo>
                    <a:cubicBezTo>
                      <a:pt x="11497" y="15617"/>
                      <a:pt x="11572" y="15593"/>
                      <a:pt x="11647" y="15601"/>
                    </a:cubicBezTo>
                    <a:cubicBezTo>
                      <a:pt x="11673" y="15627"/>
                      <a:pt x="11685" y="15663"/>
                      <a:pt x="11682" y="15700"/>
                    </a:cubicBezTo>
                    <a:cubicBezTo>
                      <a:pt x="11679" y="15738"/>
                      <a:pt x="11662" y="15770"/>
                      <a:pt x="11634" y="15789"/>
                    </a:cubicBezTo>
                    <a:cubicBezTo>
                      <a:pt x="11584" y="15823"/>
                      <a:pt x="11514" y="15805"/>
                      <a:pt x="11487" y="15742"/>
                    </a:cubicBezTo>
                    <a:lnTo>
                      <a:pt x="11471" y="15865"/>
                    </a:lnTo>
                    <a:lnTo>
                      <a:pt x="11715" y="15865"/>
                    </a:lnTo>
                    <a:lnTo>
                      <a:pt x="11945" y="15842"/>
                    </a:lnTo>
                    <a:lnTo>
                      <a:pt x="12161" y="15860"/>
                    </a:lnTo>
                    <a:lnTo>
                      <a:pt x="12272" y="15949"/>
                    </a:lnTo>
                    <a:cubicBezTo>
                      <a:pt x="12282" y="15999"/>
                      <a:pt x="12277" y="16052"/>
                      <a:pt x="12259" y="16099"/>
                    </a:cubicBezTo>
                    <a:cubicBezTo>
                      <a:pt x="12238" y="16156"/>
                      <a:pt x="12199" y="16203"/>
                      <a:pt x="12150" y="16233"/>
                    </a:cubicBezTo>
                    <a:lnTo>
                      <a:pt x="12124" y="16495"/>
                    </a:lnTo>
                    <a:lnTo>
                      <a:pt x="12150" y="16676"/>
                    </a:lnTo>
                    <a:lnTo>
                      <a:pt x="12166" y="16791"/>
                    </a:lnTo>
                    <a:lnTo>
                      <a:pt x="12236" y="16910"/>
                    </a:lnTo>
                    <a:lnTo>
                      <a:pt x="12340" y="17004"/>
                    </a:lnTo>
                    <a:lnTo>
                      <a:pt x="12530" y="17140"/>
                    </a:lnTo>
                    <a:lnTo>
                      <a:pt x="12662" y="17184"/>
                    </a:lnTo>
                    <a:cubicBezTo>
                      <a:pt x="12691" y="17185"/>
                      <a:pt x="12720" y="17183"/>
                      <a:pt x="12748" y="17177"/>
                    </a:cubicBezTo>
                    <a:cubicBezTo>
                      <a:pt x="12813" y="17164"/>
                      <a:pt x="12873" y="17133"/>
                      <a:pt x="12924" y="17088"/>
                    </a:cubicBezTo>
                    <a:cubicBezTo>
                      <a:pt x="12961" y="17031"/>
                      <a:pt x="13014" y="16988"/>
                      <a:pt x="13075" y="16965"/>
                    </a:cubicBezTo>
                    <a:cubicBezTo>
                      <a:pt x="13126" y="16945"/>
                      <a:pt x="13182" y="16940"/>
                      <a:pt x="13235" y="16950"/>
                    </a:cubicBezTo>
                    <a:cubicBezTo>
                      <a:pt x="13325" y="16961"/>
                      <a:pt x="13415" y="16973"/>
                      <a:pt x="13505" y="16987"/>
                    </a:cubicBezTo>
                    <a:cubicBezTo>
                      <a:pt x="13590" y="17000"/>
                      <a:pt x="13675" y="17014"/>
                      <a:pt x="13760" y="17029"/>
                    </a:cubicBezTo>
                    <a:cubicBezTo>
                      <a:pt x="13780" y="17020"/>
                      <a:pt x="13800" y="17008"/>
                      <a:pt x="13818" y="16994"/>
                    </a:cubicBezTo>
                    <a:cubicBezTo>
                      <a:pt x="13861" y="16962"/>
                      <a:pt x="13896" y="16918"/>
                      <a:pt x="13920" y="16868"/>
                    </a:cubicBezTo>
                    <a:cubicBezTo>
                      <a:pt x="13958" y="16829"/>
                      <a:pt x="13988" y="16782"/>
                      <a:pt x="14008" y="16730"/>
                    </a:cubicBezTo>
                    <a:cubicBezTo>
                      <a:pt x="14027" y="16682"/>
                      <a:pt x="14036" y="16630"/>
                      <a:pt x="14036" y="16577"/>
                    </a:cubicBezTo>
                    <a:lnTo>
                      <a:pt x="14105" y="16446"/>
                    </a:lnTo>
                    <a:lnTo>
                      <a:pt x="14184" y="16355"/>
                    </a:lnTo>
                    <a:lnTo>
                      <a:pt x="14303" y="16315"/>
                    </a:lnTo>
                    <a:lnTo>
                      <a:pt x="14386" y="16229"/>
                    </a:lnTo>
                    <a:lnTo>
                      <a:pt x="14463" y="16155"/>
                    </a:lnTo>
                    <a:lnTo>
                      <a:pt x="14572" y="16091"/>
                    </a:lnTo>
                    <a:lnTo>
                      <a:pt x="14694" y="16026"/>
                    </a:lnTo>
                    <a:lnTo>
                      <a:pt x="14775" y="15863"/>
                    </a:lnTo>
                    <a:lnTo>
                      <a:pt x="14865" y="15780"/>
                    </a:lnTo>
                    <a:lnTo>
                      <a:pt x="15009" y="15717"/>
                    </a:lnTo>
                    <a:lnTo>
                      <a:pt x="15065" y="15847"/>
                    </a:lnTo>
                    <a:lnTo>
                      <a:pt x="14965" y="15940"/>
                    </a:lnTo>
                    <a:cubicBezTo>
                      <a:pt x="14932" y="15958"/>
                      <a:pt x="14915" y="15998"/>
                      <a:pt x="14924" y="16036"/>
                    </a:cubicBezTo>
                    <a:cubicBezTo>
                      <a:pt x="14946" y="16129"/>
                      <a:pt x="15067" y="16139"/>
                      <a:pt x="15103" y="16051"/>
                    </a:cubicBezTo>
                    <a:lnTo>
                      <a:pt x="15193" y="15920"/>
                    </a:lnTo>
                    <a:lnTo>
                      <a:pt x="15214" y="15722"/>
                    </a:lnTo>
                    <a:cubicBezTo>
                      <a:pt x="15240" y="15695"/>
                      <a:pt x="15275" y="15682"/>
                      <a:pt x="15311" y="15686"/>
                    </a:cubicBezTo>
                    <a:cubicBezTo>
                      <a:pt x="15369" y="15692"/>
                      <a:pt x="15415" y="15740"/>
                      <a:pt x="15472" y="15750"/>
                    </a:cubicBezTo>
                    <a:cubicBezTo>
                      <a:pt x="15522" y="15759"/>
                      <a:pt x="15573" y="15736"/>
                      <a:pt x="15622" y="15750"/>
                    </a:cubicBezTo>
                    <a:cubicBezTo>
                      <a:pt x="15665" y="15761"/>
                      <a:pt x="15697" y="15796"/>
                      <a:pt x="15708" y="15841"/>
                    </a:cubicBezTo>
                    <a:lnTo>
                      <a:pt x="15897" y="15759"/>
                    </a:lnTo>
                    <a:cubicBezTo>
                      <a:pt x="15912" y="15738"/>
                      <a:pt x="15931" y="15720"/>
                      <a:pt x="15952" y="15705"/>
                    </a:cubicBezTo>
                    <a:cubicBezTo>
                      <a:pt x="16001" y="15671"/>
                      <a:pt x="16061" y="15658"/>
                      <a:pt x="16119" y="15668"/>
                    </a:cubicBezTo>
                    <a:cubicBezTo>
                      <a:pt x="16169" y="15681"/>
                      <a:pt x="16221" y="15683"/>
                      <a:pt x="16273" y="15676"/>
                    </a:cubicBezTo>
                    <a:cubicBezTo>
                      <a:pt x="16322" y="15668"/>
                      <a:pt x="16370" y="15652"/>
                      <a:pt x="16414" y="15626"/>
                    </a:cubicBezTo>
                    <a:cubicBezTo>
                      <a:pt x="16471" y="15600"/>
                      <a:pt x="16522" y="15564"/>
                      <a:pt x="16568" y="15520"/>
                    </a:cubicBezTo>
                    <a:cubicBezTo>
                      <a:pt x="16610" y="15478"/>
                      <a:pt x="16646" y="15430"/>
                      <a:pt x="16674" y="15376"/>
                    </a:cubicBezTo>
                    <a:cubicBezTo>
                      <a:pt x="16701" y="15337"/>
                      <a:pt x="16735" y="15305"/>
                      <a:pt x="16774" y="15280"/>
                    </a:cubicBezTo>
                    <a:cubicBezTo>
                      <a:pt x="16825" y="15248"/>
                      <a:pt x="16882" y="15230"/>
                      <a:pt x="16941" y="15228"/>
                    </a:cubicBezTo>
                    <a:lnTo>
                      <a:pt x="16912" y="15376"/>
                    </a:lnTo>
                    <a:lnTo>
                      <a:pt x="17051" y="15371"/>
                    </a:lnTo>
                    <a:lnTo>
                      <a:pt x="17222" y="15364"/>
                    </a:lnTo>
                    <a:lnTo>
                      <a:pt x="17277" y="15457"/>
                    </a:lnTo>
                    <a:lnTo>
                      <a:pt x="17382" y="15457"/>
                    </a:lnTo>
                    <a:lnTo>
                      <a:pt x="17563" y="15484"/>
                    </a:lnTo>
                    <a:cubicBezTo>
                      <a:pt x="17620" y="15517"/>
                      <a:pt x="17682" y="15541"/>
                      <a:pt x="17745" y="15558"/>
                    </a:cubicBezTo>
                    <a:cubicBezTo>
                      <a:pt x="17822" y="15578"/>
                      <a:pt x="17901" y="15585"/>
                      <a:pt x="17980" y="15580"/>
                    </a:cubicBezTo>
                    <a:cubicBezTo>
                      <a:pt x="18020" y="15573"/>
                      <a:pt x="18059" y="15561"/>
                      <a:pt x="18096" y="15543"/>
                    </a:cubicBezTo>
                    <a:cubicBezTo>
                      <a:pt x="18150" y="15518"/>
                      <a:pt x="18199" y="15483"/>
                      <a:pt x="18251" y="15454"/>
                    </a:cubicBezTo>
                    <a:cubicBezTo>
                      <a:pt x="18310" y="15421"/>
                      <a:pt x="18373" y="15396"/>
                      <a:pt x="18437" y="15378"/>
                    </a:cubicBezTo>
                    <a:cubicBezTo>
                      <a:pt x="18482" y="15358"/>
                      <a:pt x="18526" y="15337"/>
                      <a:pt x="18569" y="15316"/>
                    </a:cubicBezTo>
                    <a:cubicBezTo>
                      <a:pt x="18610" y="15296"/>
                      <a:pt x="18651" y="15275"/>
                      <a:pt x="18694" y="15261"/>
                    </a:cubicBezTo>
                    <a:cubicBezTo>
                      <a:pt x="18742" y="15247"/>
                      <a:pt x="18791" y="15242"/>
                      <a:pt x="18840" y="15246"/>
                    </a:cubicBezTo>
                    <a:lnTo>
                      <a:pt x="18942" y="15232"/>
                    </a:lnTo>
                    <a:lnTo>
                      <a:pt x="19062" y="15343"/>
                    </a:lnTo>
                    <a:lnTo>
                      <a:pt x="19037" y="15464"/>
                    </a:lnTo>
                    <a:lnTo>
                      <a:pt x="19096" y="15522"/>
                    </a:lnTo>
                    <a:lnTo>
                      <a:pt x="19177" y="15535"/>
                    </a:lnTo>
                    <a:cubicBezTo>
                      <a:pt x="19178" y="15563"/>
                      <a:pt x="19179" y="15591"/>
                      <a:pt x="19180" y="15619"/>
                    </a:cubicBezTo>
                    <a:cubicBezTo>
                      <a:pt x="19180" y="15657"/>
                      <a:pt x="19180" y="15696"/>
                      <a:pt x="19180" y="15735"/>
                    </a:cubicBezTo>
                    <a:cubicBezTo>
                      <a:pt x="19210" y="15759"/>
                      <a:pt x="19244" y="15776"/>
                      <a:pt x="19281" y="15784"/>
                    </a:cubicBezTo>
                    <a:cubicBezTo>
                      <a:pt x="19315" y="15791"/>
                      <a:pt x="19350" y="15791"/>
                      <a:pt x="19383" y="15784"/>
                    </a:cubicBezTo>
                    <a:lnTo>
                      <a:pt x="19461" y="15703"/>
                    </a:lnTo>
                    <a:lnTo>
                      <a:pt x="19622" y="15601"/>
                    </a:lnTo>
                    <a:lnTo>
                      <a:pt x="19682" y="15557"/>
                    </a:lnTo>
                    <a:lnTo>
                      <a:pt x="19823" y="15461"/>
                    </a:lnTo>
                    <a:lnTo>
                      <a:pt x="19946" y="15414"/>
                    </a:lnTo>
                    <a:lnTo>
                      <a:pt x="20087" y="15436"/>
                    </a:lnTo>
                    <a:lnTo>
                      <a:pt x="20392" y="15113"/>
                    </a:lnTo>
                    <a:cubicBezTo>
                      <a:pt x="20433" y="15083"/>
                      <a:pt x="20473" y="15051"/>
                      <a:pt x="20510" y="15016"/>
                    </a:cubicBezTo>
                    <a:cubicBezTo>
                      <a:pt x="20554" y="14975"/>
                      <a:pt x="20595" y="14931"/>
                      <a:pt x="20633" y="14883"/>
                    </a:cubicBezTo>
                    <a:cubicBezTo>
                      <a:pt x="20671" y="14828"/>
                      <a:pt x="20703" y="14769"/>
                      <a:pt x="20731" y="14708"/>
                    </a:cubicBezTo>
                    <a:cubicBezTo>
                      <a:pt x="20760" y="14642"/>
                      <a:pt x="20782" y="14573"/>
                      <a:pt x="20798" y="14502"/>
                    </a:cubicBezTo>
                    <a:lnTo>
                      <a:pt x="20854" y="14369"/>
                    </a:lnTo>
                    <a:lnTo>
                      <a:pt x="21220" y="14097"/>
                    </a:lnTo>
                    <a:lnTo>
                      <a:pt x="21600" y="13667"/>
                    </a:lnTo>
                    <a:cubicBezTo>
                      <a:pt x="20995" y="15418"/>
                      <a:pt x="20065" y="17021"/>
                      <a:pt x="18866" y="18381"/>
                    </a:cubicBezTo>
                    <a:cubicBezTo>
                      <a:pt x="17655" y="19753"/>
                      <a:pt x="16194" y="20848"/>
                      <a:pt x="14574" y="21600"/>
                    </a:cubicBezTo>
                    <a:lnTo>
                      <a:pt x="14750" y="20991"/>
                    </a:lnTo>
                    <a:lnTo>
                      <a:pt x="14599" y="20978"/>
                    </a:lnTo>
                    <a:lnTo>
                      <a:pt x="14486" y="20965"/>
                    </a:lnTo>
                    <a:lnTo>
                      <a:pt x="14417" y="20987"/>
                    </a:lnTo>
                    <a:lnTo>
                      <a:pt x="14284" y="21002"/>
                    </a:lnTo>
                    <a:lnTo>
                      <a:pt x="14142" y="21022"/>
                    </a:lnTo>
                    <a:cubicBezTo>
                      <a:pt x="14098" y="21025"/>
                      <a:pt x="14053" y="21027"/>
                      <a:pt x="14008" y="21029"/>
                    </a:cubicBezTo>
                    <a:cubicBezTo>
                      <a:pt x="13951" y="21032"/>
                      <a:pt x="13895" y="21035"/>
                      <a:pt x="13838" y="21037"/>
                    </a:cubicBezTo>
                    <a:lnTo>
                      <a:pt x="13664" y="21022"/>
                    </a:lnTo>
                    <a:lnTo>
                      <a:pt x="13606" y="20927"/>
                    </a:lnTo>
                    <a:lnTo>
                      <a:pt x="13627" y="20853"/>
                    </a:lnTo>
                    <a:lnTo>
                      <a:pt x="13627" y="20782"/>
                    </a:lnTo>
                    <a:cubicBezTo>
                      <a:pt x="13595" y="20753"/>
                      <a:pt x="13563" y="20725"/>
                      <a:pt x="13532" y="20695"/>
                    </a:cubicBezTo>
                    <a:cubicBezTo>
                      <a:pt x="13497" y="20661"/>
                      <a:pt x="13462" y="20627"/>
                      <a:pt x="13428" y="20591"/>
                    </a:cubicBezTo>
                    <a:lnTo>
                      <a:pt x="13262" y="20421"/>
                    </a:lnTo>
                    <a:lnTo>
                      <a:pt x="13165" y="20251"/>
                    </a:lnTo>
                    <a:lnTo>
                      <a:pt x="13097" y="20206"/>
                    </a:lnTo>
                    <a:lnTo>
                      <a:pt x="12974" y="20132"/>
                    </a:lnTo>
                    <a:lnTo>
                      <a:pt x="12851" y="20147"/>
                    </a:lnTo>
                    <a:lnTo>
                      <a:pt x="12679" y="20118"/>
                    </a:lnTo>
                    <a:lnTo>
                      <a:pt x="12675" y="20031"/>
                    </a:lnTo>
                    <a:lnTo>
                      <a:pt x="12730" y="19989"/>
                    </a:lnTo>
                    <a:lnTo>
                      <a:pt x="12668" y="19829"/>
                    </a:lnTo>
                    <a:lnTo>
                      <a:pt x="12668" y="19747"/>
                    </a:lnTo>
                    <a:lnTo>
                      <a:pt x="12772" y="19680"/>
                    </a:lnTo>
                    <a:lnTo>
                      <a:pt x="12881" y="19598"/>
                    </a:lnTo>
                    <a:lnTo>
                      <a:pt x="12969" y="19517"/>
                    </a:lnTo>
                    <a:lnTo>
                      <a:pt x="12869" y="19465"/>
                    </a:lnTo>
                    <a:lnTo>
                      <a:pt x="12831" y="19350"/>
                    </a:lnTo>
                    <a:lnTo>
                      <a:pt x="12879" y="19115"/>
                    </a:lnTo>
                    <a:lnTo>
                      <a:pt x="12946" y="19011"/>
                    </a:lnTo>
                    <a:lnTo>
                      <a:pt x="12995" y="18937"/>
                    </a:lnTo>
                    <a:lnTo>
                      <a:pt x="13009" y="18841"/>
                    </a:lnTo>
                    <a:cubicBezTo>
                      <a:pt x="13038" y="18804"/>
                      <a:pt x="13071" y="18771"/>
                      <a:pt x="13108" y="18742"/>
                    </a:cubicBezTo>
                    <a:cubicBezTo>
                      <a:pt x="13140" y="18717"/>
                      <a:pt x="13175" y="18696"/>
                      <a:pt x="13212" y="18678"/>
                    </a:cubicBezTo>
                    <a:lnTo>
                      <a:pt x="13399" y="18498"/>
                    </a:lnTo>
                    <a:lnTo>
                      <a:pt x="13532" y="18261"/>
                    </a:lnTo>
                    <a:lnTo>
                      <a:pt x="13641" y="18101"/>
                    </a:lnTo>
                    <a:lnTo>
                      <a:pt x="13641" y="18005"/>
                    </a:lnTo>
                    <a:lnTo>
                      <a:pt x="13634" y="17908"/>
                    </a:lnTo>
                    <a:lnTo>
                      <a:pt x="13648" y="17834"/>
                    </a:lnTo>
                    <a:lnTo>
                      <a:pt x="13661" y="17694"/>
                    </a:lnTo>
                    <a:lnTo>
                      <a:pt x="13654" y="17501"/>
                    </a:lnTo>
                    <a:cubicBezTo>
                      <a:pt x="13611" y="17467"/>
                      <a:pt x="13568" y="17434"/>
                      <a:pt x="13525" y="17400"/>
                    </a:cubicBezTo>
                    <a:cubicBezTo>
                      <a:pt x="13480" y="17366"/>
                      <a:pt x="13435" y="17332"/>
                      <a:pt x="13390" y="17299"/>
                    </a:cubicBezTo>
                    <a:lnTo>
                      <a:pt x="13335" y="17173"/>
                    </a:lnTo>
                    <a:lnTo>
                      <a:pt x="13154" y="17136"/>
                    </a:lnTo>
                    <a:lnTo>
                      <a:pt x="13110" y="17213"/>
                    </a:lnTo>
                    <a:lnTo>
                      <a:pt x="13008" y="17257"/>
                    </a:lnTo>
                    <a:lnTo>
                      <a:pt x="13002" y="17382"/>
                    </a:lnTo>
                    <a:lnTo>
                      <a:pt x="12925" y="17476"/>
                    </a:lnTo>
                    <a:lnTo>
                      <a:pt x="12807" y="17491"/>
                    </a:lnTo>
                    <a:lnTo>
                      <a:pt x="12693" y="17491"/>
                    </a:lnTo>
                    <a:cubicBezTo>
                      <a:pt x="12657" y="17497"/>
                      <a:pt x="12619" y="17499"/>
                      <a:pt x="12582" y="17498"/>
                    </a:cubicBezTo>
                    <a:cubicBezTo>
                      <a:pt x="12512" y="17497"/>
                      <a:pt x="12442" y="17484"/>
                      <a:pt x="12376" y="17461"/>
                    </a:cubicBezTo>
                    <a:lnTo>
                      <a:pt x="12230" y="17439"/>
                    </a:lnTo>
                    <a:lnTo>
                      <a:pt x="12087" y="17417"/>
                    </a:lnTo>
                    <a:lnTo>
                      <a:pt x="12040" y="17293"/>
                    </a:lnTo>
                    <a:lnTo>
                      <a:pt x="11943" y="17278"/>
                    </a:lnTo>
                    <a:lnTo>
                      <a:pt x="11832" y="17271"/>
                    </a:lnTo>
                    <a:lnTo>
                      <a:pt x="11684" y="17240"/>
                    </a:lnTo>
                    <a:lnTo>
                      <a:pt x="11594" y="17210"/>
                    </a:lnTo>
                    <a:lnTo>
                      <a:pt x="11536" y="17052"/>
                    </a:lnTo>
                    <a:lnTo>
                      <a:pt x="11497" y="16966"/>
                    </a:lnTo>
                    <a:lnTo>
                      <a:pt x="11294" y="16770"/>
                    </a:lnTo>
                    <a:lnTo>
                      <a:pt x="11162" y="16667"/>
                    </a:lnTo>
                    <a:lnTo>
                      <a:pt x="11021" y="16602"/>
                    </a:lnTo>
                    <a:lnTo>
                      <a:pt x="10879" y="16600"/>
                    </a:lnTo>
                    <a:lnTo>
                      <a:pt x="10582" y="16570"/>
                    </a:lnTo>
                    <a:lnTo>
                      <a:pt x="10482" y="16514"/>
                    </a:lnTo>
                    <a:lnTo>
                      <a:pt x="10260" y="16484"/>
                    </a:lnTo>
                    <a:lnTo>
                      <a:pt x="10018" y="16462"/>
                    </a:lnTo>
                    <a:lnTo>
                      <a:pt x="9851" y="16380"/>
                    </a:lnTo>
                    <a:lnTo>
                      <a:pt x="9740" y="16247"/>
                    </a:lnTo>
                    <a:lnTo>
                      <a:pt x="9629" y="16158"/>
                    </a:lnTo>
                    <a:lnTo>
                      <a:pt x="9471" y="16064"/>
                    </a:lnTo>
                    <a:lnTo>
                      <a:pt x="9348" y="16026"/>
                    </a:lnTo>
                    <a:lnTo>
                      <a:pt x="9086" y="16026"/>
                    </a:lnTo>
                    <a:cubicBezTo>
                      <a:pt x="9018" y="16049"/>
                      <a:pt x="8949" y="16069"/>
                      <a:pt x="8880" y="16086"/>
                    </a:cubicBezTo>
                    <a:cubicBezTo>
                      <a:pt x="8816" y="16101"/>
                      <a:pt x="8752" y="16113"/>
                      <a:pt x="8687" y="16123"/>
                    </a:cubicBezTo>
                    <a:cubicBezTo>
                      <a:pt x="8651" y="16123"/>
                      <a:pt x="8616" y="16116"/>
                      <a:pt x="8583" y="16100"/>
                    </a:cubicBezTo>
                    <a:cubicBezTo>
                      <a:pt x="8545" y="16082"/>
                      <a:pt x="8511" y="16054"/>
                      <a:pt x="8486" y="16019"/>
                    </a:cubicBezTo>
                    <a:lnTo>
                      <a:pt x="8304" y="15945"/>
                    </a:lnTo>
                    <a:lnTo>
                      <a:pt x="8244" y="15908"/>
                    </a:lnTo>
                    <a:lnTo>
                      <a:pt x="8146" y="15901"/>
                    </a:lnTo>
                    <a:lnTo>
                      <a:pt x="8051" y="15856"/>
                    </a:lnTo>
                    <a:lnTo>
                      <a:pt x="7947" y="15797"/>
                    </a:lnTo>
                    <a:lnTo>
                      <a:pt x="7787" y="15715"/>
                    </a:lnTo>
                    <a:lnTo>
                      <a:pt x="7692" y="15678"/>
                    </a:lnTo>
                    <a:cubicBezTo>
                      <a:pt x="7650" y="15669"/>
                      <a:pt x="7610" y="15652"/>
                      <a:pt x="7574" y="15627"/>
                    </a:cubicBezTo>
                    <a:cubicBezTo>
                      <a:pt x="7513" y="15584"/>
                      <a:pt x="7467" y="15522"/>
                      <a:pt x="7442" y="15449"/>
                    </a:cubicBezTo>
                    <a:lnTo>
                      <a:pt x="7244" y="15434"/>
                    </a:lnTo>
                    <a:lnTo>
                      <a:pt x="7026" y="15332"/>
                    </a:lnTo>
                    <a:lnTo>
                      <a:pt x="6917" y="15226"/>
                    </a:lnTo>
                    <a:lnTo>
                      <a:pt x="6773" y="15092"/>
                    </a:lnTo>
                    <a:lnTo>
                      <a:pt x="6718" y="14996"/>
                    </a:lnTo>
                    <a:lnTo>
                      <a:pt x="6704" y="14803"/>
                    </a:lnTo>
                    <a:lnTo>
                      <a:pt x="6765" y="14736"/>
                    </a:lnTo>
                    <a:lnTo>
                      <a:pt x="6751" y="14628"/>
                    </a:lnTo>
                    <a:lnTo>
                      <a:pt x="6668" y="14423"/>
                    </a:lnTo>
                    <a:lnTo>
                      <a:pt x="6454" y="14101"/>
                    </a:lnTo>
                    <a:lnTo>
                      <a:pt x="6341" y="13946"/>
                    </a:lnTo>
                    <a:lnTo>
                      <a:pt x="6275" y="13847"/>
                    </a:lnTo>
                    <a:lnTo>
                      <a:pt x="6185" y="13760"/>
                    </a:lnTo>
                    <a:lnTo>
                      <a:pt x="6101" y="13671"/>
                    </a:lnTo>
                    <a:lnTo>
                      <a:pt x="6020" y="13597"/>
                    </a:lnTo>
                    <a:lnTo>
                      <a:pt x="5987" y="13530"/>
                    </a:lnTo>
                    <a:lnTo>
                      <a:pt x="5988" y="13389"/>
                    </a:lnTo>
                    <a:lnTo>
                      <a:pt x="5974" y="13290"/>
                    </a:lnTo>
                    <a:lnTo>
                      <a:pt x="5856" y="13186"/>
                    </a:lnTo>
                    <a:cubicBezTo>
                      <a:pt x="5819" y="13118"/>
                      <a:pt x="5779" y="13052"/>
                      <a:pt x="5736" y="12989"/>
                    </a:cubicBezTo>
                    <a:cubicBezTo>
                      <a:pt x="5704" y="12942"/>
                      <a:pt x="5670" y="12897"/>
                      <a:pt x="5635" y="12853"/>
                    </a:cubicBezTo>
                    <a:lnTo>
                      <a:pt x="5558" y="12742"/>
                    </a:lnTo>
                    <a:lnTo>
                      <a:pt x="5449" y="12628"/>
                    </a:lnTo>
                    <a:cubicBezTo>
                      <a:pt x="5397" y="12606"/>
                      <a:pt x="5362" y="12554"/>
                      <a:pt x="5359" y="12495"/>
                    </a:cubicBezTo>
                    <a:cubicBezTo>
                      <a:pt x="5355" y="12444"/>
                      <a:pt x="5377" y="12395"/>
                      <a:pt x="5415" y="12364"/>
                    </a:cubicBezTo>
                    <a:lnTo>
                      <a:pt x="5394" y="12119"/>
                    </a:lnTo>
                    <a:lnTo>
                      <a:pt x="5325" y="11968"/>
                    </a:lnTo>
                    <a:lnTo>
                      <a:pt x="5166" y="11822"/>
                    </a:lnTo>
                    <a:lnTo>
                      <a:pt x="5013" y="11755"/>
                    </a:lnTo>
                    <a:lnTo>
                      <a:pt x="5012" y="11918"/>
                    </a:lnTo>
                    <a:lnTo>
                      <a:pt x="5039" y="12079"/>
                    </a:lnTo>
                    <a:lnTo>
                      <a:pt x="5109" y="12264"/>
                    </a:lnTo>
                    <a:lnTo>
                      <a:pt x="5150" y="12351"/>
                    </a:lnTo>
                    <a:lnTo>
                      <a:pt x="5247" y="12502"/>
                    </a:lnTo>
                    <a:lnTo>
                      <a:pt x="5321" y="12634"/>
                    </a:lnTo>
                    <a:lnTo>
                      <a:pt x="5314" y="12769"/>
                    </a:lnTo>
                    <a:lnTo>
                      <a:pt x="5389" y="12885"/>
                    </a:lnTo>
                    <a:lnTo>
                      <a:pt x="5472" y="13018"/>
                    </a:lnTo>
                    <a:lnTo>
                      <a:pt x="5565" y="13176"/>
                    </a:lnTo>
                    <a:lnTo>
                      <a:pt x="5577" y="13290"/>
                    </a:lnTo>
                    <a:lnTo>
                      <a:pt x="5639" y="13477"/>
                    </a:lnTo>
                    <a:lnTo>
                      <a:pt x="5667" y="13609"/>
                    </a:lnTo>
                    <a:lnTo>
                      <a:pt x="5667" y="13694"/>
                    </a:lnTo>
                    <a:lnTo>
                      <a:pt x="5774" y="13736"/>
                    </a:lnTo>
                    <a:lnTo>
                      <a:pt x="5875" y="13857"/>
                    </a:lnTo>
                    <a:lnTo>
                      <a:pt x="5943" y="13973"/>
                    </a:lnTo>
                    <a:lnTo>
                      <a:pt x="5943" y="14087"/>
                    </a:lnTo>
                    <a:lnTo>
                      <a:pt x="5875" y="14138"/>
                    </a:lnTo>
                    <a:lnTo>
                      <a:pt x="5725" y="14044"/>
                    </a:lnTo>
                    <a:lnTo>
                      <a:pt x="5598" y="13872"/>
                    </a:lnTo>
                    <a:lnTo>
                      <a:pt x="5544" y="13793"/>
                    </a:lnTo>
                    <a:lnTo>
                      <a:pt x="5454" y="13741"/>
                    </a:lnTo>
                    <a:lnTo>
                      <a:pt x="5352" y="13666"/>
                    </a:lnTo>
                    <a:lnTo>
                      <a:pt x="5296" y="13585"/>
                    </a:lnTo>
                    <a:cubicBezTo>
                      <a:pt x="5309" y="13549"/>
                      <a:pt x="5318" y="13512"/>
                      <a:pt x="5324" y="13474"/>
                    </a:cubicBezTo>
                    <a:cubicBezTo>
                      <a:pt x="5332" y="13417"/>
                      <a:pt x="5332" y="13360"/>
                      <a:pt x="5324" y="13303"/>
                    </a:cubicBezTo>
                    <a:cubicBezTo>
                      <a:pt x="5305" y="13264"/>
                      <a:pt x="5284" y="13226"/>
                      <a:pt x="5261" y="13189"/>
                    </a:cubicBezTo>
                    <a:cubicBezTo>
                      <a:pt x="5223" y="13130"/>
                      <a:pt x="5178" y="13075"/>
                      <a:pt x="5129" y="13026"/>
                    </a:cubicBezTo>
                    <a:lnTo>
                      <a:pt x="4901" y="12863"/>
                    </a:lnTo>
                    <a:lnTo>
                      <a:pt x="4781" y="12722"/>
                    </a:lnTo>
                    <a:lnTo>
                      <a:pt x="4851" y="12663"/>
                    </a:lnTo>
                    <a:lnTo>
                      <a:pt x="5005" y="12678"/>
                    </a:lnTo>
                    <a:lnTo>
                      <a:pt x="5033" y="12515"/>
                    </a:lnTo>
                    <a:cubicBezTo>
                      <a:pt x="5022" y="12432"/>
                      <a:pt x="4988" y="12354"/>
                      <a:pt x="4935" y="12292"/>
                    </a:cubicBezTo>
                    <a:cubicBezTo>
                      <a:pt x="4898" y="12248"/>
                      <a:pt x="4852" y="12213"/>
                      <a:pt x="4801" y="12189"/>
                    </a:cubicBezTo>
                    <a:lnTo>
                      <a:pt x="4715" y="11949"/>
                    </a:lnTo>
                    <a:lnTo>
                      <a:pt x="4662" y="11732"/>
                    </a:lnTo>
                    <a:lnTo>
                      <a:pt x="4648" y="11591"/>
                    </a:lnTo>
                    <a:lnTo>
                      <a:pt x="4627" y="11487"/>
                    </a:lnTo>
                    <a:lnTo>
                      <a:pt x="4586" y="11332"/>
                    </a:lnTo>
                    <a:lnTo>
                      <a:pt x="4532" y="11231"/>
                    </a:lnTo>
                    <a:lnTo>
                      <a:pt x="4469" y="11127"/>
                    </a:lnTo>
                    <a:cubicBezTo>
                      <a:pt x="4455" y="11089"/>
                      <a:pt x="4439" y="11051"/>
                      <a:pt x="4420" y="11016"/>
                    </a:cubicBezTo>
                    <a:cubicBezTo>
                      <a:pt x="4402" y="10980"/>
                      <a:pt x="4380" y="10946"/>
                      <a:pt x="4353" y="10917"/>
                    </a:cubicBezTo>
                    <a:cubicBezTo>
                      <a:pt x="4302" y="10864"/>
                      <a:pt x="4235" y="10834"/>
                      <a:pt x="4169" y="10806"/>
                    </a:cubicBezTo>
                    <a:cubicBezTo>
                      <a:pt x="4118" y="10784"/>
                      <a:pt x="4067" y="10761"/>
                      <a:pt x="4017" y="10739"/>
                    </a:cubicBezTo>
                    <a:lnTo>
                      <a:pt x="4017" y="10628"/>
                    </a:lnTo>
                    <a:cubicBezTo>
                      <a:pt x="4019" y="10594"/>
                      <a:pt x="4020" y="10560"/>
                      <a:pt x="4019" y="10527"/>
                    </a:cubicBezTo>
                    <a:cubicBezTo>
                      <a:pt x="4019" y="10449"/>
                      <a:pt x="4012" y="10373"/>
                      <a:pt x="4001" y="10296"/>
                    </a:cubicBezTo>
                    <a:lnTo>
                      <a:pt x="3910" y="10081"/>
                    </a:lnTo>
                    <a:lnTo>
                      <a:pt x="3815" y="9819"/>
                    </a:lnTo>
                    <a:lnTo>
                      <a:pt x="3821" y="9591"/>
                    </a:lnTo>
                    <a:lnTo>
                      <a:pt x="3843" y="9426"/>
                    </a:lnTo>
                    <a:lnTo>
                      <a:pt x="3805" y="9077"/>
                    </a:lnTo>
                    <a:lnTo>
                      <a:pt x="3761" y="8972"/>
                    </a:lnTo>
                    <a:lnTo>
                      <a:pt x="3858" y="8809"/>
                    </a:lnTo>
                    <a:lnTo>
                      <a:pt x="3886" y="8671"/>
                    </a:lnTo>
                    <a:lnTo>
                      <a:pt x="3900" y="8500"/>
                    </a:lnTo>
                    <a:lnTo>
                      <a:pt x="3933" y="8389"/>
                    </a:lnTo>
                    <a:lnTo>
                      <a:pt x="4014" y="8214"/>
                    </a:lnTo>
                    <a:lnTo>
                      <a:pt x="4056" y="8112"/>
                    </a:lnTo>
                    <a:cubicBezTo>
                      <a:pt x="4089" y="8064"/>
                      <a:pt x="4117" y="8012"/>
                      <a:pt x="4139" y="7956"/>
                    </a:cubicBezTo>
                    <a:cubicBezTo>
                      <a:pt x="4160" y="7903"/>
                      <a:pt x="4176" y="7848"/>
                      <a:pt x="4186" y="7791"/>
                    </a:cubicBezTo>
                    <a:lnTo>
                      <a:pt x="4325" y="7527"/>
                    </a:lnTo>
                    <a:lnTo>
                      <a:pt x="4367" y="7352"/>
                    </a:lnTo>
                    <a:lnTo>
                      <a:pt x="4346" y="7226"/>
                    </a:lnTo>
                    <a:lnTo>
                      <a:pt x="4304" y="7102"/>
                    </a:lnTo>
                    <a:lnTo>
                      <a:pt x="4381" y="6944"/>
                    </a:lnTo>
                    <a:lnTo>
                      <a:pt x="4346" y="6858"/>
                    </a:lnTo>
                    <a:lnTo>
                      <a:pt x="4237" y="6727"/>
                    </a:lnTo>
                    <a:lnTo>
                      <a:pt x="4172" y="6595"/>
                    </a:lnTo>
                    <a:lnTo>
                      <a:pt x="4126" y="6464"/>
                    </a:lnTo>
                    <a:lnTo>
                      <a:pt x="4112" y="6378"/>
                    </a:lnTo>
                    <a:lnTo>
                      <a:pt x="4049" y="6267"/>
                    </a:lnTo>
                    <a:lnTo>
                      <a:pt x="4102" y="6183"/>
                    </a:lnTo>
                    <a:lnTo>
                      <a:pt x="4204" y="6100"/>
                    </a:lnTo>
                    <a:lnTo>
                      <a:pt x="4218" y="6026"/>
                    </a:lnTo>
                    <a:lnTo>
                      <a:pt x="4204" y="5873"/>
                    </a:lnTo>
                    <a:lnTo>
                      <a:pt x="4176" y="5697"/>
                    </a:lnTo>
                    <a:lnTo>
                      <a:pt x="4128" y="5431"/>
                    </a:lnTo>
                    <a:lnTo>
                      <a:pt x="4116" y="5359"/>
                    </a:lnTo>
                    <a:lnTo>
                      <a:pt x="4165" y="5250"/>
                    </a:lnTo>
                    <a:lnTo>
                      <a:pt x="4206" y="5043"/>
                    </a:lnTo>
                    <a:lnTo>
                      <a:pt x="4074" y="5013"/>
                    </a:lnTo>
                    <a:cubicBezTo>
                      <a:pt x="4031" y="5035"/>
                      <a:pt x="3981" y="5026"/>
                      <a:pt x="3947" y="4991"/>
                    </a:cubicBezTo>
                    <a:cubicBezTo>
                      <a:pt x="3897" y="4941"/>
                      <a:pt x="3897" y="4856"/>
                      <a:pt x="3947" y="4806"/>
                    </a:cubicBezTo>
                    <a:lnTo>
                      <a:pt x="3972" y="4719"/>
                    </a:lnTo>
                    <a:lnTo>
                      <a:pt x="4013" y="4535"/>
                    </a:lnTo>
                    <a:lnTo>
                      <a:pt x="3965" y="4446"/>
                    </a:lnTo>
                    <a:cubicBezTo>
                      <a:pt x="3975" y="4384"/>
                      <a:pt x="3981" y="4320"/>
                      <a:pt x="3981" y="4256"/>
                    </a:cubicBezTo>
                    <a:cubicBezTo>
                      <a:pt x="3981" y="4197"/>
                      <a:pt x="3976" y="4137"/>
                      <a:pt x="3967" y="4078"/>
                    </a:cubicBezTo>
                    <a:cubicBezTo>
                      <a:pt x="3978" y="4040"/>
                      <a:pt x="3987" y="4002"/>
                      <a:pt x="3992" y="3962"/>
                    </a:cubicBezTo>
                    <a:cubicBezTo>
                      <a:pt x="3998" y="3922"/>
                      <a:pt x="4000" y="3882"/>
                      <a:pt x="3999" y="3841"/>
                    </a:cubicBezTo>
                    <a:lnTo>
                      <a:pt x="3951" y="3670"/>
                    </a:lnTo>
                    <a:lnTo>
                      <a:pt x="3932" y="3510"/>
                    </a:lnTo>
                    <a:lnTo>
                      <a:pt x="3925" y="3391"/>
                    </a:lnTo>
                    <a:cubicBezTo>
                      <a:pt x="3885" y="3400"/>
                      <a:pt x="3844" y="3392"/>
                      <a:pt x="3809" y="3369"/>
                    </a:cubicBezTo>
                    <a:cubicBezTo>
                      <a:pt x="3762" y="3338"/>
                      <a:pt x="3733" y="3282"/>
                      <a:pt x="3733" y="3223"/>
                    </a:cubicBezTo>
                    <a:lnTo>
                      <a:pt x="3606" y="3139"/>
                    </a:lnTo>
                    <a:lnTo>
                      <a:pt x="3535" y="3122"/>
                    </a:lnTo>
                    <a:lnTo>
                      <a:pt x="3513" y="3031"/>
                    </a:lnTo>
                    <a:lnTo>
                      <a:pt x="3497" y="2935"/>
                    </a:lnTo>
                    <a:lnTo>
                      <a:pt x="3435" y="2863"/>
                    </a:lnTo>
                    <a:lnTo>
                      <a:pt x="3316" y="2856"/>
                    </a:lnTo>
                    <a:lnTo>
                      <a:pt x="3219" y="2871"/>
                    </a:lnTo>
                    <a:lnTo>
                      <a:pt x="3134" y="2780"/>
                    </a:lnTo>
                    <a:lnTo>
                      <a:pt x="2927" y="2750"/>
                    </a:lnTo>
                    <a:lnTo>
                      <a:pt x="2816" y="2683"/>
                    </a:lnTo>
                    <a:lnTo>
                      <a:pt x="2757" y="2787"/>
                    </a:lnTo>
                    <a:lnTo>
                      <a:pt x="2677" y="2878"/>
                    </a:lnTo>
                    <a:cubicBezTo>
                      <a:pt x="2624" y="2900"/>
                      <a:pt x="2570" y="2922"/>
                      <a:pt x="2517" y="2942"/>
                    </a:cubicBezTo>
                    <a:cubicBezTo>
                      <a:pt x="2470" y="2960"/>
                      <a:pt x="2423" y="2978"/>
                      <a:pt x="2376" y="2994"/>
                    </a:cubicBezTo>
                    <a:lnTo>
                      <a:pt x="2156" y="2979"/>
                    </a:lnTo>
                    <a:lnTo>
                      <a:pt x="2099" y="2906"/>
                    </a:lnTo>
                    <a:lnTo>
                      <a:pt x="2230" y="2775"/>
                    </a:lnTo>
                    <a:cubicBezTo>
                      <a:pt x="2285" y="2773"/>
                      <a:pt x="2340" y="2768"/>
                      <a:pt x="2394" y="2760"/>
                    </a:cubicBezTo>
                    <a:cubicBezTo>
                      <a:pt x="2490" y="2746"/>
                      <a:pt x="2584" y="2722"/>
                      <a:pt x="2675" y="2688"/>
                    </a:cubicBezTo>
                    <a:lnTo>
                      <a:pt x="2901" y="2602"/>
                    </a:lnTo>
                    <a:lnTo>
                      <a:pt x="3019" y="2479"/>
                    </a:lnTo>
                    <a:lnTo>
                      <a:pt x="3112" y="2372"/>
                    </a:lnTo>
                    <a:lnTo>
                      <a:pt x="2898" y="2424"/>
                    </a:lnTo>
                    <a:lnTo>
                      <a:pt x="2783" y="2528"/>
                    </a:lnTo>
                    <a:lnTo>
                      <a:pt x="2697" y="2585"/>
                    </a:lnTo>
                    <a:lnTo>
                      <a:pt x="2479" y="2672"/>
                    </a:lnTo>
                    <a:lnTo>
                      <a:pt x="2258" y="2701"/>
                    </a:lnTo>
                    <a:lnTo>
                      <a:pt x="2121" y="2716"/>
                    </a:lnTo>
                    <a:lnTo>
                      <a:pt x="2054" y="2795"/>
                    </a:lnTo>
                    <a:cubicBezTo>
                      <a:pt x="2021" y="2791"/>
                      <a:pt x="1989" y="2782"/>
                      <a:pt x="1959" y="2768"/>
                    </a:cubicBezTo>
                    <a:cubicBezTo>
                      <a:pt x="1907" y="2743"/>
                      <a:pt x="1861" y="2704"/>
                      <a:pt x="1827" y="2654"/>
                    </a:cubicBezTo>
                    <a:lnTo>
                      <a:pt x="1753" y="2654"/>
                    </a:lnTo>
                    <a:lnTo>
                      <a:pt x="1629" y="2679"/>
                    </a:lnTo>
                    <a:lnTo>
                      <a:pt x="1643" y="2812"/>
                    </a:lnTo>
                    <a:lnTo>
                      <a:pt x="1530" y="2782"/>
                    </a:lnTo>
                    <a:lnTo>
                      <a:pt x="1495" y="2713"/>
                    </a:lnTo>
                    <a:lnTo>
                      <a:pt x="1518" y="2587"/>
                    </a:lnTo>
                    <a:lnTo>
                      <a:pt x="1427" y="2565"/>
                    </a:lnTo>
                    <a:lnTo>
                      <a:pt x="1312" y="2551"/>
                    </a:lnTo>
                    <a:lnTo>
                      <a:pt x="1247" y="2571"/>
                    </a:lnTo>
                    <a:lnTo>
                      <a:pt x="1227" y="2482"/>
                    </a:lnTo>
                    <a:lnTo>
                      <a:pt x="1201" y="2390"/>
                    </a:lnTo>
                    <a:lnTo>
                      <a:pt x="1076" y="2390"/>
                    </a:lnTo>
                    <a:lnTo>
                      <a:pt x="964" y="2360"/>
                    </a:lnTo>
                    <a:lnTo>
                      <a:pt x="812" y="2294"/>
                    </a:lnTo>
                    <a:lnTo>
                      <a:pt x="745" y="2192"/>
                    </a:lnTo>
                    <a:lnTo>
                      <a:pt x="630" y="2185"/>
                    </a:lnTo>
                    <a:lnTo>
                      <a:pt x="593" y="2111"/>
                    </a:lnTo>
                    <a:lnTo>
                      <a:pt x="512" y="2002"/>
                    </a:lnTo>
                    <a:lnTo>
                      <a:pt x="428" y="1869"/>
                    </a:lnTo>
                    <a:lnTo>
                      <a:pt x="373" y="1738"/>
                    </a:lnTo>
                    <a:cubicBezTo>
                      <a:pt x="342" y="1717"/>
                      <a:pt x="313" y="1693"/>
                      <a:pt x="287" y="1666"/>
                    </a:cubicBezTo>
                    <a:cubicBezTo>
                      <a:pt x="248" y="1626"/>
                      <a:pt x="215" y="1580"/>
                      <a:pt x="188" y="1530"/>
                    </a:cubicBezTo>
                    <a:lnTo>
                      <a:pt x="140" y="1443"/>
                    </a:lnTo>
                    <a:lnTo>
                      <a:pt x="135" y="1337"/>
                    </a:lnTo>
                    <a:lnTo>
                      <a:pt x="62" y="1243"/>
                    </a:lnTo>
                    <a:lnTo>
                      <a:pt x="0" y="1191"/>
                    </a:lnTo>
                    <a:lnTo>
                      <a:pt x="0" y="1060"/>
                    </a:lnTo>
                    <a:lnTo>
                      <a:pt x="8" y="972"/>
                    </a:lnTo>
                    <a:lnTo>
                      <a:pt x="15" y="861"/>
                    </a:lnTo>
                    <a:lnTo>
                      <a:pt x="82" y="802"/>
                    </a:lnTo>
                    <a:lnTo>
                      <a:pt x="110" y="601"/>
                    </a:lnTo>
                    <a:lnTo>
                      <a:pt x="75" y="468"/>
                    </a:lnTo>
                    <a:lnTo>
                      <a:pt x="130" y="315"/>
                    </a:lnTo>
                    <a:lnTo>
                      <a:pt x="151" y="134"/>
                    </a:lnTo>
                    <a:lnTo>
                      <a:pt x="268" y="140"/>
                    </a:lnTo>
                    <a:lnTo>
                      <a:pt x="196" y="371"/>
                    </a:lnTo>
                    <a:lnTo>
                      <a:pt x="74" y="1050"/>
                    </a:lnTo>
                    <a:lnTo>
                      <a:pt x="247" y="1332"/>
                    </a:lnTo>
                    <a:lnTo>
                      <a:pt x="293" y="1442"/>
                    </a:lnTo>
                    <a:lnTo>
                      <a:pt x="293" y="1523"/>
                    </a:lnTo>
                    <a:lnTo>
                      <a:pt x="393" y="1652"/>
                    </a:lnTo>
                    <a:lnTo>
                      <a:pt x="485" y="1772"/>
                    </a:lnTo>
                    <a:lnTo>
                      <a:pt x="408" y="1986"/>
                    </a:lnTo>
                    <a:lnTo>
                      <a:pt x="588" y="1927"/>
                    </a:lnTo>
                    <a:lnTo>
                      <a:pt x="671" y="1957"/>
                    </a:lnTo>
                    <a:lnTo>
                      <a:pt x="755" y="2061"/>
                    </a:lnTo>
                    <a:lnTo>
                      <a:pt x="836" y="2124"/>
                    </a:lnTo>
                    <a:lnTo>
                      <a:pt x="924" y="2198"/>
                    </a:lnTo>
                    <a:lnTo>
                      <a:pt x="1083" y="2223"/>
                    </a:lnTo>
                    <a:lnTo>
                      <a:pt x="1187" y="2208"/>
                    </a:lnTo>
                    <a:lnTo>
                      <a:pt x="1236" y="2277"/>
                    </a:lnTo>
                    <a:lnTo>
                      <a:pt x="1424" y="2277"/>
                    </a:lnTo>
                    <a:lnTo>
                      <a:pt x="1470" y="2349"/>
                    </a:lnTo>
                    <a:lnTo>
                      <a:pt x="1642" y="2349"/>
                    </a:lnTo>
                    <a:lnTo>
                      <a:pt x="1730" y="2356"/>
                    </a:lnTo>
                    <a:lnTo>
                      <a:pt x="1872" y="2406"/>
                    </a:lnTo>
                    <a:lnTo>
                      <a:pt x="2099" y="2433"/>
                    </a:lnTo>
                    <a:lnTo>
                      <a:pt x="2229" y="2426"/>
                    </a:lnTo>
                    <a:lnTo>
                      <a:pt x="2303" y="2330"/>
                    </a:lnTo>
                    <a:lnTo>
                      <a:pt x="2288" y="2222"/>
                    </a:lnTo>
                    <a:lnTo>
                      <a:pt x="2212" y="2237"/>
                    </a:lnTo>
                    <a:lnTo>
                      <a:pt x="2198" y="2140"/>
                    </a:lnTo>
                    <a:lnTo>
                      <a:pt x="2121" y="2024"/>
                    </a:lnTo>
                    <a:lnTo>
                      <a:pt x="2052" y="1883"/>
                    </a:lnTo>
                    <a:lnTo>
                      <a:pt x="2200" y="1804"/>
                    </a:lnTo>
                    <a:lnTo>
                      <a:pt x="2326" y="1715"/>
                    </a:lnTo>
                    <a:lnTo>
                      <a:pt x="2228" y="1606"/>
                    </a:lnTo>
                    <a:lnTo>
                      <a:pt x="2230" y="1518"/>
                    </a:lnTo>
                    <a:lnTo>
                      <a:pt x="2269" y="1377"/>
                    </a:lnTo>
                    <a:lnTo>
                      <a:pt x="2166" y="1354"/>
                    </a:lnTo>
                    <a:lnTo>
                      <a:pt x="2035" y="1280"/>
                    </a:lnTo>
                    <a:lnTo>
                      <a:pt x="2038" y="1119"/>
                    </a:lnTo>
                    <a:lnTo>
                      <a:pt x="2244" y="1090"/>
                    </a:lnTo>
                    <a:lnTo>
                      <a:pt x="2262" y="1193"/>
                    </a:lnTo>
                    <a:lnTo>
                      <a:pt x="2318" y="1302"/>
                    </a:lnTo>
                    <a:lnTo>
                      <a:pt x="2431" y="1117"/>
                    </a:lnTo>
                    <a:lnTo>
                      <a:pt x="2594" y="1035"/>
                    </a:lnTo>
                    <a:lnTo>
                      <a:pt x="2753" y="998"/>
                    </a:lnTo>
                    <a:lnTo>
                      <a:pt x="2888" y="998"/>
                    </a:lnTo>
                    <a:lnTo>
                      <a:pt x="2923" y="1065"/>
                    </a:lnTo>
                    <a:lnTo>
                      <a:pt x="3069" y="1072"/>
                    </a:lnTo>
                    <a:lnTo>
                      <a:pt x="3108" y="1149"/>
                    </a:lnTo>
                    <a:lnTo>
                      <a:pt x="3239" y="1082"/>
                    </a:lnTo>
                    <a:lnTo>
                      <a:pt x="3274" y="1018"/>
                    </a:lnTo>
                    <a:lnTo>
                      <a:pt x="3225" y="929"/>
                    </a:lnTo>
                    <a:lnTo>
                      <a:pt x="3135" y="825"/>
                    </a:lnTo>
                    <a:cubicBezTo>
                      <a:pt x="3100" y="795"/>
                      <a:pt x="3075" y="755"/>
                      <a:pt x="3061" y="709"/>
                    </a:cubicBezTo>
                    <a:cubicBezTo>
                      <a:pt x="3045" y="658"/>
                      <a:pt x="3045" y="603"/>
                      <a:pt x="3061" y="551"/>
                    </a:cubicBezTo>
                    <a:lnTo>
                      <a:pt x="3114" y="415"/>
                    </a:lnTo>
                    <a:lnTo>
                      <a:pt x="3174" y="331"/>
                    </a:lnTo>
                    <a:lnTo>
                      <a:pt x="3258" y="299"/>
                    </a:lnTo>
                    <a:lnTo>
                      <a:pt x="3443" y="344"/>
                    </a:lnTo>
                    <a:lnTo>
                      <a:pt x="3508" y="405"/>
                    </a:lnTo>
                    <a:lnTo>
                      <a:pt x="3570" y="469"/>
                    </a:lnTo>
                    <a:lnTo>
                      <a:pt x="3623" y="555"/>
                    </a:lnTo>
                    <a:lnTo>
                      <a:pt x="3566" y="680"/>
                    </a:lnTo>
                    <a:lnTo>
                      <a:pt x="3691" y="725"/>
                    </a:lnTo>
                    <a:lnTo>
                      <a:pt x="3724" y="631"/>
                    </a:lnTo>
                    <a:lnTo>
                      <a:pt x="3749" y="451"/>
                    </a:lnTo>
                    <a:lnTo>
                      <a:pt x="3793" y="340"/>
                    </a:lnTo>
                    <a:lnTo>
                      <a:pt x="3814" y="110"/>
                    </a:lnTo>
                    <a:lnTo>
                      <a:pt x="3868" y="0"/>
                    </a:lnTo>
                    <a:lnTo>
                      <a:pt x="4025" y="31"/>
                    </a:lnTo>
                    <a:lnTo>
                      <a:pt x="4108" y="78"/>
                    </a:lnTo>
                    <a:lnTo>
                      <a:pt x="4156" y="181"/>
                    </a:lnTo>
                    <a:lnTo>
                      <a:pt x="4253" y="151"/>
                    </a:lnTo>
                    <a:lnTo>
                      <a:pt x="4367" y="92"/>
                    </a:lnTo>
                    <a:cubicBezTo>
                      <a:pt x="4405" y="76"/>
                      <a:pt x="4445" y="68"/>
                      <a:pt x="4486" y="70"/>
                    </a:cubicBezTo>
                    <a:cubicBezTo>
                      <a:pt x="4528" y="71"/>
                      <a:pt x="4569" y="83"/>
                      <a:pt x="4606" y="104"/>
                    </a:cubicBezTo>
                    <a:lnTo>
                      <a:pt x="4716" y="162"/>
                    </a:lnTo>
                    <a:lnTo>
                      <a:pt x="4781" y="268"/>
                    </a:lnTo>
                    <a:lnTo>
                      <a:pt x="4875" y="254"/>
                    </a:lnTo>
                    <a:lnTo>
                      <a:pt x="4955" y="313"/>
                    </a:lnTo>
                    <a:lnTo>
                      <a:pt x="4934" y="396"/>
                    </a:lnTo>
                    <a:lnTo>
                      <a:pt x="4969" y="492"/>
                    </a:lnTo>
                    <a:lnTo>
                      <a:pt x="5036" y="567"/>
                    </a:lnTo>
                    <a:lnTo>
                      <a:pt x="4983" y="620"/>
                    </a:lnTo>
                    <a:lnTo>
                      <a:pt x="4970" y="701"/>
                    </a:lnTo>
                    <a:lnTo>
                      <a:pt x="5114" y="798"/>
                    </a:lnTo>
                    <a:lnTo>
                      <a:pt x="5178" y="901"/>
                    </a:lnTo>
                    <a:lnTo>
                      <a:pt x="5280" y="1037"/>
                    </a:lnTo>
                    <a:lnTo>
                      <a:pt x="5361" y="1143"/>
                    </a:lnTo>
                    <a:lnTo>
                      <a:pt x="5403" y="1254"/>
                    </a:lnTo>
                    <a:lnTo>
                      <a:pt x="5445" y="1414"/>
                    </a:lnTo>
                    <a:lnTo>
                      <a:pt x="5552" y="1441"/>
                    </a:lnTo>
                    <a:lnTo>
                      <a:pt x="5552" y="1572"/>
                    </a:lnTo>
                    <a:lnTo>
                      <a:pt x="5628" y="1696"/>
                    </a:lnTo>
                    <a:lnTo>
                      <a:pt x="5741" y="1590"/>
                    </a:lnTo>
                    <a:lnTo>
                      <a:pt x="5864" y="1604"/>
                    </a:lnTo>
                    <a:lnTo>
                      <a:pt x="5906" y="1698"/>
                    </a:lnTo>
                    <a:lnTo>
                      <a:pt x="6031" y="1691"/>
                    </a:lnTo>
                    <a:lnTo>
                      <a:pt x="6147" y="1683"/>
                    </a:lnTo>
                    <a:lnTo>
                      <a:pt x="6221" y="1668"/>
                    </a:lnTo>
                    <a:lnTo>
                      <a:pt x="6284" y="1754"/>
                    </a:lnTo>
                    <a:lnTo>
                      <a:pt x="6357" y="1690"/>
                    </a:lnTo>
                    <a:lnTo>
                      <a:pt x="6413" y="1559"/>
                    </a:lnTo>
                    <a:lnTo>
                      <a:pt x="6465" y="1660"/>
                    </a:lnTo>
                    <a:lnTo>
                      <a:pt x="6417" y="1769"/>
                    </a:lnTo>
                    <a:lnTo>
                      <a:pt x="6412" y="1877"/>
                    </a:lnTo>
                    <a:lnTo>
                      <a:pt x="6481" y="1936"/>
                    </a:lnTo>
                    <a:lnTo>
                      <a:pt x="6563" y="1822"/>
                    </a:lnTo>
                    <a:lnTo>
                      <a:pt x="6625" y="1758"/>
                    </a:lnTo>
                    <a:lnTo>
                      <a:pt x="6669" y="1841"/>
                    </a:lnTo>
                    <a:lnTo>
                      <a:pt x="6625" y="1957"/>
                    </a:lnTo>
                    <a:lnTo>
                      <a:pt x="6731" y="1994"/>
                    </a:lnTo>
                    <a:lnTo>
                      <a:pt x="6807" y="2069"/>
                    </a:lnTo>
                    <a:lnTo>
                      <a:pt x="6890" y="2135"/>
                    </a:lnTo>
                    <a:lnTo>
                      <a:pt x="6978" y="2204"/>
                    </a:lnTo>
                    <a:lnTo>
                      <a:pt x="7027" y="2270"/>
                    </a:lnTo>
                    <a:lnTo>
                      <a:pt x="7091" y="2327"/>
                    </a:lnTo>
                    <a:lnTo>
                      <a:pt x="7170" y="2349"/>
                    </a:lnTo>
                    <a:lnTo>
                      <a:pt x="7165" y="2275"/>
                    </a:lnTo>
                    <a:lnTo>
                      <a:pt x="7110" y="2144"/>
                    </a:lnTo>
                    <a:lnTo>
                      <a:pt x="7296" y="2137"/>
                    </a:lnTo>
                    <a:lnTo>
                      <a:pt x="7472" y="2095"/>
                    </a:lnTo>
                    <a:cubicBezTo>
                      <a:pt x="7497" y="2085"/>
                      <a:pt x="7514" y="2059"/>
                      <a:pt x="7514" y="2031"/>
                    </a:cubicBezTo>
                    <a:cubicBezTo>
                      <a:pt x="7514" y="1939"/>
                      <a:pt x="7398" y="1910"/>
                      <a:pt x="7359" y="1991"/>
                    </a:cubicBezTo>
                    <a:lnTo>
                      <a:pt x="7180" y="1932"/>
                    </a:lnTo>
                    <a:lnTo>
                      <a:pt x="7115" y="1848"/>
                    </a:lnTo>
                    <a:lnTo>
                      <a:pt x="7171" y="1788"/>
                    </a:lnTo>
                    <a:lnTo>
                      <a:pt x="7154" y="1702"/>
                    </a:lnTo>
                    <a:lnTo>
                      <a:pt x="7197" y="1532"/>
                    </a:lnTo>
                    <a:lnTo>
                      <a:pt x="7001" y="1616"/>
                    </a:lnTo>
                    <a:lnTo>
                      <a:pt x="6874" y="1710"/>
                    </a:lnTo>
                    <a:lnTo>
                      <a:pt x="6760" y="1730"/>
                    </a:lnTo>
                    <a:lnTo>
                      <a:pt x="6767" y="1582"/>
                    </a:lnTo>
                    <a:lnTo>
                      <a:pt x="6704" y="1510"/>
                    </a:lnTo>
                    <a:lnTo>
                      <a:pt x="6683" y="1398"/>
                    </a:lnTo>
                    <a:lnTo>
                      <a:pt x="6811" y="1298"/>
                    </a:lnTo>
                    <a:lnTo>
                      <a:pt x="6911" y="1176"/>
                    </a:lnTo>
                    <a:lnTo>
                      <a:pt x="6929" y="1048"/>
                    </a:lnTo>
                    <a:lnTo>
                      <a:pt x="6901" y="918"/>
                    </a:lnTo>
                    <a:lnTo>
                      <a:pt x="6982" y="827"/>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200">
                    <a:solidFill>
                      <a:srgbClr val="070707"/>
                    </a:solidFill>
                    <a:latin typeface="Calibri"/>
                    <a:ea typeface="Calibri"/>
                    <a:cs typeface="Calibri"/>
                    <a:sym typeface="Calibri"/>
                  </a:defRPr>
                </a:pPr>
                <a:endParaRPr sz="4100"/>
              </a:p>
            </p:txBody>
          </p:sp>
          <p:sp>
            <p:nvSpPr>
              <p:cNvPr id="516" name="Shape 516"/>
              <p:cNvSpPr/>
              <p:nvPr/>
            </p:nvSpPr>
            <p:spPr>
              <a:xfrm>
                <a:off x="827607" y="1155368"/>
                <a:ext cx="61832" cy="55265"/>
              </a:xfrm>
              <a:custGeom>
                <a:avLst/>
                <a:gdLst/>
                <a:ahLst/>
                <a:cxnLst>
                  <a:cxn ang="0">
                    <a:pos x="wd2" y="hd2"/>
                  </a:cxn>
                  <a:cxn ang="5400000">
                    <a:pos x="wd2" y="hd2"/>
                  </a:cxn>
                  <a:cxn ang="10800000">
                    <a:pos x="wd2" y="hd2"/>
                  </a:cxn>
                  <a:cxn ang="16200000">
                    <a:pos x="wd2" y="hd2"/>
                  </a:cxn>
                </a:cxnLst>
                <a:rect l="0" t="0" r="r" b="b"/>
                <a:pathLst>
                  <a:path w="21600" h="21600" extrusionOk="0">
                    <a:moveTo>
                      <a:pt x="8384" y="2101"/>
                    </a:moveTo>
                    <a:lnTo>
                      <a:pt x="0" y="10018"/>
                    </a:lnTo>
                    <a:lnTo>
                      <a:pt x="1924" y="21600"/>
                    </a:lnTo>
                    <a:lnTo>
                      <a:pt x="9832" y="12960"/>
                    </a:lnTo>
                    <a:lnTo>
                      <a:pt x="21600" y="0"/>
                    </a:lnTo>
                    <a:lnTo>
                      <a:pt x="8384" y="2101"/>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17" name="Shape 517"/>
              <p:cNvSpPr/>
              <p:nvPr/>
            </p:nvSpPr>
            <p:spPr>
              <a:xfrm>
                <a:off x="991967" y="1652466"/>
                <a:ext cx="30844" cy="35990"/>
              </a:xfrm>
              <a:custGeom>
                <a:avLst/>
                <a:gdLst/>
                <a:ahLst/>
                <a:cxnLst>
                  <a:cxn ang="0">
                    <a:pos x="wd2" y="hd2"/>
                  </a:cxn>
                  <a:cxn ang="5400000">
                    <a:pos x="wd2" y="hd2"/>
                  </a:cxn>
                  <a:cxn ang="10800000">
                    <a:pos x="wd2" y="hd2"/>
                  </a:cxn>
                  <a:cxn ang="16200000">
                    <a:pos x="wd2" y="hd2"/>
                  </a:cxn>
                </a:cxnLst>
                <a:rect l="0" t="0" r="r" b="b"/>
                <a:pathLst>
                  <a:path w="21600" h="21600" extrusionOk="0">
                    <a:moveTo>
                      <a:pt x="14695" y="0"/>
                    </a:moveTo>
                    <a:lnTo>
                      <a:pt x="2150" y="1966"/>
                    </a:lnTo>
                    <a:lnTo>
                      <a:pt x="0" y="14899"/>
                    </a:lnTo>
                    <a:lnTo>
                      <a:pt x="13781" y="21600"/>
                    </a:lnTo>
                    <a:lnTo>
                      <a:pt x="21600" y="8558"/>
                    </a:lnTo>
                    <a:lnTo>
                      <a:pt x="14695"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18" name="Shape 518"/>
              <p:cNvSpPr/>
              <p:nvPr/>
            </p:nvSpPr>
            <p:spPr>
              <a:xfrm>
                <a:off x="1260892" y="1440488"/>
                <a:ext cx="53404" cy="84419"/>
              </a:xfrm>
              <a:custGeom>
                <a:avLst/>
                <a:gdLst/>
                <a:ahLst/>
                <a:cxnLst>
                  <a:cxn ang="0">
                    <a:pos x="wd2" y="hd2"/>
                  </a:cxn>
                  <a:cxn ang="5400000">
                    <a:pos x="wd2" y="hd2"/>
                  </a:cxn>
                  <a:cxn ang="10800000">
                    <a:pos x="wd2" y="hd2"/>
                  </a:cxn>
                  <a:cxn ang="16200000">
                    <a:pos x="wd2" y="hd2"/>
                  </a:cxn>
                </a:cxnLst>
                <a:rect l="0" t="0" r="r" b="b"/>
                <a:pathLst>
                  <a:path w="21600" h="21600" extrusionOk="0">
                    <a:moveTo>
                      <a:pt x="11311" y="1188"/>
                    </a:moveTo>
                    <a:lnTo>
                      <a:pt x="2903" y="3754"/>
                    </a:lnTo>
                    <a:lnTo>
                      <a:pt x="6906" y="9918"/>
                    </a:lnTo>
                    <a:lnTo>
                      <a:pt x="0" y="19975"/>
                    </a:lnTo>
                    <a:lnTo>
                      <a:pt x="8431" y="21600"/>
                    </a:lnTo>
                    <a:lnTo>
                      <a:pt x="15976" y="18316"/>
                    </a:lnTo>
                    <a:lnTo>
                      <a:pt x="18572" y="10244"/>
                    </a:lnTo>
                    <a:lnTo>
                      <a:pt x="21600" y="5318"/>
                    </a:lnTo>
                    <a:lnTo>
                      <a:pt x="19816" y="0"/>
                    </a:lnTo>
                    <a:lnTo>
                      <a:pt x="11311" y="1188"/>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19" name="Shape 519"/>
              <p:cNvSpPr/>
              <p:nvPr/>
            </p:nvSpPr>
            <p:spPr>
              <a:xfrm>
                <a:off x="1118259" y="1507241"/>
                <a:ext cx="33697" cy="39339"/>
              </a:xfrm>
              <a:custGeom>
                <a:avLst/>
                <a:gdLst/>
                <a:ahLst/>
                <a:cxnLst>
                  <a:cxn ang="0">
                    <a:pos x="wd2" y="hd2"/>
                  </a:cxn>
                  <a:cxn ang="5400000">
                    <a:pos x="wd2" y="hd2"/>
                  </a:cxn>
                  <a:cxn ang="10800000">
                    <a:pos x="wd2" y="hd2"/>
                  </a:cxn>
                  <a:cxn ang="16200000">
                    <a:pos x="wd2" y="hd2"/>
                  </a:cxn>
                </a:cxnLst>
                <a:rect l="0" t="0" r="r" b="b"/>
                <a:pathLst>
                  <a:path w="21600" h="21600" extrusionOk="0">
                    <a:moveTo>
                      <a:pt x="9701" y="0"/>
                    </a:moveTo>
                    <a:lnTo>
                      <a:pt x="2286" y="8809"/>
                    </a:lnTo>
                    <a:lnTo>
                      <a:pt x="0" y="21600"/>
                    </a:lnTo>
                    <a:lnTo>
                      <a:pt x="15560" y="16644"/>
                    </a:lnTo>
                    <a:lnTo>
                      <a:pt x="21600" y="3209"/>
                    </a:lnTo>
                    <a:lnTo>
                      <a:pt x="9701"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20" name="Shape 520"/>
              <p:cNvSpPr/>
              <p:nvPr/>
            </p:nvSpPr>
            <p:spPr>
              <a:xfrm>
                <a:off x="2769179" y="524914"/>
                <a:ext cx="27699" cy="37988"/>
              </a:xfrm>
              <a:custGeom>
                <a:avLst/>
                <a:gdLst/>
                <a:ahLst/>
                <a:cxnLst>
                  <a:cxn ang="0">
                    <a:pos x="wd2" y="hd2"/>
                  </a:cxn>
                  <a:cxn ang="5400000">
                    <a:pos x="wd2" y="hd2"/>
                  </a:cxn>
                  <a:cxn ang="10800000">
                    <a:pos x="wd2" y="hd2"/>
                  </a:cxn>
                  <a:cxn ang="16200000">
                    <a:pos x="wd2" y="hd2"/>
                  </a:cxn>
                </a:cxnLst>
                <a:rect l="0" t="0" r="r" b="b"/>
                <a:pathLst>
                  <a:path w="21600" h="21600" extrusionOk="0">
                    <a:moveTo>
                      <a:pt x="17459" y="0"/>
                    </a:moveTo>
                    <a:lnTo>
                      <a:pt x="0" y="7565"/>
                    </a:lnTo>
                    <a:lnTo>
                      <a:pt x="9131" y="21600"/>
                    </a:lnTo>
                    <a:lnTo>
                      <a:pt x="21600" y="15555"/>
                    </a:lnTo>
                    <a:lnTo>
                      <a:pt x="17459"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21" name="Shape 521"/>
              <p:cNvSpPr/>
              <p:nvPr/>
            </p:nvSpPr>
            <p:spPr>
              <a:xfrm>
                <a:off x="2734778" y="576648"/>
                <a:ext cx="31935" cy="29970"/>
              </a:xfrm>
              <a:custGeom>
                <a:avLst/>
                <a:gdLst/>
                <a:ahLst/>
                <a:cxnLst>
                  <a:cxn ang="0">
                    <a:pos x="wd2" y="hd2"/>
                  </a:cxn>
                  <a:cxn ang="5400000">
                    <a:pos x="wd2" y="hd2"/>
                  </a:cxn>
                  <a:cxn ang="10800000">
                    <a:pos x="wd2" y="hd2"/>
                  </a:cxn>
                  <a:cxn ang="16200000">
                    <a:pos x="wd2" y="hd2"/>
                  </a:cxn>
                </a:cxnLst>
                <a:rect l="0" t="0" r="r" b="b"/>
                <a:pathLst>
                  <a:path w="21600" h="21600" extrusionOk="0">
                    <a:moveTo>
                      <a:pt x="9589" y="0"/>
                    </a:moveTo>
                    <a:lnTo>
                      <a:pt x="0" y="7324"/>
                    </a:lnTo>
                    <a:lnTo>
                      <a:pt x="11835" y="21600"/>
                    </a:lnTo>
                    <a:lnTo>
                      <a:pt x="21600" y="7437"/>
                    </a:lnTo>
                    <a:lnTo>
                      <a:pt x="9589"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22" name="Shape 522"/>
              <p:cNvSpPr/>
              <p:nvPr/>
            </p:nvSpPr>
            <p:spPr>
              <a:xfrm>
                <a:off x="3063397" y="2223904"/>
                <a:ext cx="66428" cy="53843"/>
              </a:xfrm>
              <a:custGeom>
                <a:avLst/>
                <a:gdLst/>
                <a:ahLst/>
                <a:cxnLst>
                  <a:cxn ang="0">
                    <a:pos x="wd2" y="hd2"/>
                  </a:cxn>
                  <a:cxn ang="5400000">
                    <a:pos x="wd2" y="hd2"/>
                  </a:cxn>
                  <a:cxn ang="10800000">
                    <a:pos x="wd2" y="hd2"/>
                  </a:cxn>
                  <a:cxn ang="16200000">
                    <a:pos x="wd2" y="hd2"/>
                  </a:cxn>
                </a:cxnLst>
                <a:rect l="0" t="0" r="r" b="b"/>
                <a:pathLst>
                  <a:path w="21600" h="21600" extrusionOk="0">
                    <a:moveTo>
                      <a:pt x="12863" y="1314"/>
                    </a:moveTo>
                    <a:lnTo>
                      <a:pt x="3082" y="0"/>
                    </a:lnTo>
                    <a:lnTo>
                      <a:pt x="0" y="13744"/>
                    </a:lnTo>
                    <a:lnTo>
                      <a:pt x="4388" y="21412"/>
                    </a:lnTo>
                    <a:lnTo>
                      <a:pt x="16385" y="21600"/>
                    </a:lnTo>
                    <a:lnTo>
                      <a:pt x="21600" y="6584"/>
                    </a:lnTo>
                    <a:lnTo>
                      <a:pt x="12863" y="1314"/>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23" name="Shape 523"/>
              <p:cNvSpPr/>
              <p:nvPr/>
            </p:nvSpPr>
            <p:spPr>
              <a:xfrm>
                <a:off x="3175533" y="2230055"/>
                <a:ext cx="42140" cy="72276"/>
              </a:xfrm>
              <a:custGeom>
                <a:avLst/>
                <a:gdLst/>
                <a:ahLst/>
                <a:cxnLst>
                  <a:cxn ang="0">
                    <a:pos x="wd2" y="hd2"/>
                  </a:cxn>
                  <a:cxn ang="5400000">
                    <a:pos x="wd2" y="hd2"/>
                  </a:cxn>
                  <a:cxn ang="10800000">
                    <a:pos x="wd2" y="hd2"/>
                  </a:cxn>
                  <a:cxn ang="16200000">
                    <a:pos x="wd2" y="hd2"/>
                  </a:cxn>
                </a:cxnLst>
                <a:rect l="0" t="0" r="r" b="b"/>
                <a:pathLst>
                  <a:path w="21600" h="21600" extrusionOk="0">
                    <a:moveTo>
                      <a:pt x="10691" y="0"/>
                    </a:moveTo>
                    <a:lnTo>
                      <a:pt x="0" y="3197"/>
                    </a:lnTo>
                    <a:lnTo>
                      <a:pt x="349" y="9792"/>
                    </a:lnTo>
                    <a:lnTo>
                      <a:pt x="3031" y="18244"/>
                    </a:lnTo>
                    <a:lnTo>
                      <a:pt x="15055" y="21600"/>
                    </a:lnTo>
                    <a:lnTo>
                      <a:pt x="21600" y="13149"/>
                    </a:lnTo>
                    <a:lnTo>
                      <a:pt x="17522" y="4680"/>
                    </a:lnTo>
                    <a:lnTo>
                      <a:pt x="10691"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24" name="Shape 524"/>
              <p:cNvSpPr/>
              <p:nvPr/>
            </p:nvSpPr>
            <p:spPr>
              <a:xfrm>
                <a:off x="3210290" y="2369952"/>
                <a:ext cx="28443" cy="47041"/>
              </a:xfrm>
              <a:custGeom>
                <a:avLst/>
                <a:gdLst/>
                <a:ahLst/>
                <a:cxnLst>
                  <a:cxn ang="0">
                    <a:pos x="wd2" y="hd2"/>
                  </a:cxn>
                  <a:cxn ang="5400000">
                    <a:pos x="wd2" y="hd2"/>
                  </a:cxn>
                  <a:cxn ang="10800000">
                    <a:pos x="wd2" y="hd2"/>
                  </a:cxn>
                  <a:cxn ang="16200000">
                    <a:pos x="wd2" y="hd2"/>
                  </a:cxn>
                </a:cxnLst>
                <a:rect l="0" t="0" r="r" b="b"/>
                <a:pathLst>
                  <a:path w="21600" h="21600" extrusionOk="0">
                    <a:moveTo>
                      <a:pt x="9036" y="0"/>
                    </a:moveTo>
                    <a:lnTo>
                      <a:pt x="0" y="11875"/>
                    </a:lnTo>
                    <a:lnTo>
                      <a:pt x="4136" y="21600"/>
                    </a:lnTo>
                    <a:lnTo>
                      <a:pt x="17945" y="19175"/>
                    </a:lnTo>
                    <a:lnTo>
                      <a:pt x="21600" y="1742"/>
                    </a:lnTo>
                    <a:lnTo>
                      <a:pt x="9036"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25" name="Shape 525"/>
              <p:cNvSpPr/>
              <p:nvPr/>
            </p:nvSpPr>
            <p:spPr>
              <a:xfrm>
                <a:off x="3522907" y="2229853"/>
                <a:ext cx="32093" cy="52743"/>
              </a:xfrm>
              <a:custGeom>
                <a:avLst/>
                <a:gdLst/>
                <a:ahLst/>
                <a:cxnLst>
                  <a:cxn ang="0">
                    <a:pos x="wd2" y="hd2"/>
                  </a:cxn>
                  <a:cxn ang="5400000">
                    <a:pos x="wd2" y="hd2"/>
                  </a:cxn>
                  <a:cxn ang="10800000">
                    <a:pos x="wd2" y="hd2"/>
                  </a:cxn>
                  <a:cxn ang="16200000">
                    <a:pos x="wd2" y="hd2"/>
                  </a:cxn>
                </a:cxnLst>
                <a:rect l="0" t="0" r="r" b="b"/>
                <a:pathLst>
                  <a:path w="21600" h="21600" extrusionOk="0">
                    <a:moveTo>
                      <a:pt x="11910" y="0"/>
                    </a:moveTo>
                    <a:lnTo>
                      <a:pt x="880" y="2109"/>
                    </a:lnTo>
                    <a:lnTo>
                      <a:pt x="0" y="13088"/>
                    </a:lnTo>
                    <a:lnTo>
                      <a:pt x="7921" y="21600"/>
                    </a:lnTo>
                    <a:lnTo>
                      <a:pt x="21600" y="7612"/>
                    </a:lnTo>
                    <a:lnTo>
                      <a:pt x="11910"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26" name="Shape 526"/>
              <p:cNvSpPr/>
              <p:nvPr/>
            </p:nvSpPr>
            <p:spPr>
              <a:xfrm>
                <a:off x="3551487" y="2150200"/>
                <a:ext cx="32210" cy="35743"/>
              </a:xfrm>
              <a:custGeom>
                <a:avLst/>
                <a:gdLst/>
                <a:ahLst/>
                <a:cxnLst>
                  <a:cxn ang="0">
                    <a:pos x="wd2" y="hd2"/>
                  </a:cxn>
                  <a:cxn ang="5400000">
                    <a:pos x="wd2" y="hd2"/>
                  </a:cxn>
                  <a:cxn ang="10800000">
                    <a:pos x="wd2" y="hd2"/>
                  </a:cxn>
                  <a:cxn ang="16200000">
                    <a:pos x="wd2" y="hd2"/>
                  </a:cxn>
                </a:cxnLst>
                <a:rect l="0" t="0" r="r" b="b"/>
                <a:pathLst>
                  <a:path w="21600" h="21600" extrusionOk="0">
                    <a:moveTo>
                      <a:pt x="3498" y="0"/>
                    </a:moveTo>
                    <a:lnTo>
                      <a:pt x="0" y="9289"/>
                    </a:lnTo>
                    <a:lnTo>
                      <a:pt x="7613" y="17722"/>
                    </a:lnTo>
                    <a:lnTo>
                      <a:pt x="19807" y="21600"/>
                    </a:lnTo>
                    <a:lnTo>
                      <a:pt x="21600" y="4514"/>
                    </a:lnTo>
                    <a:lnTo>
                      <a:pt x="3498"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27" name="Shape 527"/>
              <p:cNvSpPr/>
              <p:nvPr/>
            </p:nvSpPr>
            <p:spPr>
              <a:xfrm>
                <a:off x="3359322" y="4374828"/>
                <a:ext cx="581730" cy="182026"/>
              </a:xfrm>
              <a:custGeom>
                <a:avLst/>
                <a:gdLst/>
                <a:ahLst/>
                <a:cxnLst>
                  <a:cxn ang="0">
                    <a:pos x="wd2" y="hd2"/>
                  </a:cxn>
                  <a:cxn ang="5400000">
                    <a:pos x="wd2" y="hd2"/>
                  </a:cxn>
                  <a:cxn ang="10800000">
                    <a:pos x="wd2" y="hd2"/>
                  </a:cxn>
                  <a:cxn ang="16200000">
                    <a:pos x="wd2" y="hd2"/>
                  </a:cxn>
                </a:cxnLst>
                <a:rect l="0" t="0" r="r" b="b"/>
                <a:pathLst>
                  <a:path w="21600" h="20258" extrusionOk="0">
                    <a:moveTo>
                      <a:pt x="0" y="14220"/>
                    </a:moveTo>
                    <a:lnTo>
                      <a:pt x="613" y="10143"/>
                    </a:lnTo>
                    <a:lnTo>
                      <a:pt x="2247" y="6258"/>
                    </a:lnTo>
                    <a:lnTo>
                      <a:pt x="3538" y="5398"/>
                    </a:lnTo>
                    <a:lnTo>
                      <a:pt x="5022" y="3450"/>
                    </a:lnTo>
                    <a:lnTo>
                      <a:pt x="6054" y="2255"/>
                    </a:lnTo>
                    <a:lnTo>
                      <a:pt x="7558" y="1542"/>
                    </a:lnTo>
                    <a:lnTo>
                      <a:pt x="9385" y="0"/>
                    </a:lnTo>
                    <a:cubicBezTo>
                      <a:pt x="9830" y="32"/>
                      <a:pt x="10273" y="131"/>
                      <a:pt x="10715" y="295"/>
                    </a:cubicBezTo>
                    <a:cubicBezTo>
                      <a:pt x="11331" y="526"/>
                      <a:pt x="11942" y="884"/>
                      <a:pt x="12542" y="1369"/>
                    </a:cubicBezTo>
                    <a:lnTo>
                      <a:pt x="14366" y="1488"/>
                    </a:lnTo>
                    <a:lnTo>
                      <a:pt x="15018" y="2024"/>
                    </a:lnTo>
                    <a:cubicBezTo>
                      <a:pt x="15400" y="3033"/>
                      <a:pt x="15828" y="3875"/>
                      <a:pt x="16289" y="4524"/>
                    </a:cubicBezTo>
                    <a:cubicBezTo>
                      <a:pt x="16814" y="5262"/>
                      <a:pt x="17376" y="5742"/>
                      <a:pt x="17952" y="5944"/>
                    </a:cubicBezTo>
                    <a:lnTo>
                      <a:pt x="19084" y="6301"/>
                    </a:lnTo>
                    <a:lnTo>
                      <a:pt x="20389" y="7015"/>
                    </a:lnTo>
                    <a:lnTo>
                      <a:pt x="21600" y="8741"/>
                    </a:lnTo>
                    <a:lnTo>
                      <a:pt x="21441" y="11114"/>
                    </a:lnTo>
                    <a:lnTo>
                      <a:pt x="20766" y="12178"/>
                    </a:lnTo>
                    <a:lnTo>
                      <a:pt x="19161" y="13896"/>
                    </a:lnTo>
                    <a:lnTo>
                      <a:pt x="18031" y="15146"/>
                    </a:lnTo>
                    <a:cubicBezTo>
                      <a:pt x="17549" y="14608"/>
                      <a:pt x="17009" y="14808"/>
                      <a:pt x="16584" y="15681"/>
                    </a:cubicBezTo>
                    <a:cubicBezTo>
                      <a:pt x="16194" y="16484"/>
                      <a:pt x="15934" y="17809"/>
                      <a:pt x="15492" y="18345"/>
                    </a:cubicBezTo>
                    <a:cubicBezTo>
                      <a:pt x="15117" y="18799"/>
                      <a:pt x="14689" y="18593"/>
                      <a:pt x="14381" y="17809"/>
                    </a:cubicBezTo>
                    <a:lnTo>
                      <a:pt x="15053" y="13666"/>
                    </a:lnTo>
                    <a:lnTo>
                      <a:pt x="13847" y="14915"/>
                    </a:lnTo>
                    <a:cubicBezTo>
                      <a:pt x="13591" y="14965"/>
                      <a:pt x="13334" y="14965"/>
                      <a:pt x="13078" y="14915"/>
                    </a:cubicBezTo>
                    <a:cubicBezTo>
                      <a:pt x="12502" y="14804"/>
                      <a:pt x="11934" y="14443"/>
                      <a:pt x="11393" y="13844"/>
                    </a:cubicBezTo>
                    <a:lnTo>
                      <a:pt x="11097" y="11716"/>
                    </a:lnTo>
                    <a:lnTo>
                      <a:pt x="12539" y="11478"/>
                    </a:lnTo>
                    <a:lnTo>
                      <a:pt x="13155" y="9455"/>
                    </a:lnTo>
                    <a:lnTo>
                      <a:pt x="11789" y="9455"/>
                    </a:lnTo>
                    <a:lnTo>
                      <a:pt x="10226" y="11173"/>
                    </a:lnTo>
                    <a:lnTo>
                      <a:pt x="8997" y="10638"/>
                    </a:lnTo>
                    <a:lnTo>
                      <a:pt x="8109" y="9931"/>
                    </a:lnTo>
                    <a:lnTo>
                      <a:pt x="7039" y="9931"/>
                    </a:lnTo>
                    <a:lnTo>
                      <a:pt x="5391" y="9574"/>
                    </a:lnTo>
                    <a:cubicBezTo>
                      <a:pt x="5206" y="9574"/>
                      <a:pt x="5021" y="9574"/>
                      <a:pt x="4835" y="9574"/>
                    </a:cubicBezTo>
                    <a:cubicBezTo>
                      <a:pt x="4650" y="9574"/>
                      <a:pt x="4465" y="9574"/>
                      <a:pt x="4280" y="9574"/>
                    </a:cubicBezTo>
                    <a:lnTo>
                      <a:pt x="3270" y="12133"/>
                    </a:lnTo>
                    <a:lnTo>
                      <a:pt x="5669" y="11821"/>
                    </a:lnTo>
                    <a:lnTo>
                      <a:pt x="7258" y="14246"/>
                    </a:lnTo>
                    <a:lnTo>
                      <a:pt x="6069" y="15793"/>
                    </a:lnTo>
                    <a:lnTo>
                      <a:pt x="5237" y="16976"/>
                    </a:lnTo>
                    <a:cubicBezTo>
                      <a:pt x="5476" y="20061"/>
                      <a:pt x="4041" y="21600"/>
                      <a:pt x="3572" y="18761"/>
                    </a:cubicBezTo>
                    <a:cubicBezTo>
                      <a:pt x="3449" y="18015"/>
                      <a:pt x="3506" y="17140"/>
                      <a:pt x="3453" y="16328"/>
                    </a:cubicBezTo>
                    <a:cubicBezTo>
                      <a:pt x="3385" y="15280"/>
                      <a:pt x="3140" y="14398"/>
                      <a:pt x="2798" y="14127"/>
                    </a:cubicBezTo>
                    <a:cubicBezTo>
                      <a:pt x="2476" y="13872"/>
                      <a:pt x="2134" y="14221"/>
                      <a:pt x="1932" y="15012"/>
                    </a:cubicBezTo>
                    <a:lnTo>
                      <a:pt x="1279" y="15719"/>
                    </a:lnTo>
                    <a:lnTo>
                      <a:pt x="108" y="16433"/>
                    </a:lnTo>
                    <a:lnTo>
                      <a:pt x="0" y="1422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28" name="Shape 528"/>
              <p:cNvSpPr/>
              <p:nvPr/>
            </p:nvSpPr>
            <p:spPr>
              <a:xfrm>
                <a:off x="3728330" y="4576428"/>
                <a:ext cx="138986" cy="61433"/>
              </a:xfrm>
              <a:custGeom>
                <a:avLst/>
                <a:gdLst/>
                <a:ahLst/>
                <a:cxnLst>
                  <a:cxn ang="0">
                    <a:pos x="wd2" y="hd2"/>
                  </a:cxn>
                  <a:cxn ang="5400000">
                    <a:pos x="wd2" y="hd2"/>
                  </a:cxn>
                  <a:cxn ang="10800000">
                    <a:pos x="wd2" y="hd2"/>
                  </a:cxn>
                  <a:cxn ang="16200000">
                    <a:pos x="wd2" y="hd2"/>
                  </a:cxn>
                </a:cxnLst>
                <a:rect l="0" t="0" r="r" b="b"/>
                <a:pathLst>
                  <a:path w="21450" h="21213" extrusionOk="0">
                    <a:moveTo>
                      <a:pt x="9324" y="5830"/>
                    </a:moveTo>
                    <a:lnTo>
                      <a:pt x="4847" y="6015"/>
                    </a:lnTo>
                    <a:lnTo>
                      <a:pt x="0" y="9579"/>
                    </a:lnTo>
                    <a:lnTo>
                      <a:pt x="5079" y="21213"/>
                    </a:lnTo>
                    <a:lnTo>
                      <a:pt x="12286" y="21213"/>
                    </a:lnTo>
                    <a:lnTo>
                      <a:pt x="15990" y="15119"/>
                    </a:lnTo>
                    <a:lnTo>
                      <a:pt x="21426" y="10133"/>
                    </a:lnTo>
                    <a:cubicBezTo>
                      <a:pt x="21600" y="6572"/>
                      <a:pt x="20830" y="3110"/>
                      <a:pt x="19456" y="1272"/>
                    </a:cubicBezTo>
                    <a:cubicBezTo>
                      <a:pt x="18408" y="-129"/>
                      <a:pt x="17133" y="-387"/>
                      <a:pt x="15990" y="571"/>
                    </a:cubicBezTo>
                    <a:lnTo>
                      <a:pt x="9324" y="583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29" name="Shape 529"/>
              <p:cNvSpPr/>
              <p:nvPr/>
            </p:nvSpPr>
            <p:spPr>
              <a:xfrm>
                <a:off x="3618903" y="4547314"/>
                <a:ext cx="50501" cy="30481"/>
              </a:xfrm>
              <a:custGeom>
                <a:avLst/>
                <a:gdLst/>
                <a:ahLst/>
                <a:cxnLst>
                  <a:cxn ang="0">
                    <a:pos x="wd2" y="hd2"/>
                  </a:cxn>
                  <a:cxn ang="5400000">
                    <a:pos x="wd2" y="hd2"/>
                  </a:cxn>
                  <a:cxn ang="10800000">
                    <a:pos x="wd2" y="hd2"/>
                  </a:cxn>
                  <a:cxn ang="16200000">
                    <a:pos x="wd2" y="hd2"/>
                  </a:cxn>
                </a:cxnLst>
                <a:rect l="0" t="0" r="r" b="b"/>
                <a:pathLst>
                  <a:path w="21600" h="21600" extrusionOk="0">
                    <a:moveTo>
                      <a:pt x="10636" y="668"/>
                    </a:moveTo>
                    <a:lnTo>
                      <a:pt x="0" y="6733"/>
                    </a:lnTo>
                    <a:lnTo>
                      <a:pt x="107" y="21600"/>
                    </a:lnTo>
                    <a:lnTo>
                      <a:pt x="16082" y="14778"/>
                    </a:lnTo>
                    <a:lnTo>
                      <a:pt x="21600" y="0"/>
                    </a:lnTo>
                    <a:lnTo>
                      <a:pt x="10636" y="668"/>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30" name="Shape 530"/>
              <p:cNvSpPr/>
              <p:nvPr/>
            </p:nvSpPr>
            <p:spPr>
              <a:xfrm>
                <a:off x="3545098" y="4575537"/>
                <a:ext cx="43886" cy="34214"/>
              </a:xfrm>
              <a:custGeom>
                <a:avLst/>
                <a:gdLst/>
                <a:ahLst/>
                <a:cxnLst>
                  <a:cxn ang="0">
                    <a:pos x="wd2" y="hd2"/>
                  </a:cxn>
                  <a:cxn ang="5400000">
                    <a:pos x="wd2" y="hd2"/>
                  </a:cxn>
                  <a:cxn ang="10800000">
                    <a:pos x="wd2" y="hd2"/>
                  </a:cxn>
                  <a:cxn ang="16200000">
                    <a:pos x="wd2" y="hd2"/>
                  </a:cxn>
                </a:cxnLst>
                <a:rect l="0" t="0" r="r" b="b"/>
                <a:pathLst>
                  <a:path w="21600" h="21600" extrusionOk="0">
                    <a:moveTo>
                      <a:pt x="8390" y="0"/>
                    </a:moveTo>
                    <a:lnTo>
                      <a:pt x="0" y="9116"/>
                    </a:lnTo>
                    <a:lnTo>
                      <a:pt x="4193" y="21600"/>
                    </a:lnTo>
                    <a:lnTo>
                      <a:pt x="16108" y="16535"/>
                    </a:lnTo>
                    <a:lnTo>
                      <a:pt x="21600" y="3705"/>
                    </a:lnTo>
                    <a:lnTo>
                      <a:pt x="8390"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31" name="Shape 531"/>
              <p:cNvSpPr/>
              <p:nvPr/>
            </p:nvSpPr>
            <p:spPr>
              <a:xfrm>
                <a:off x="3642777" y="4146022"/>
                <a:ext cx="248403" cy="194259"/>
              </a:xfrm>
              <a:custGeom>
                <a:avLst/>
                <a:gdLst/>
                <a:ahLst/>
                <a:cxnLst>
                  <a:cxn ang="0">
                    <a:pos x="wd2" y="hd2"/>
                  </a:cxn>
                  <a:cxn ang="5400000">
                    <a:pos x="wd2" y="hd2"/>
                  </a:cxn>
                  <a:cxn ang="10800000">
                    <a:pos x="wd2" y="hd2"/>
                  </a:cxn>
                  <a:cxn ang="16200000">
                    <a:pos x="wd2" y="hd2"/>
                  </a:cxn>
                </a:cxnLst>
                <a:rect l="0" t="0" r="r" b="b"/>
                <a:pathLst>
                  <a:path w="21432" h="21600" extrusionOk="0">
                    <a:moveTo>
                      <a:pt x="2011" y="2763"/>
                    </a:moveTo>
                    <a:lnTo>
                      <a:pt x="4225" y="2050"/>
                    </a:lnTo>
                    <a:lnTo>
                      <a:pt x="4801" y="0"/>
                    </a:lnTo>
                    <a:lnTo>
                      <a:pt x="6317" y="125"/>
                    </a:lnTo>
                    <a:lnTo>
                      <a:pt x="8486" y="894"/>
                    </a:lnTo>
                    <a:lnTo>
                      <a:pt x="10100" y="2559"/>
                    </a:lnTo>
                    <a:lnTo>
                      <a:pt x="8722" y="6602"/>
                    </a:lnTo>
                    <a:lnTo>
                      <a:pt x="11161" y="8200"/>
                    </a:lnTo>
                    <a:lnTo>
                      <a:pt x="13007" y="8319"/>
                    </a:lnTo>
                    <a:lnTo>
                      <a:pt x="13745" y="10578"/>
                    </a:lnTo>
                    <a:lnTo>
                      <a:pt x="15077" y="11225"/>
                    </a:lnTo>
                    <a:lnTo>
                      <a:pt x="17845" y="12109"/>
                    </a:lnTo>
                    <a:lnTo>
                      <a:pt x="18814" y="14361"/>
                    </a:lnTo>
                    <a:lnTo>
                      <a:pt x="20924" y="15179"/>
                    </a:lnTo>
                    <a:lnTo>
                      <a:pt x="20094" y="17141"/>
                    </a:lnTo>
                    <a:lnTo>
                      <a:pt x="21063" y="18984"/>
                    </a:lnTo>
                    <a:lnTo>
                      <a:pt x="21432" y="21481"/>
                    </a:lnTo>
                    <a:lnTo>
                      <a:pt x="19691" y="21600"/>
                    </a:lnTo>
                    <a:lnTo>
                      <a:pt x="16507" y="19638"/>
                    </a:lnTo>
                    <a:lnTo>
                      <a:pt x="14345" y="20174"/>
                    </a:lnTo>
                    <a:lnTo>
                      <a:pt x="12228" y="16190"/>
                    </a:lnTo>
                    <a:lnTo>
                      <a:pt x="15504" y="15714"/>
                    </a:lnTo>
                    <a:lnTo>
                      <a:pt x="18272" y="17081"/>
                    </a:lnTo>
                    <a:lnTo>
                      <a:pt x="16427" y="13878"/>
                    </a:lnTo>
                    <a:lnTo>
                      <a:pt x="14212" y="12986"/>
                    </a:lnTo>
                    <a:lnTo>
                      <a:pt x="12389" y="13150"/>
                    </a:lnTo>
                    <a:lnTo>
                      <a:pt x="10313" y="11077"/>
                    </a:lnTo>
                    <a:lnTo>
                      <a:pt x="8618" y="8468"/>
                    </a:lnTo>
                    <a:lnTo>
                      <a:pt x="7107" y="8118"/>
                    </a:lnTo>
                    <a:lnTo>
                      <a:pt x="6143" y="6878"/>
                    </a:lnTo>
                    <a:lnTo>
                      <a:pt x="5867" y="5153"/>
                    </a:lnTo>
                    <a:lnTo>
                      <a:pt x="3796" y="6045"/>
                    </a:lnTo>
                    <a:lnTo>
                      <a:pt x="1818" y="6937"/>
                    </a:lnTo>
                    <a:cubicBezTo>
                      <a:pt x="1194" y="7473"/>
                      <a:pt x="346" y="7126"/>
                      <a:pt x="77" y="6223"/>
                    </a:cubicBezTo>
                    <a:cubicBezTo>
                      <a:pt x="-168" y="5402"/>
                      <a:pt x="194" y="4488"/>
                      <a:pt x="854" y="4261"/>
                    </a:cubicBezTo>
                    <a:lnTo>
                      <a:pt x="2011" y="2763"/>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32" name="Shape 532"/>
              <p:cNvSpPr/>
              <p:nvPr/>
            </p:nvSpPr>
            <p:spPr>
              <a:xfrm>
                <a:off x="3684342" y="4224014"/>
                <a:ext cx="64244" cy="116504"/>
              </a:xfrm>
              <a:custGeom>
                <a:avLst/>
                <a:gdLst/>
                <a:ahLst/>
                <a:cxnLst>
                  <a:cxn ang="0">
                    <a:pos x="wd2" y="hd2"/>
                  </a:cxn>
                  <a:cxn ang="5400000">
                    <a:pos x="wd2" y="hd2"/>
                  </a:cxn>
                  <a:cxn ang="10800000">
                    <a:pos x="wd2" y="hd2"/>
                  </a:cxn>
                  <a:cxn ang="16200000">
                    <a:pos x="wd2" y="hd2"/>
                  </a:cxn>
                </a:cxnLst>
                <a:rect l="0" t="0" r="r" b="b"/>
                <a:pathLst>
                  <a:path w="21600" h="21600" extrusionOk="0">
                    <a:moveTo>
                      <a:pt x="7232" y="0"/>
                    </a:moveTo>
                    <a:lnTo>
                      <a:pt x="6579" y="4363"/>
                    </a:lnTo>
                    <a:lnTo>
                      <a:pt x="409" y="9021"/>
                    </a:lnTo>
                    <a:lnTo>
                      <a:pt x="0" y="12293"/>
                    </a:lnTo>
                    <a:lnTo>
                      <a:pt x="4904" y="15849"/>
                    </a:lnTo>
                    <a:lnTo>
                      <a:pt x="12094" y="19320"/>
                    </a:lnTo>
                    <a:lnTo>
                      <a:pt x="17646" y="21600"/>
                    </a:lnTo>
                    <a:lnTo>
                      <a:pt x="21600" y="18031"/>
                    </a:lnTo>
                    <a:lnTo>
                      <a:pt x="21600" y="12392"/>
                    </a:lnTo>
                    <a:lnTo>
                      <a:pt x="18545" y="9529"/>
                    </a:lnTo>
                    <a:lnTo>
                      <a:pt x="15016" y="6393"/>
                    </a:lnTo>
                    <a:lnTo>
                      <a:pt x="14499" y="3531"/>
                    </a:lnTo>
                    <a:lnTo>
                      <a:pt x="7232"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33" name="Shape 533"/>
              <p:cNvSpPr/>
              <p:nvPr/>
            </p:nvSpPr>
            <p:spPr>
              <a:xfrm>
                <a:off x="3905189" y="4299136"/>
                <a:ext cx="43858" cy="73298"/>
              </a:xfrm>
              <a:custGeom>
                <a:avLst/>
                <a:gdLst/>
                <a:ahLst/>
                <a:cxnLst>
                  <a:cxn ang="0">
                    <a:pos x="wd2" y="hd2"/>
                  </a:cxn>
                  <a:cxn ang="5400000">
                    <a:pos x="wd2" y="hd2"/>
                  </a:cxn>
                  <a:cxn ang="10800000">
                    <a:pos x="wd2" y="hd2"/>
                  </a:cxn>
                  <a:cxn ang="16200000">
                    <a:pos x="wd2" y="hd2"/>
                  </a:cxn>
                </a:cxnLst>
                <a:rect l="0" t="0" r="r" b="b"/>
                <a:pathLst>
                  <a:path w="20973" h="21211" extrusionOk="0">
                    <a:moveTo>
                      <a:pt x="11293" y="0"/>
                    </a:moveTo>
                    <a:lnTo>
                      <a:pt x="6627" y="5552"/>
                    </a:lnTo>
                    <a:lnTo>
                      <a:pt x="112" y="8400"/>
                    </a:lnTo>
                    <a:lnTo>
                      <a:pt x="0" y="15188"/>
                    </a:lnTo>
                    <a:lnTo>
                      <a:pt x="4724" y="20914"/>
                    </a:lnTo>
                    <a:cubicBezTo>
                      <a:pt x="8686" y="21600"/>
                      <a:pt x="12952" y="21081"/>
                      <a:pt x="16167" y="19521"/>
                    </a:cubicBezTo>
                    <a:cubicBezTo>
                      <a:pt x="19834" y="17742"/>
                      <a:pt x="21600" y="14892"/>
                      <a:pt x="20771" y="12093"/>
                    </a:cubicBezTo>
                    <a:lnTo>
                      <a:pt x="18469" y="3584"/>
                    </a:lnTo>
                    <a:lnTo>
                      <a:pt x="11293"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34" name="Shape 534"/>
              <p:cNvSpPr/>
              <p:nvPr/>
            </p:nvSpPr>
            <p:spPr>
              <a:xfrm>
                <a:off x="3998569" y="4326682"/>
                <a:ext cx="91439" cy="45649"/>
              </a:xfrm>
              <a:custGeom>
                <a:avLst/>
                <a:gdLst/>
                <a:ahLst/>
                <a:cxnLst>
                  <a:cxn ang="0">
                    <a:pos x="wd2" y="hd2"/>
                  </a:cxn>
                  <a:cxn ang="5400000">
                    <a:pos x="wd2" y="hd2"/>
                  </a:cxn>
                  <a:cxn ang="10800000">
                    <a:pos x="wd2" y="hd2"/>
                  </a:cxn>
                  <a:cxn ang="16200000">
                    <a:pos x="wd2" y="hd2"/>
                  </a:cxn>
                </a:cxnLst>
                <a:rect l="0" t="0" r="r" b="b"/>
                <a:pathLst>
                  <a:path w="20516" h="20408" extrusionOk="0">
                    <a:moveTo>
                      <a:pt x="4937" y="0"/>
                    </a:moveTo>
                    <a:lnTo>
                      <a:pt x="649" y="3882"/>
                    </a:lnTo>
                    <a:lnTo>
                      <a:pt x="0" y="17047"/>
                    </a:lnTo>
                    <a:lnTo>
                      <a:pt x="5619" y="16300"/>
                    </a:lnTo>
                    <a:lnTo>
                      <a:pt x="11978" y="14148"/>
                    </a:lnTo>
                    <a:cubicBezTo>
                      <a:pt x="12597" y="18932"/>
                      <a:pt x="15156" y="21600"/>
                      <a:pt x="17481" y="19887"/>
                    </a:cubicBezTo>
                    <a:cubicBezTo>
                      <a:pt x="21175" y="17165"/>
                      <a:pt x="21600" y="7095"/>
                      <a:pt x="18187" y="3182"/>
                    </a:cubicBezTo>
                    <a:lnTo>
                      <a:pt x="13868" y="313"/>
                    </a:lnTo>
                    <a:lnTo>
                      <a:pt x="4937"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35" name="Shape 535"/>
              <p:cNvSpPr/>
              <p:nvPr/>
            </p:nvSpPr>
            <p:spPr>
              <a:xfrm>
                <a:off x="3935727" y="4372466"/>
                <a:ext cx="55920" cy="47953"/>
              </a:xfrm>
              <a:custGeom>
                <a:avLst/>
                <a:gdLst/>
                <a:ahLst/>
                <a:cxnLst>
                  <a:cxn ang="0">
                    <a:pos x="wd2" y="hd2"/>
                  </a:cxn>
                  <a:cxn ang="5400000">
                    <a:pos x="wd2" y="hd2"/>
                  </a:cxn>
                  <a:cxn ang="10800000">
                    <a:pos x="wd2" y="hd2"/>
                  </a:cxn>
                  <a:cxn ang="16200000">
                    <a:pos x="wd2" y="hd2"/>
                  </a:cxn>
                </a:cxnLst>
                <a:rect l="0" t="0" r="r" b="b"/>
                <a:pathLst>
                  <a:path w="21600" h="21456" extrusionOk="0">
                    <a:moveTo>
                      <a:pt x="12529" y="0"/>
                    </a:moveTo>
                    <a:lnTo>
                      <a:pt x="9020" y="6402"/>
                    </a:lnTo>
                    <a:lnTo>
                      <a:pt x="0" y="10890"/>
                    </a:lnTo>
                    <a:lnTo>
                      <a:pt x="1726" y="19983"/>
                    </a:lnTo>
                    <a:cubicBezTo>
                      <a:pt x="4112" y="21109"/>
                      <a:pt x="6687" y="21600"/>
                      <a:pt x="9259" y="21419"/>
                    </a:cubicBezTo>
                    <a:cubicBezTo>
                      <a:pt x="14047" y="21082"/>
                      <a:pt x="18507" y="18488"/>
                      <a:pt x="21600" y="14240"/>
                    </a:cubicBezTo>
                    <a:lnTo>
                      <a:pt x="12529"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36" name="Shape 536"/>
              <p:cNvSpPr/>
              <p:nvPr/>
            </p:nvSpPr>
            <p:spPr>
              <a:xfrm>
                <a:off x="3823464" y="4358564"/>
                <a:ext cx="28384" cy="39168"/>
              </a:xfrm>
              <a:custGeom>
                <a:avLst/>
                <a:gdLst/>
                <a:ahLst/>
                <a:cxnLst>
                  <a:cxn ang="0">
                    <a:pos x="wd2" y="hd2"/>
                  </a:cxn>
                  <a:cxn ang="5400000">
                    <a:pos x="wd2" y="hd2"/>
                  </a:cxn>
                  <a:cxn ang="10800000">
                    <a:pos x="wd2" y="hd2"/>
                  </a:cxn>
                  <a:cxn ang="16200000">
                    <a:pos x="wd2" y="hd2"/>
                  </a:cxn>
                </a:cxnLst>
                <a:rect l="0" t="0" r="r" b="b"/>
                <a:pathLst>
                  <a:path w="21600" h="21600" extrusionOk="0">
                    <a:moveTo>
                      <a:pt x="10532" y="0"/>
                    </a:moveTo>
                    <a:lnTo>
                      <a:pt x="0" y="8076"/>
                    </a:lnTo>
                    <a:lnTo>
                      <a:pt x="7701" y="21600"/>
                    </a:lnTo>
                    <a:lnTo>
                      <a:pt x="21600" y="12165"/>
                    </a:lnTo>
                    <a:lnTo>
                      <a:pt x="10532"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37" name="Shape 537"/>
              <p:cNvSpPr/>
              <p:nvPr/>
            </p:nvSpPr>
            <p:spPr>
              <a:xfrm>
                <a:off x="3928392" y="4390483"/>
                <a:ext cx="315262" cy="186139"/>
              </a:xfrm>
              <a:custGeom>
                <a:avLst/>
                <a:gdLst/>
                <a:ahLst/>
                <a:cxnLst>
                  <a:cxn ang="0">
                    <a:pos x="wd2" y="hd2"/>
                  </a:cxn>
                  <a:cxn ang="5400000">
                    <a:pos x="wd2" y="hd2"/>
                  </a:cxn>
                  <a:cxn ang="10800000">
                    <a:pos x="wd2" y="hd2"/>
                  </a:cxn>
                  <a:cxn ang="16200000">
                    <a:pos x="wd2" y="hd2"/>
                  </a:cxn>
                </a:cxnLst>
                <a:rect l="0" t="0" r="r" b="b"/>
                <a:pathLst>
                  <a:path w="21442" h="21600" extrusionOk="0">
                    <a:moveTo>
                      <a:pt x="10688" y="2269"/>
                    </a:moveTo>
                    <a:lnTo>
                      <a:pt x="8365" y="5138"/>
                    </a:lnTo>
                    <a:lnTo>
                      <a:pt x="6581" y="4846"/>
                    </a:lnTo>
                    <a:lnTo>
                      <a:pt x="5179" y="5025"/>
                    </a:lnTo>
                    <a:lnTo>
                      <a:pt x="3513" y="7003"/>
                    </a:lnTo>
                    <a:lnTo>
                      <a:pt x="2812" y="9539"/>
                    </a:lnTo>
                    <a:lnTo>
                      <a:pt x="3993" y="10283"/>
                    </a:lnTo>
                    <a:lnTo>
                      <a:pt x="4866" y="12828"/>
                    </a:lnTo>
                    <a:lnTo>
                      <a:pt x="3561" y="14674"/>
                    </a:lnTo>
                    <a:lnTo>
                      <a:pt x="3379" y="16597"/>
                    </a:lnTo>
                    <a:lnTo>
                      <a:pt x="907" y="17342"/>
                    </a:lnTo>
                    <a:lnTo>
                      <a:pt x="0" y="20483"/>
                    </a:lnTo>
                    <a:lnTo>
                      <a:pt x="1965" y="21600"/>
                    </a:lnTo>
                    <a:cubicBezTo>
                      <a:pt x="2527" y="21022"/>
                      <a:pt x="3095" y="20464"/>
                      <a:pt x="3670" y="19925"/>
                    </a:cubicBezTo>
                    <a:cubicBezTo>
                      <a:pt x="4635" y="19021"/>
                      <a:pt x="5617" y="18172"/>
                      <a:pt x="6616" y="17381"/>
                    </a:cubicBezTo>
                    <a:cubicBezTo>
                      <a:pt x="6992" y="15657"/>
                      <a:pt x="8163" y="14875"/>
                      <a:pt x="9125" y="15705"/>
                    </a:cubicBezTo>
                    <a:cubicBezTo>
                      <a:pt x="9895" y="16371"/>
                      <a:pt x="10265" y="17898"/>
                      <a:pt x="9993" y="19297"/>
                    </a:cubicBezTo>
                    <a:lnTo>
                      <a:pt x="11916" y="15876"/>
                    </a:lnTo>
                    <a:cubicBezTo>
                      <a:pt x="11807" y="14699"/>
                      <a:pt x="12006" y="13499"/>
                      <a:pt x="12461" y="12595"/>
                    </a:cubicBezTo>
                    <a:cubicBezTo>
                      <a:pt x="13240" y="11050"/>
                      <a:pt x="14550" y="10660"/>
                      <a:pt x="15589" y="11665"/>
                    </a:cubicBezTo>
                    <a:lnTo>
                      <a:pt x="18025" y="8500"/>
                    </a:lnTo>
                    <a:cubicBezTo>
                      <a:pt x="18812" y="9933"/>
                      <a:pt x="20144" y="9933"/>
                      <a:pt x="20930" y="8500"/>
                    </a:cubicBezTo>
                    <a:cubicBezTo>
                      <a:pt x="21483" y="7493"/>
                      <a:pt x="21600" y="5997"/>
                      <a:pt x="21221" y="4778"/>
                    </a:cubicBezTo>
                    <a:lnTo>
                      <a:pt x="16857" y="0"/>
                    </a:lnTo>
                    <a:cubicBezTo>
                      <a:pt x="16003" y="558"/>
                      <a:pt x="15155" y="1138"/>
                      <a:pt x="14311" y="1740"/>
                    </a:cubicBezTo>
                    <a:cubicBezTo>
                      <a:pt x="13470" y="2341"/>
                      <a:pt x="12633" y="2964"/>
                      <a:pt x="11802" y="3609"/>
                    </a:cubicBezTo>
                    <a:lnTo>
                      <a:pt x="10688" y="2269"/>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38" name="Shape 538"/>
              <p:cNvSpPr/>
              <p:nvPr/>
            </p:nvSpPr>
            <p:spPr>
              <a:xfrm>
                <a:off x="4268420" y="4406631"/>
                <a:ext cx="75388" cy="48760"/>
              </a:xfrm>
              <a:custGeom>
                <a:avLst/>
                <a:gdLst/>
                <a:ahLst/>
                <a:cxnLst>
                  <a:cxn ang="0">
                    <a:pos x="wd2" y="hd2"/>
                  </a:cxn>
                  <a:cxn ang="5400000">
                    <a:pos x="wd2" y="hd2"/>
                  </a:cxn>
                  <a:cxn ang="10800000">
                    <a:pos x="wd2" y="hd2"/>
                  </a:cxn>
                  <a:cxn ang="16200000">
                    <a:pos x="wd2" y="hd2"/>
                  </a:cxn>
                </a:cxnLst>
                <a:rect l="0" t="0" r="r" b="b"/>
                <a:pathLst>
                  <a:path w="21600" h="21600" extrusionOk="0">
                    <a:moveTo>
                      <a:pt x="13916" y="0"/>
                    </a:moveTo>
                    <a:lnTo>
                      <a:pt x="7327" y="1214"/>
                    </a:lnTo>
                    <a:lnTo>
                      <a:pt x="0" y="10763"/>
                    </a:lnTo>
                    <a:lnTo>
                      <a:pt x="5173" y="21600"/>
                    </a:lnTo>
                    <a:lnTo>
                      <a:pt x="16698" y="11889"/>
                    </a:lnTo>
                    <a:lnTo>
                      <a:pt x="21600" y="6440"/>
                    </a:lnTo>
                    <a:lnTo>
                      <a:pt x="13916"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39" name="Shape 539"/>
              <p:cNvSpPr/>
              <p:nvPr/>
            </p:nvSpPr>
            <p:spPr>
              <a:xfrm>
                <a:off x="2998963" y="5541023"/>
                <a:ext cx="146397" cy="81236"/>
              </a:xfrm>
              <a:custGeom>
                <a:avLst/>
                <a:gdLst/>
                <a:ahLst/>
                <a:cxnLst>
                  <a:cxn ang="0">
                    <a:pos x="wd2" y="hd2"/>
                  </a:cxn>
                  <a:cxn ang="5400000">
                    <a:pos x="wd2" y="hd2"/>
                  </a:cxn>
                  <a:cxn ang="10800000">
                    <a:pos x="wd2" y="hd2"/>
                  </a:cxn>
                  <a:cxn ang="16200000">
                    <a:pos x="wd2" y="hd2"/>
                  </a:cxn>
                </a:cxnLst>
                <a:rect l="0" t="0" r="r" b="b"/>
                <a:pathLst>
                  <a:path w="20918" h="21600" extrusionOk="0">
                    <a:moveTo>
                      <a:pt x="9444" y="0"/>
                    </a:moveTo>
                    <a:cubicBezTo>
                      <a:pt x="8750" y="158"/>
                      <a:pt x="8056" y="316"/>
                      <a:pt x="7362" y="474"/>
                    </a:cubicBezTo>
                    <a:cubicBezTo>
                      <a:pt x="6669" y="632"/>
                      <a:pt x="5975" y="790"/>
                      <a:pt x="5281" y="948"/>
                    </a:cubicBezTo>
                    <a:lnTo>
                      <a:pt x="0" y="7666"/>
                    </a:lnTo>
                    <a:lnTo>
                      <a:pt x="1291" y="12904"/>
                    </a:lnTo>
                    <a:lnTo>
                      <a:pt x="730" y="18969"/>
                    </a:lnTo>
                    <a:lnTo>
                      <a:pt x="4168" y="21600"/>
                    </a:lnTo>
                    <a:lnTo>
                      <a:pt x="6919" y="17642"/>
                    </a:lnTo>
                    <a:lnTo>
                      <a:pt x="11708" y="14231"/>
                    </a:lnTo>
                    <a:lnTo>
                      <a:pt x="14649" y="18187"/>
                    </a:lnTo>
                    <a:cubicBezTo>
                      <a:pt x="15852" y="19903"/>
                      <a:pt x="17488" y="20126"/>
                      <a:pt x="18814" y="18756"/>
                    </a:cubicBezTo>
                    <a:cubicBezTo>
                      <a:pt x="21018" y="16477"/>
                      <a:pt x="21600" y="11064"/>
                      <a:pt x="20036" y="7382"/>
                    </a:cubicBezTo>
                    <a:lnTo>
                      <a:pt x="10281" y="7951"/>
                    </a:lnTo>
                    <a:lnTo>
                      <a:pt x="9444" y="0"/>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sp>
            <p:nvSpPr>
              <p:cNvPr id="540" name="Shape 540"/>
              <p:cNvSpPr/>
              <p:nvPr/>
            </p:nvSpPr>
            <p:spPr>
              <a:xfrm>
                <a:off x="0" y="3323823"/>
                <a:ext cx="113879" cy="291121"/>
              </a:xfrm>
              <a:custGeom>
                <a:avLst/>
                <a:gdLst/>
                <a:ahLst/>
                <a:cxnLst>
                  <a:cxn ang="0">
                    <a:pos x="wd2" y="hd2"/>
                  </a:cxn>
                  <a:cxn ang="5400000">
                    <a:pos x="wd2" y="hd2"/>
                  </a:cxn>
                  <a:cxn ang="10800000">
                    <a:pos x="wd2" y="hd2"/>
                  </a:cxn>
                  <a:cxn ang="16200000">
                    <a:pos x="wd2" y="hd2"/>
                  </a:cxn>
                </a:cxnLst>
                <a:rect l="0" t="0" r="r" b="b"/>
                <a:pathLst>
                  <a:path w="21600" h="21600" extrusionOk="0">
                    <a:moveTo>
                      <a:pt x="0" y="258"/>
                    </a:moveTo>
                    <a:lnTo>
                      <a:pt x="6998" y="0"/>
                    </a:lnTo>
                    <a:lnTo>
                      <a:pt x="7417" y="2219"/>
                    </a:lnTo>
                    <a:lnTo>
                      <a:pt x="11745" y="4335"/>
                    </a:lnTo>
                    <a:lnTo>
                      <a:pt x="14449" y="6610"/>
                    </a:lnTo>
                    <a:lnTo>
                      <a:pt x="16072" y="9777"/>
                    </a:lnTo>
                    <a:lnTo>
                      <a:pt x="16207" y="11728"/>
                    </a:lnTo>
                    <a:lnTo>
                      <a:pt x="18084" y="13467"/>
                    </a:lnTo>
                    <a:lnTo>
                      <a:pt x="18084" y="15319"/>
                    </a:lnTo>
                    <a:lnTo>
                      <a:pt x="20112" y="18168"/>
                    </a:lnTo>
                    <a:lnTo>
                      <a:pt x="21600" y="20602"/>
                    </a:lnTo>
                    <a:lnTo>
                      <a:pt x="17948" y="21600"/>
                    </a:lnTo>
                    <a:lnTo>
                      <a:pt x="14905" y="18863"/>
                    </a:lnTo>
                    <a:lnTo>
                      <a:pt x="13687" y="14313"/>
                    </a:lnTo>
                    <a:cubicBezTo>
                      <a:pt x="12597" y="13444"/>
                      <a:pt x="11654" y="12547"/>
                      <a:pt x="10865" y="11629"/>
                    </a:cubicBezTo>
                    <a:cubicBezTo>
                      <a:pt x="10077" y="10711"/>
                      <a:pt x="9445" y="9775"/>
                      <a:pt x="8972" y="8825"/>
                    </a:cubicBezTo>
                    <a:lnTo>
                      <a:pt x="7501" y="6299"/>
                    </a:lnTo>
                    <a:lnTo>
                      <a:pt x="5522" y="3819"/>
                    </a:lnTo>
                    <a:lnTo>
                      <a:pt x="0" y="258"/>
                    </a:lnTo>
                    <a:close/>
                  </a:path>
                </a:pathLst>
              </a:custGeom>
              <a:solidFill>
                <a:srgbClr val="343650"/>
              </a:solidFill>
              <a:ln w="3175" cap="flat">
                <a:noFill/>
                <a:miter lim="400000"/>
              </a:ln>
              <a:effectLst/>
            </p:spPr>
            <p:txBody>
              <a:bodyPr wrap="square" lIns="22860" tIns="22860" rIns="22860" bIns="22860" numCol="1" anchor="ctr">
                <a:noAutofit/>
              </a:bodyPr>
              <a:lstStyle/>
              <a:p>
                <a:pPr defTabSz="228574">
                  <a:defRPr sz="8400">
                    <a:solidFill>
                      <a:srgbClr val="070707"/>
                    </a:solidFill>
                    <a:latin typeface="Calibri"/>
                    <a:ea typeface="Calibri"/>
                    <a:cs typeface="Calibri"/>
                    <a:sym typeface="Calibri"/>
                  </a:defRPr>
                </a:pPr>
                <a:endParaRPr sz="4200"/>
              </a:p>
            </p:txBody>
          </p:sp>
        </p:grpSp>
      </p:grpSp>
      <p:sp>
        <p:nvSpPr>
          <p:cNvPr id="543" name="Shape 543"/>
          <p:cNvSpPr/>
          <p:nvPr/>
        </p:nvSpPr>
        <p:spPr>
          <a:xfrm>
            <a:off x="3930814" y="1745482"/>
            <a:ext cx="4330372" cy="4330372"/>
          </a:xfrm>
          <a:prstGeom prst="ellipse">
            <a:avLst/>
          </a:prstGeom>
          <a:ln w="76200">
            <a:solidFill>
              <a:srgbClr val="343650"/>
            </a:solidFill>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544" name="Shape 544"/>
          <p:cNvSpPr/>
          <p:nvPr/>
        </p:nvSpPr>
        <p:spPr>
          <a:xfrm>
            <a:off x="4337852" y="2178528"/>
            <a:ext cx="420271" cy="420271"/>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545" name="Shape 545"/>
          <p:cNvSpPr/>
          <p:nvPr/>
        </p:nvSpPr>
        <p:spPr>
          <a:xfrm>
            <a:off x="4463028" y="2317851"/>
            <a:ext cx="169918" cy="164660"/>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none" lIns="19050" tIns="19050" rIns="19050" bIns="19050" numCol="1" anchor="ctr">
            <a:spAutoFit/>
          </a:bodyPr>
          <a:lstStyle>
            <a:lvl1pPr algn="ctr">
              <a:lnSpc>
                <a:spcPct val="80000"/>
              </a:lnSpc>
              <a:defRPr sz="2000" b="1">
                <a:solidFill>
                  <a:srgbClr val="1D1F30"/>
                </a:solidFill>
                <a:latin typeface="Avenir Next"/>
                <a:ea typeface="Avenir Next"/>
                <a:cs typeface="Avenir Next"/>
                <a:sym typeface="Avenir Next"/>
              </a:defRPr>
            </a:lvl1pPr>
          </a:lstStyle>
          <a:p>
            <a:r>
              <a:rPr sz="1000">
                <a:latin typeface="+mn-lt"/>
              </a:rPr>
              <a:t>01</a:t>
            </a:r>
          </a:p>
        </p:txBody>
      </p:sp>
      <p:sp>
        <p:nvSpPr>
          <p:cNvPr id="547" name="Shape 547"/>
          <p:cNvSpPr/>
          <p:nvPr/>
        </p:nvSpPr>
        <p:spPr>
          <a:xfrm>
            <a:off x="4337852" y="5190426"/>
            <a:ext cx="420271" cy="420271"/>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548" name="Shape 548"/>
          <p:cNvSpPr/>
          <p:nvPr/>
        </p:nvSpPr>
        <p:spPr>
          <a:xfrm>
            <a:off x="4463028" y="5329749"/>
            <a:ext cx="169918" cy="164660"/>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none" lIns="19050" tIns="19050" rIns="19050" bIns="19050" numCol="1" anchor="ctr">
            <a:spAutoFit/>
          </a:bodyPr>
          <a:lstStyle>
            <a:lvl1pPr algn="ctr">
              <a:lnSpc>
                <a:spcPct val="80000"/>
              </a:lnSpc>
              <a:defRPr sz="2000" b="1">
                <a:solidFill>
                  <a:srgbClr val="1D1F30"/>
                </a:solidFill>
                <a:latin typeface="Avenir Next"/>
                <a:ea typeface="Avenir Next"/>
                <a:cs typeface="Avenir Next"/>
                <a:sym typeface="Avenir Next"/>
              </a:defRPr>
            </a:lvl1pPr>
          </a:lstStyle>
          <a:p>
            <a:r>
              <a:rPr sz="1000">
                <a:latin typeface="+mn-lt"/>
              </a:rPr>
              <a:t>03</a:t>
            </a:r>
          </a:p>
        </p:txBody>
      </p:sp>
      <p:sp>
        <p:nvSpPr>
          <p:cNvPr id="550" name="Shape 550"/>
          <p:cNvSpPr/>
          <p:nvPr/>
        </p:nvSpPr>
        <p:spPr>
          <a:xfrm>
            <a:off x="3730895" y="3684477"/>
            <a:ext cx="420271" cy="420271"/>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551" name="Shape 551"/>
          <p:cNvSpPr/>
          <p:nvPr/>
        </p:nvSpPr>
        <p:spPr>
          <a:xfrm>
            <a:off x="3856071" y="3823800"/>
            <a:ext cx="169918" cy="164660"/>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none" lIns="19050" tIns="19050" rIns="19050" bIns="19050" numCol="1" anchor="ctr">
            <a:spAutoFit/>
          </a:bodyPr>
          <a:lstStyle>
            <a:lvl1pPr algn="ctr">
              <a:lnSpc>
                <a:spcPct val="80000"/>
              </a:lnSpc>
              <a:defRPr sz="2000" b="1">
                <a:solidFill>
                  <a:srgbClr val="1D1F30"/>
                </a:solidFill>
                <a:latin typeface="Avenir Next"/>
                <a:ea typeface="Avenir Next"/>
                <a:cs typeface="Avenir Next"/>
                <a:sym typeface="Avenir Next"/>
              </a:defRPr>
            </a:lvl1pPr>
          </a:lstStyle>
          <a:p>
            <a:r>
              <a:rPr sz="1000">
                <a:latin typeface="+mn-lt"/>
              </a:rPr>
              <a:t>02</a:t>
            </a:r>
          </a:p>
        </p:txBody>
      </p:sp>
      <p:sp>
        <p:nvSpPr>
          <p:cNvPr id="553" name="Shape 553"/>
          <p:cNvSpPr/>
          <p:nvPr/>
        </p:nvSpPr>
        <p:spPr>
          <a:xfrm>
            <a:off x="7203074" y="2003016"/>
            <a:ext cx="420271" cy="420271"/>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554" name="Shape 554"/>
          <p:cNvSpPr/>
          <p:nvPr/>
        </p:nvSpPr>
        <p:spPr>
          <a:xfrm>
            <a:off x="7347930" y="2130849"/>
            <a:ext cx="169918" cy="164660"/>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none" lIns="19050" tIns="19050" rIns="19050" bIns="19050" numCol="1" anchor="ctr">
            <a:spAutoFit/>
          </a:bodyPr>
          <a:lstStyle>
            <a:lvl1pPr algn="ctr">
              <a:lnSpc>
                <a:spcPct val="80000"/>
              </a:lnSpc>
              <a:defRPr sz="2000" b="1">
                <a:solidFill>
                  <a:srgbClr val="1D1F30"/>
                </a:solidFill>
                <a:latin typeface="Avenir Next"/>
                <a:ea typeface="Avenir Next"/>
                <a:cs typeface="Avenir Next"/>
                <a:sym typeface="Avenir Next"/>
              </a:defRPr>
            </a:lvl1pPr>
          </a:lstStyle>
          <a:p>
            <a:r>
              <a:rPr sz="1000" dirty="0">
                <a:latin typeface="+mn-lt"/>
              </a:rPr>
              <a:t>0</a:t>
            </a:r>
            <a:r>
              <a:rPr lang="en-US" sz="1000" dirty="0">
                <a:latin typeface="+mn-lt"/>
              </a:rPr>
              <a:t>9</a:t>
            </a:r>
            <a:endParaRPr sz="1000" dirty="0">
              <a:latin typeface="+mn-lt"/>
            </a:endParaRPr>
          </a:p>
        </p:txBody>
      </p:sp>
      <p:sp>
        <p:nvSpPr>
          <p:cNvPr id="556" name="Shape 556"/>
          <p:cNvSpPr/>
          <p:nvPr/>
        </p:nvSpPr>
        <p:spPr>
          <a:xfrm>
            <a:off x="7449738" y="5190426"/>
            <a:ext cx="420271" cy="420271"/>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557" name="Shape 557"/>
          <p:cNvSpPr/>
          <p:nvPr/>
        </p:nvSpPr>
        <p:spPr>
          <a:xfrm>
            <a:off x="7574914" y="5329749"/>
            <a:ext cx="169918" cy="164660"/>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none" lIns="19050" tIns="19050" rIns="19050" bIns="19050" numCol="1" anchor="ctr">
            <a:spAutoFit/>
          </a:bodyPr>
          <a:lstStyle>
            <a:lvl1pPr algn="ctr">
              <a:lnSpc>
                <a:spcPct val="80000"/>
              </a:lnSpc>
              <a:defRPr sz="2000" b="1">
                <a:solidFill>
                  <a:srgbClr val="1D1F30"/>
                </a:solidFill>
                <a:latin typeface="Avenir Next"/>
                <a:ea typeface="Avenir Next"/>
                <a:cs typeface="Avenir Next"/>
                <a:sym typeface="Avenir Next"/>
              </a:defRPr>
            </a:lvl1pPr>
          </a:lstStyle>
          <a:p>
            <a:r>
              <a:rPr sz="1000" dirty="0">
                <a:latin typeface="+mn-lt"/>
              </a:rPr>
              <a:t>0</a:t>
            </a:r>
            <a:r>
              <a:rPr lang="en-US" sz="1000" dirty="0">
                <a:latin typeface="+mn-lt"/>
              </a:rPr>
              <a:t>6</a:t>
            </a:r>
            <a:endParaRPr sz="1000" dirty="0">
              <a:latin typeface="+mn-lt"/>
            </a:endParaRPr>
          </a:p>
        </p:txBody>
      </p:sp>
      <p:sp>
        <p:nvSpPr>
          <p:cNvPr id="559" name="Shape 559"/>
          <p:cNvSpPr/>
          <p:nvPr/>
        </p:nvSpPr>
        <p:spPr>
          <a:xfrm>
            <a:off x="7876396" y="2918385"/>
            <a:ext cx="420271" cy="420271"/>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560" name="Shape 560"/>
          <p:cNvSpPr/>
          <p:nvPr/>
        </p:nvSpPr>
        <p:spPr>
          <a:xfrm>
            <a:off x="8003563" y="3048523"/>
            <a:ext cx="169918" cy="164660"/>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none" lIns="19050" tIns="19050" rIns="19050" bIns="19050" numCol="1" anchor="ctr">
            <a:spAutoFit/>
          </a:bodyPr>
          <a:lstStyle>
            <a:lvl1pPr algn="ctr">
              <a:lnSpc>
                <a:spcPct val="80000"/>
              </a:lnSpc>
              <a:defRPr sz="2000" b="1">
                <a:solidFill>
                  <a:srgbClr val="1D1F30"/>
                </a:solidFill>
                <a:latin typeface="Avenir Next"/>
                <a:ea typeface="Avenir Next"/>
                <a:cs typeface="Avenir Next"/>
                <a:sym typeface="Avenir Next"/>
              </a:defRPr>
            </a:lvl1pPr>
          </a:lstStyle>
          <a:p>
            <a:r>
              <a:rPr sz="1000" dirty="0">
                <a:latin typeface="+mn-lt"/>
              </a:rPr>
              <a:t>0</a:t>
            </a:r>
            <a:r>
              <a:rPr lang="en-US" sz="1000" dirty="0">
                <a:latin typeface="+mn-lt"/>
              </a:rPr>
              <a:t>8</a:t>
            </a:r>
            <a:endParaRPr sz="1000" dirty="0">
              <a:latin typeface="+mn-lt"/>
            </a:endParaRPr>
          </a:p>
        </p:txBody>
      </p:sp>
      <p:sp>
        <p:nvSpPr>
          <p:cNvPr id="571" name="Shape 571"/>
          <p:cNvSpPr/>
          <p:nvPr/>
        </p:nvSpPr>
        <p:spPr>
          <a:xfrm>
            <a:off x="8467596" y="4767955"/>
            <a:ext cx="3683536" cy="951778"/>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Autofit/>
          </a:bodyPr>
          <a:lstStyle>
            <a:lvl1pPr algn="r">
              <a:defRPr sz="5000" cap="all">
                <a:latin typeface="Avenir Next Demi Bold"/>
                <a:ea typeface="Avenir Next Demi Bold"/>
                <a:cs typeface="Avenir Next Demi Bold"/>
                <a:sym typeface="Avenir Next Demi Bold"/>
              </a:defRPr>
            </a:lvl1pPr>
          </a:lstStyle>
          <a:p>
            <a:pPr algn="l"/>
            <a:r>
              <a:rPr lang="en-US" sz="1400" b="1" dirty="0">
                <a:solidFill>
                  <a:srgbClr val="652D74"/>
                </a:solidFill>
                <a:latin typeface="Book Antiqua" panose="02040602050305030304" pitchFamily="18" charset="0"/>
              </a:rPr>
              <a:t>SVM (Support Vector Machine)</a:t>
            </a:r>
            <a:r>
              <a:rPr lang="en-US" sz="1400" dirty="0">
                <a:solidFill>
                  <a:srgbClr val="652D74"/>
                </a:solidFill>
                <a:latin typeface="Book Antiqua" panose="02040602050305030304" pitchFamily="18" charset="0"/>
              </a:rPr>
              <a:t>:</a:t>
            </a:r>
          </a:p>
          <a:p>
            <a:pPr lvl="1"/>
            <a:r>
              <a:rPr lang="en-US" sz="1400" dirty="0">
                <a:solidFill>
                  <a:srgbClr val="652D74"/>
                </a:solidFill>
                <a:latin typeface="Book Antiqua" panose="02040602050305030304" pitchFamily="18" charset="0"/>
              </a:rPr>
              <a:t>Train Accuracy: 97.4%</a:t>
            </a:r>
          </a:p>
          <a:p>
            <a:pPr lvl="1"/>
            <a:r>
              <a:rPr lang="en-US" sz="1400" dirty="0">
                <a:solidFill>
                  <a:srgbClr val="652D74"/>
                </a:solidFill>
                <a:latin typeface="Book Antiqua" panose="02040602050305030304" pitchFamily="18" charset="0"/>
              </a:rPr>
              <a:t>Test Accuracy: 75.8%</a:t>
            </a:r>
          </a:p>
        </p:txBody>
      </p:sp>
      <p:sp>
        <p:nvSpPr>
          <p:cNvPr id="574" name="Shape 574"/>
          <p:cNvSpPr/>
          <p:nvPr/>
        </p:nvSpPr>
        <p:spPr>
          <a:xfrm>
            <a:off x="707046" y="3412549"/>
            <a:ext cx="939087" cy="939087"/>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575" name="Shape 575"/>
          <p:cNvSpPr/>
          <p:nvPr/>
        </p:nvSpPr>
        <p:spPr>
          <a:xfrm>
            <a:off x="826483" y="3717517"/>
            <a:ext cx="738312" cy="401902"/>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rmAutofit fontScale="77500" lnSpcReduction="20000"/>
          </a:bodyPr>
          <a:lstStyle>
            <a:lvl1pPr algn="ctr">
              <a:defRPr sz="3700" cap="all">
                <a:solidFill>
                  <a:srgbClr val="1D1F30"/>
                </a:solidFill>
                <a:latin typeface="Avenir Next Demi Bold"/>
                <a:ea typeface="Avenir Next Demi Bold"/>
                <a:cs typeface="Avenir Next Demi Bold"/>
                <a:sym typeface="Avenir Next Demi Bold"/>
              </a:defRPr>
            </a:lvl1pPr>
          </a:lstStyle>
          <a:p>
            <a:r>
              <a:rPr lang="en-US" sz="1850" dirty="0">
                <a:latin typeface="Book Antiqua" panose="02040602050305030304" pitchFamily="18" charset="0"/>
              </a:rPr>
              <a:t>Churn</a:t>
            </a:r>
            <a:endParaRPr sz="1850" dirty="0">
              <a:latin typeface="Book Antiqua" panose="02040602050305030304" pitchFamily="18" charset="0"/>
            </a:endParaRPr>
          </a:p>
        </p:txBody>
      </p:sp>
      <p:sp>
        <p:nvSpPr>
          <p:cNvPr id="576" name="Shape 576"/>
          <p:cNvSpPr/>
          <p:nvPr/>
        </p:nvSpPr>
        <p:spPr>
          <a:xfrm>
            <a:off x="522147" y="3227650"/>
            <a:ext cx="1308885" cy="1308885"/>
          </a:xfrm>
          <a:prstGeom prst="ellipse">
            <a:avLst/>
          </a:prstGeom>
          <a:noFill/>
          <a:ln w="76200" cap="flat">
            <a:solidFill>
              <a:srgbClr val="343750"/>
            </a:solidFill>
            <a:prstDash val="solid"/>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578" name="Shape 578"/>
          <p:cNvSpPr/>
          <p:nvPr/>
        </p:nvSpPr>
        <p:spPr>
          <a:xfrm>
            <a:off x="10545868" y="3412549"/>
            <a:ext cx="939087" cy="939087"/>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579" name="Shape 579"/>
          <p:cNvSpPr/>
          <p:nvPr/>
        </p:nvSpPr>
        <p:spPr>
          <a:xfrm>
            <a:off x="10665306" y="3717517"/>
            <a:ext cx="700211" cy="401902"/>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Autofit/>
          </a:bodyPr>
          <a:lstStyle>
            <a:lvl1pPr algn="ctr">
              <a:defRPr sz="3700" cap="all">
                <a:solidFill>
                  <a:srgbClr val="1D1F30"/>
                </a:solidFill>
                <a:latin typeface="Avenir Next Demi Bold"/>
                <a:ea typeface="Avenir Next Demi Bold"/>
                <a:cs typeface="Avenir Next Demi Bold"/>
                <a:sym typeface="Avenir Next Demi Bold"/>
              </a:defRPr>
            </a:lvl1pPr>
          </a:lstStyle>
          <a:p>
            <a:r>
              <a:rPr lang="en-US" sz="1400" dirty="0">
                <a:latin typeface="Book Antiqua" panose="02040602050305030304" pitchFamily="18" charset="0"/>
              </a:rPr>
              <a:t>Customers</a:t>
            </a:r>
            <a:endParaRPr sz="1400" dirty="0">
              <a:latin typeface="Book Antiqua" panose="02040602050305030304" pitchFamily="18" charset="0"/>
            </a:endParaRPr>
          </a:p>
        </p:txBody>
      </p:sp>
      <p:sp>
        <p:nvSpPr>
          <p:cNvPr id="580" name="Shape 580"/>
          <p:cNvSpPr/>
          <p:nvPr/>
        </p:nvSpPr>
        <p:spPr>
          <a:xfrm>
            <a:off x="10360969" y="3227650"/>
            <a:ext cx="1308885" cy="1308885"/>
          </a:xfrm>
          <a:prstGeom prst="ellipse">
            <a:avLst/>
          </a:prstGeom>
          <a:noFill/>
          <a:ln w="76200" cap="flat">
            <a:solidFill>
              <a:srgbClr val="343750"/>
            </a:solidFill>
            <a:prstDash val="solid"/>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582" name="Shape 582"/>
          <p:cNvSpPr/>
          <p:nvPr/>
        </p:nvSpPr>
        <p:spPr>
          <a:xfrm rot="2700000">
            <a:off x="5058297" y="3882883"/>
            <a:ext cx="280645" cy="293665"/>
          </a:xfrm>
          <a:custGeom>
            <a:avLst/>
            <a:gdLst/>
            <a:ahLst/>
            <a:cxnLst>
              <a:cxn ang="0">
                <a:pos x="wd2" y="hd2"/>
              </a:cxn>
              <a:cxn ang="5400000">
                <a:pos x="wd2" y="hd2"/>
              </a:cxn>
              <a:cxn ang="10800000">
                <a:pos x="wd2" y="hd2"/>
              </a:cxn>
              <a:cxn ang="16200000">
                <a:pos x="wd2" y="hd2"/>
              </a:cxn>
            </a:cxnLst>
            <a:rect l="0" t="0" r="r" b="b"/>
            <a:pathLst>
              <a:path w="21600" h="21600" extrusionOk="0">
                <a:moveTo>
                  <a:pt x="21600" y="15020"/>
                </a:moveTo>
                <a:lnTo>
                  <a:pt x="21600" y="12986"/>
                </a:lnTo>
                <a:lnTo>
                  <a:pt x="12524" y="7618"/>
                </a:lnTo>
                <a:lnTo>
                  <a:pt x="12524" y="1645"/>
                </a:lnTo>
                <a:cubicBezTo>
                  <a:pt x="12524" y="822"/>
                  <a:pt x="11662" y="0"/>
                  <a:pt x="10800" y="0"/>
                </a:cubicBezTo>
                <a:cubicBezTo>
                  <a:pt x="9938" y="0"/>
                  <a:pt x="9076" y="822"/>
                  <a:pt x="9076" y="1645"/>
                </a:cubicBezTo>
                <a:lnTo>
                  <a:pt x="9076" y="7618"/>
                </a:lnTo>
                <a:lnTo>
                  <a:pt x="0" y="12986"/>
                </a:lnTo>
                <a:lnTo>
                  <a:pt x="0" y="15020"/>
                </a:lnTo>
                <a:lnTo>
                  <a:pt x="9076" y="12337"/>
                </a:lnTo>
                <a:lnTo>
                  <a:pt x="9076" y="18310"/>
                </a:lnTo>
                <a:lnTo>
                  <a:pt x="6897" y="19955"/>
                </a:lnTo>
                <a:lnTo>
                  <a:pt x="6897" y="21600"/>
                </a:lnTo>
                <a:lnTo>
                  <a:pt x="10800" y="20604"/>
                </a:lnTo>
                <a:lnTo>
                  <a:pt x="14657" y="21600"/>
                </a:lnTo>
                <a:lnTo>
                  <a:pt x="14657" y="19955"/>
                </a:lnTo>
                <a:lnTo>
                  <a:pt x="12524" y="18310"/>
                </a:lnTo>
                <a:lnTo>
                  <a:pt x="12524" y="12337"/>
                </a:lnTo>
                <a:lnTo>
                  <a:pt x="21600" y="15020"/>
                </a:lnTo>
              </a:path>
            </a:pathLst>
          </a:custGeom>
          <a:solidFill>
            <a:srgbClr val="ABADC2"/>
          </a:solidFill>
          <a:ln w="3175">
            <a:miter lim="400000"/>
          </a:ln>
        </p:spPr>
        <p:txBody>
          <a:bodyPr lIns="22860" rIns="22860" anchor="ctr"/>
          <a:lstStyle/>
          <a:p>
            <a:pPr defTabSz="457200">
              <a:defRPr sz="1800">
                <a:solidFill>
                  <a:srgbClr val="000000"/>
                </a:solidFill>
                <a:latin typeface="Roboto Regular"/>
                <a:ea typeface="Roboto Regular"/>
                <a:cs typeface="Roboto Regular"/>
                <a:sym typeface="Roboto Regular"/>
              </a:defRPr>
            </a:pPr>
            <a:endParaRPr sz="900"/>
          </a:p>
        </p:txBody>
      </p:sp>
      <p:sp>
        <p:nvSpPr>
          <p:cNvPr id="583" name="Shape 583"/>
          <p:cNvSpPr/>
          <p:nvPr/>
        </p:nvSpPr>
        <p:spPr>
          <a:xfrm>
            <a:off x="5371391" y="2824848"/>
            <a:ext cx="1741174" cy="1050345"/>
          </a:xfrm>
          <a:custGeom>
            <a:avLst/>
            <a:gdLst/>
            <a:ahLst/>
            <a:cxnLst>
              <a:cxn ang="0">
                <a:pos x="wd2" y="hd2"/>
              </a:cxn>
              <a:cxn ang="5400000">
                <a:pos x="wd2" y="hd2"/>
              </a:cxn>
              <a:cxn ang="10800000">
                <a:pos x="wd2" y="hd2"/>
              </a:cxn>
              <a:cxn ang="16200000">
                <a:pos x="wd2" y="hd2"/>
              </a:cxn>
            </a:cxnLst>
            <a:rect l="0" t="0" r="r" b="b"/>
            <a:pathLst>
              <a:path w="21600" h="19370" extrusionOk="0">
                <a:moveTo>
                  <a:pt x="0" y="19370"/>
                </a:moveTo>
                <a:cubicBezTo>
                  <a:pt x="2021" y="16169"/>
                  <a:pt x="4031" y="13030"/>
                  <a:pt x="6047" y="9934"/>
                </a:cubicBezTo>
                <a:cubicBezTo>
                  <a:pt x="9908" y="4004"/>
                  <a:pt x="14773" y="-2230"/>
                  <a:pt x="20197" y="784"/>
                </a:cubicBezTo>
                <a:cubicBezTo>
                  <a:pt x="20693" y="1060"/>
                  <a:pt x="21164" y="1425"/>
                  <a:pt x="21600" y="1872"/>
                </a:cubicBezTo>
              </a:path>
            </a:pathLst>
          </a:custGeom>
          <a:ln w="25400">
            <a:solidFill>
              <a:srgbClr val="ABADC2"/>
            </a:solidFill>
            <a:custDash>
              <a:ds d="200000" sp="200000"/>
            </a:custDash>
            <a:miter lim="400000"/>
          </a:ln>
        </p:spPr>
        <p:txBody>
          <a:bodyPr lIns="19050" tIns="19050" rIns="19050" bIns="19050" anchor="ctr"/>
          <a:lstStyle/>
          <a:p>
            <a:pPr algn="ctr">
              <a:defRPr sz="3000">
                <a:solidFill>
                  <a:srgbClr val="000000"/>
                </a:solidFill>
                <a:latin typeface="Helvetica Light"/>
                <a:ea typeface="Helvetica Light"/>
                <a:cs typeface="Helvetica Light"/>
                <a:sym typeface="Helvetica Light"/>
              </a:defRPr>
            </a:pPr>
            <a:endParaRPr sz="1500"/>
          </a:p>
        </p:txBody>
      </p:sp>
      <p:sp>
        <p:nvSpPr>
          <p:cNvPr id="584" name="Shape 584"/>
          <p:cNvSpPr/>
          <p:nvPr/>
        </p:nvSpPr>
        <p:spPr>
          <a:xfrm>
            <a:off x="6648932" y="2481998"/>
            <a:ext cx="797619" cy="797619"/>
          </a:xfrm>
          <a:prstGeom prst="ellipse">
            <a:avLst/>
          </a:prstGeom>
          <a:gradFill>
            <a:gsLst>
              <a:gs pos="0">
                <a:srgbClr val="A4AADB">
                  <a:alpha val="23593"/>
                </a:srgbClr>
              </a:gs>
              <a:gs pos="100000">
                <a:srgbClr val="E583B7">
                  <a:alpha val="23593"/>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585" name="Shape 585"/>
          <p:cNvSpPr/>
          <p:nvPr/>
        </p:nvSpPr>
        <p:spPr>
          <a:xfrm>
            <a:off x="6657876" y="3357743"/>
            <a:ext cx="142514" cy="142514"/>
          </a:xfrm>
          <a:prstGeom prst="ellipse">
            <a:avLst/>
          </a:prstGeom>
          <a:gradFill>
            <a:gsLst>
              <a:gs pos="0">
                <a:srgbClr val="A4AADB">
                  <a:alpha val="49838"/>
                </a:srgbClr>
              </a:gs>
              <a:gs pos="100000">
                <a:srgbClr val="E583B7">
                  <a:alpha val="49838"/>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586" name="Shape 586"/>
          <p:cNvSpPr/>
          <p:nvPr/>
        </p:nvSpPr>
        <p:spPr>
          <a:xfrm>
            <a:off x="6555295" y="2483624"/>
            <a:ext cx="347675" cy="347675"/>
          </a:xfrm>
          <a:prstGeom prst="ellipse">
            <a:avLst/>
          </a:prstGeom>
          <a:gradFill>
            <a:gsLst>
              <a:gs pos="0">
                <a:srgbClr val="A4AADB">
                  <a:alpha val="54206"/>
                </a:srgbClr>
              </a:gs>
              <a:gs pos="100000">
                <a:srgbClr val="E583B7">
                  <a:alpha val="54206"/>
                </a:srgbClr>
              </a:gs>
            </a:gsLst>
            <a:lin ang="2911681"/>
          </a:gradFill>
          <a:ln w="3175">
            <a:miter lim="400000"/>
          </a:ln>
        </p:spPr>
        <p:txBody>
          <a:bodyPr lIns="19050" tIns="19050" rIns="19050" bIns="19050" anchor="ctr"/>
          <a:lstStyle/>
          <a:p>
            <a:pPr algn="ctr">
              <a:defRPr sz="3000">
                <a:solidFill>
                  <a:srgbClr val="FFFFFF"/>
                </a:solidFill>
                <a:latin typeface="Helvetica Light"/>
                <a:ea typeface="Helvetica Light"/>
                <a:cs typeface="Helvetica Light"/>
                <a:sym typeface="Helvetica Light"/>
              </a:defRPr>
            </a:pPr>
            <a:endParaRPr sz="1500"/>
          </a:p>
        </p:txBody>
      </p:sp>
      <p:sp>
        <p:nvSpPr>
          <p:cNvPr id="2" name="TextBox 1">
            <a:extLst>
              <a:ext uri="{FF2B5EF4-FFF2-40B4-BE49-F238E27FC236}">
                <a16:creationId xmlns:a16="http://schemas.microsoft.com/office/drawing/2014/main" id="{D25015D4-8257-406C-A440-1B00A232DB12}"/>
              </a:ext>
            </a:extLst>
          </p:cNvPr>
          <p:cNvSpPr txBox="1"/>
          <p:nvPr/>
        </p:nvSpPr>
        <p:spPr>
          <a:xfrm>
            <a:off x="3635096" y="254234"/>
            <a:ext cx="5813155" cy="707886"/>
          </a:xfrm>
          <a:prstGeom prst="rect">
            <a:avLst/>
          </a:prstGeom>
          <a:noFill/>
        </p:spPr>
        <p:txBody>
          <a:bodyPr wrap="square" rtlCol="0">
            <a:spAutoFit/>
          </a:bodyPr>
          <a:lstStyle/>
          <a:p>
            <a:r>
              <a:rPr lang="en-US" sz="4000" b="0" i="0" dirty="0">
                <a:solidFill>
                  <a:srgbClr val="652D74"/>
                </a:solidFill>
                <a:effectLst/>
                <a:latin typeface="Baskerville Old Face" panose="02020602080505020303" pitchFamily="18" charset="0"/>
              </a:rPr>
              <a:t>MODEL RESULTS</a:t>
            </a:r>
            <a:endParaRPr lang="en-IL" sz="4000" dirty="0">
              <a:solidFill>
                <a:srgbClr val="652D74"/>
              </a:solidFill>
              <a:latin typeface="Baskerville Old Face" panose="02020602080505020303" pitchFamily="18" charset="0"/>
            </a:endParaRPr>
          </a:p>
        </p:txBody>
      </p:sp>
      <p:sp>
        <p:nvSpPr>
          <p:cNvPr id="98" name="Shape 571">
            <a:extLst>
              <a:ext uri="{FF2B5EF4-FFF2-40B4-BE49-F238E27FC236}">
                <a16:creationId xmlns:a16="http://schemas.microsoft.com/office/drawing/2014/main" id="{C8715E2B-1479-4BC8-9E8A-DC14F4C7902D}"/>
              </a:ext>
            </a:extLst>
          </p:cNvPr>
          <p:cNvSpPr/>
          <p:nvPr/>
        </p:nvSpPr>
        <p:spPr>
          <a:xfrm>
            <a:off x="8026111" y="3138821"/>
            <a:ext cx="2335160" cy="1002549"/>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Autofit/>
          </a:bodyPr>
          <a:lstStyle>
            <a:lvl1pPr algn="r">
              <a:defRPr sz="5000" cap="all">
                <a:latin typeface="Avenir Next Demi Bold"/>
                <a:ea typeface="Avenir Next Demi Bold"/>
                <a:cs typeface="Avenir Next Demi Bold"/>
                <a:sym typeface="Avenir Next Demi Bold"/>
              </a:defRPr>
            </a:lvl1pPr>
          </a:lstStyle>
          <a:p>
            <a:r>
              <a:rPr lang="en-US" sz="1400" b="1" dirty="0">
                <a:solidFill>
                  <a:srgbClr val="652D74"/>
                </a:solidFill>
                <a:latin typeface="Book Antiqua" panose="02040602050305030304" pitchFamily="18" charset="0"/>
              </a:rPr>
              <a:t>Naive Bayes</a:t>
            </a:r>
            <a:r>
              <a:rPr lang="en-US" sz="1400" dirty="0">
                <a:solidFill>
                  <a:srgbClr val="652D74"/>
                </a:solidFill>
                <a:latin typeface="Book Antiqua" panose="02040602050305030304" pitchFamily="18" charset="0"/>
              </a:rPr>
              <a:t>:</a:t>
            </a:r>
          </a:p>
          <a:p>
            <a:pPr lvl="1" algn="r"/>
            <a:r>
              <a:rPr lang="en-US" sz="1400" dirty="0">
                <a:solidFill>
                  <a:srgbClr val="652D74"/>
                </a:solidFill>
                <a:latin typeface="Book Antiqua" panose="02040602050305030304" pitchFamily="18" charset="0"/>
              </a:rPr>
              <a:t>Train Accuracy: 70.6%</a:t>
            </a:r>
          </a:p>
          <a:p>
            <a:pPr lvl="1" algn="r"/>
            <a:r>
              <a:rPr lang="en-US" sz="1400" dirty="0">
                <a:solidFill>
                  <a:srgbClr val="652D74"/>
                </a:solidFill>
                <a:latin typeface="Book Antiqua" panose="02040602050305030304" pitchFamily="18" charset="0"/>
              </a:rPr>
              <a:t>Test Accuracy: 69.1%</a:t>
            </a:r>
          </a:p>
        </p:txBody>
      </p:sp>
      <p:sp>
        <p:nvSpPr>
          <p:cNvPr id="99" name="Shape 571">
            <a:extLst>
              <a:ext uri="{FF2B5EF4-FFF2-40B4-BE49-F238E27FC236}">
                <a16:creationId xmlns:a16="http://schemas.microsoft.com/office/drawing/2014/main" id="{C2B7E470-60EC-4E8C-B03A-B0C7D4BD4067}"/>
              </a:ext>
            </a:extLst>
          </p:cNvPr>
          <p:cNvSpPr/>
          <p:nvPr/>
        </p:nvSpPr>
        <p:spPr>
          <a:xfrm>
            <a:off x="7212970" y="1011745"/>
            <a:ext cx="3173106" cy="846386"/>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Autofit/>
          </a:bodyPr>
          <a:lstStyle>
            <a:lvl1pPr algn="r">
              <a:defRPr sz="5000" cap="all">
                <a:latin typeface="Avenir Next Demi Bold"/>
                <a:ea typeface="Avenir Next Demi Bold"/>
                <a:cs typeface="Avenir Next Demi Bold"/>
                <a:sym typeface="Avenir Next Demi Bold"/>
              </a:defRPr>
            </a:lvl1pPr>
          </a:lstStyle>
          <a:p>
            <a:r>
              <a:rPr lang="en-US" sz="1400" b="1" dirty="0">
                <a:solidFill>
                  <a:srgbClr val="652D74"/>
                </a:solidFill>
                <a:latin typeface="Book Antiqua" panose="02040602050305030304" pitchFamily="18" charset="0"/>
              </a:rPr>
              <a:t>Benchmark</a:t>
            </a:r>
            <a:r>
              <a:rPr lang="en-US" sz="1400" dirty="0">
                <a:solidFill>
                  <a:srgbClr val="652D74"/>
                </a:solidFill>
                <a:latin typeface="Book Antiqua" panose="02040602050305030304" pitchFamily="18" charset="0"/>
              </a:rPr>
              <a:t>:</a:t>
            </a:r>
          </a:p>
          <a:p>
            <a:pPr lvl="1" algn="r"/>
            <a:r>
              <a:rPr lang="en-US" sz="1400" dirty="0">
                <a:solidFill>
                  <a:srgbClr val="652D74"/>
                </a:solidFill>
                <a:latin typeface="Book Antiqua" panose="02040602050305030304" pitchFamily="18" charset="0"/>
              </a:rPr>
              <a:t>Train Accuracy: 73.3%</a:t>
            </a:r>
          </a:p>
          <a:p>
            <a:pPr lvl="1" algn="r"/>
            <a:r>
              <a:rPr lang="en-US" sz="1400" dirty="0">
                <a:solidFill>
                  <a:srgbClr val="652D74"/>
                </a:solidFill>
                <a:latin typeface="Book Antiqua" panose="02040602050305030304" pitchFamily="18" charset="0"/>
              </a:rPr>
              <a:t>Test Accuracy: 73.8%</a:t>
            </a:r>
          </a:p>
        </p:txBody>
      </p:sp>
      <p:sp>
        <p:nvSpPr>
          <p:cNvPr id="101" name="Shape 571">
            <a:extLst>
              <a:ext uri="{FF2B5EF4-FFF2-40B4-BE49-F238E27FC236}">
                <a16:creationId xmlns:a16="http://schemas.microsoft.com/office/drawing/2014/main" id="{E81239CD-4DF5-4662-99C5-12CD87C7594A}"/>
              </a:ext>
            </a:extLst>
          </p:cNvPr>
          <p:cNvSpPr/>
          <p:nvPr/>
        </p:nvSpPr>
        <p:spPr>
          <a:xfrm>
            <a:off x="1237114" y="4745181"/>
            <a:ext cx="2418423" cy="846386"/>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Autofit/>
          </a:bodyPr>
          <a:lstStyle>
            <a:lvl1pPr algn="r">
              <a:defRPr sz="5000" cap="all">
                <a:latin typeface="Avenir Next Demi Bold"/>
                <a:ea typeface="Avenir Next Demi Bold"/>
                <a:cs typeface="Avenir Next Demi Bold"/>
                <a:sym typeface="Avenir Next Demi Bold"/>
              </a:defRPr>
            </a:lvl1pPr>
          </a:lstStyle>
          <a:p>
            <a:r>
              <a:rPr lang="en-US" sz="1400" b="1" dirty="0">
                <a:solidFill>
                  <a:srgbClr val="652D74"/>
                </a:solidFill>
                <a:latin typeface="Book Antiqua" panose="02040602050305030304" pitchFamily="18" charset="0"/>
              </a:rPr>
              <a:t>Random Forest</a:t>
            </a:r>
            <a:r>
              <a:rPr lang="en-US" sz="1400" dirty="0">
                <a:solidFill>
                  <a:srgbClr val="652D74"/>
                </a:solidFill>
                <a:latin typeface="Book Antiqua" panose="02040602050305030304" pitchFamily="18" charset="0"/>
              </a:rPr>
              <a:t>:</a:t>
            </a:r>
          </a:p>
          <a:p>
            <a:pPr lvl="1" algn="r"/>
            <a:r>
              <a:rPr lang="en-US" sz="1400" dirty="0">
                <a:solidFill>
                  <a:srgbClr val="652D74"/>
                </a:solidFill>
                <a:latin typeface="Book Antiqua" panose="02040602050305030304" pitchFamily="18" charset="0"/>
              </a:rPr>
              <a:t>Train Accuracy: 78.8%</a:t>
            </a:r>
          </a:p>
          <a:p>
            <a:pPr lvl="1" algn="r"/>
            <a:r>
              <a:rPr lang="en-US" sz="1400" dirty="0">
                <a:solidFill>
                  <a:srgbClr val="652D74"/>
                </a:solidFill>
                <a:latin typeface="Book Antiqua" panose="02040602050305030304" pitchFamily="18" charset="0"/>
              </a:rPr>
              <a:t>Test Accuracy: 73.9%</a:t>
            </a:r>
          </a:p>
        </p:txBody>
      </p:sp>
      <p:sp>
        <p:nvSpPr>
          <p:cNvPr id="102" name="Shape 571">
            <a:extLst>
              <a:ext uri="{FF2B5EF4-FFF2-40B4-BE49-F238E27FC236}">
                <a16:creationId xmlns:a16="http://schemas.microsoft.com/office/drawing/2014/main" id="{4B8E15F8-3CEF-446D-A3CA-1E3460428EC1}"/>
              </a:ext>
            </a:extLst>
          </p:cNvPr>
          <p:cNvSpPr/>
          <p:nvPr/>
        </p:nvSpPr>
        <p:spPr>
          <a:xfrm>
            <a:off x="1207011" y="3093544"/>
            <a:ext cx="2338142" cy="825125"/>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Autofit/>
          </a:bodyPr>
          <a:lstStyle>
            <a:lvl1pPr algn="r">
              <a:defRPr sz="5000" cap="all">
                <a:latin typeface="Avenir Next Demi Bold"/>
                <a:ea typeface="Avenir Next Demi Bold"/>
                <a:cs typeface="Avenir Next Demi Bold"/>
                <a:sym typeface="Avenir Next Demi Bold"/>
              </a:defRPr>
            </a:lvl1pPr>
          </a:lstStyle>
          <a:p>
            <a:r>
              <a:rPr lang="en-US" sz="1400" b="1" dirty="0">
                <a:solidFill>
                  <a:srgbClr val="652D74"/>
                </a:solidFill>
                <a:latin typeface="Book Antiqua" panose="02040602050305030304" pitchFamily="18" charset="0"/>
              </a:rPr>
              <a:t>Decision Tree</a:t>
            </a:r>
            <a:r>
              <a:rPr lang="en-US" sz="1400" dirty="0">
                <a:solidFill>
                  <a:srgbClr val="652D74"/>
                </a:solidFill>
                <a:latin typeface="Book Antiqua" panose="02040602050305030304" pitchFamily="18" charset="0"/>
              </a:rPr>
              <a:t>:</a:t>
            </a:r>
          </a:p>
          <a:p>
            <a:pPr lvl="1" algn="r"/>
            <a:r>
              <a:rPr lang="en-US" sz="1400" dirty="0">
                <a:solidFill>
                  <a:srgbClr val="652D74"/>
                </a:solidFill>
                <a:latin typeface="Book Antiqua" panose="02040602050305030304" pitchFamily="18" charset="0"/>
              </a:rPr>
              <a:t>Train Accuracy: 79.2%</a:t>
            </a:r>
          </a:p>
          <a:p>
            <a:pPr lvl="1" algn="r"/>
            <a:r>
              <a:rPr lang="en-US" sz="1400" dirty="0">
                <a:solidFill>
                  <a:srgbClr val="652D74"/>
                </a:solidFill>
                <a:latin typeface="Book Antiqua" panose="02040602050305030304" pitchFamily="18" charset="0"/>
              </a:rPr>
              <a:t>Test Accuracy: 77.9%</a:t>
            </a:r>
            <a:endParaRPr sz="1400" dirty="0">
              <a:latin typeface="+mn-lt"/>
            </a:endParaRPr>
          </a:p>
        </p:txBody>
      </p:sp>
      <p:sp>
        <p:nvSpPr>
          <p:cNvPr id="103" name="Shape 571">
            <a:extLst>
              <a:ext uri="{FF2B5EF4-FFF2-40B4-BE49-F238E27FC236}">
                <a16:creationId xmlns:a16="http://schemas.microsoft.com/office/drawing/2014/main" id="{F657AFF8-E075-45DB-A2BD-F1FA29402246}"/>
              </a:ext>
            </a:extLst>
          </p:cNvPr>
          <p:cNvSpPr/>
          <p:nvPr/>
        </p:nvSpPr>
        <p:spPr>
          <a:xfrm>
            <a:off x="1382195" y="1226895"/>
            <a:ext cx="2692299" cy="846386"/>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Autofit/>
          </a:bodyPr>
          <a:lstStyle>
            <a:lvl1pPr algn="r">
              <a:defRPr sz="5000" cap="all">
                <a:latin typeface="Avenir Next Demi Bold"/>
                <a:ea typeface="Avenir Next Demi Bold"/>
                <a:cs typeface="Avenir Next Demi Bold"/>
                <a:sym typeface="Avenir Next Demi Bold"/>
              </a:defRPr>
            </a:lvl1pPr>
          </a:lstStyle>
          <a:p>
            <a:r>
              <a:rPr lang="en-US" sz="1400" b="1" dirty="0">
                <a:solidFill>
                  <a:srgbClr val="652D74"/>
                </a:solidFill>
                <a:latin typeface="Book Antiqua" panose="02040602050305030304" pitchFamily="18" charset="0"/>
              </a:rPr>
              <a:t>Logistic Regression</a:t>
            </a:r>
            <a:r>
              <a:rPr lang="en-US" sz="1400" dirty="0">
                <a:solidFill>
                  <a:srgbClr val="652D74"/>
                </a:solidFill>
                <a:latin typeface="Book Antiqua" panose="02040602050305030304" pitchFamily="18" charset="0"/>
              </a:rPr>
              <a:t>:</a:t>
            </a:r>
          </a:p>
          <a:p>
            <a:pPr lvl="1" algn="r"/>
            <a:r>
              <a:rPr lang="en-US" sz="1400" dirty="0">
                <a:solidFill>
                  <a:srgbClr val="652D74"/>
                </a:solidFill>
                <a:latin typeface="Book Antiqua" panose="02040602050305030304" pitchFamily="18" charset="0"/>
              </a:rPr>
              <a:t>Train Accuracy: 80.8%</a:t>
            </a:r>
          </a:p>
          <a:p>
            <a:pPr lvl="1" algn="r"/>
            <a:r>
              <a:rPr lang="en-US" sz="1400" dirty="0">
                <a:solidFill>
                  <a:srgbClr val="652D74"/>
                </a:solidFill>
                <a:latin typeface="Book Antiqua" panose="02040602050305030304" pitchFamily="18" charset="0"/>
              </a:rPr>
              <a:t>Test Accuracy: 79.8%</a:t>
            </a:r>
          </a:p>
        </p:txBody>
      </p:sp>
      <p:sp>
        <p:nvSpPr>
          <p:cNvPr id="104" name="Shape 491">
            <a:extLst>
              <a:ext uri="{FF2B5EF4-FFF2-40B4-BE49-F238E27FC236}">
                <a16:creationId xmlns:a16="http://schemas.microsoft.com/office/drawing/2014/main" id="{5D62ADB6-20C3-4457-9419-515786C7A0D7}"/>
              </a:ext>
            </a:extLst>
          </p:cNvPr>
          <p:cNvSpPr/>
          <p:nvPr/>
        </p:nvSpPr>
        <p:spPr>
          <a:xfrm flipH="1">
            <a:off x="7912715" y="5495490"/>
            <a:ext cx="2603951" cy="1"/>
          </a:xfrm>
          <a:prstGeom prst="line">
            <a:avLst/>
          </a:prstGeom>
          <a:ln w="76200">
            <a:solidFill>
              <a:srgbClr val="343650"/>
            </a:solidFill>
            <a:custDash>
              <a:ds d="200000" sp="200000"/>
            </a:custDash>
            <a:miter lim="400000"/>
          </a:ln>
        </p:spPr>
        <p:txBody>
          <a:bodyPr lIns="19050" tIns="19050" rIns="19050" bIns="19050" anchor="ctr"/>
          <a:lstStyle/>
          <a:p>
            <a:pPr algn="ctr">
              <a:defRPr sz="3000">
                <a:solidFill>
                  <a:srgbClr val="000000"/>
                </a:solidFill>
                <a:latin typeface="Helvetica Light"/>
                <a:ea typeface="Helvetica Light"/>
                <a:cs typeface="Helvetica Light"/>
                <a:sym typeface="Helvetica Light"/>
              </a:defRPr>
            </a:pPr>
            <a:endParaRPr sz="1500"/>
          </a:p>
        </p:txBody>
      </p:sp>
      <p:sp>
        <p:nvSpPr>
          <p:cNvPr id="105" name="Shape 491">
            <a:extLst>
              <a:ext uri="{FF2B5EF4-FFF2-40B4-BE49-F238E27FC236}">
                <a16:creationId xmlns:a16="http://schemas.microsoft.com/office/drawing/2014/main" id="{80AAB2D8-953B-4A91-9424-07D346E589A3}"/>
              </a:ext>
            </a:extLst>
          </p:cNvPr>
          <p:cNvSpPr/>
          <p:nvPr/>
        </p:nvSpPr>
        <p:spPr>
          <a:xfrm flipH="1">
            <a:off x="1426370" y="5494408"/>
            <a:ext cx="2603951" cy="1"/>
          </a:xfrm>
          <a:prstGeom prst="line">
            <a:avLst/>
          </a:prstGeom>
          <a:ln w="76200">
            <a:solidFill>
              <a:srgbClr val="343650"/>
            </a:solidFill>
            <a:custDash>
              <a:ds d="200000" sp="200000"/>
            </a:custDash>
            <a:miter lim="400000"/>
          </a:ln>
        </p:spPr>
        <p:txBody>
          <a:bodyPr lIns="19050" tIns="19050" rIns="19050" bIns="19050" anchor="ctr"/>
          <a:lstStyle/>
          <a:p>
            <a:pPr algn="ctr">
              <a:defRPr sz="3000">
                <a:solidFill>
                  <a:srgbClr val="000000"/>
                </a:solidFill>
                <a:latin typeface="Helvetica Light"/>
                <a:ea typeface="Helvetica Light"/>
                <a:cs typeface="Helvetica Light"/>
                <a:sym typeface="Helvetica Light"/>
              </a:defRPr>
            </a:pPr>
            <a:endParaRPr sz="1500"/>
          </a:p>
        </p:txBody>
      </p:sp>
      <p:sp>
        <p:nvSpPr>
          <p:cNvPr id="106" name="Shape 556">
            <a:extLst>
              <a:ext uri="{FF2B5EF4-FFF2-40B4-BE49-F238E27FC236}">
                <a16:creationId xmlns:a16="http://schemas.microsoft.com/office/drawing/2014/main" id="{6850FCA4-6B32-47D1-826B-F08CB310BF17}"/>
              </a:ext>
            </a:extLst>
          </p:cNvPr>
          <p:cNvSpPr/>
          <p:nvPr/>
        </p:nvSpPr>
        <p:spPr>
          <a:xfrm>
            <a:off x="5851408" y="5876347"/>
            <a:ext cx="420271" cy="420271"/>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107" name="Shape 557">
            <a:extLst>
              <a:ext uri="{FF2B5EF4-FFF2-40B4-BE49-F238E27FC236}">
                <a16:creationId xmlns:a16="http://schemas.microsoft.com/office/drawing/2014/main" id="{45AC0CF4-2DEC-4A17-9C61-547EC59D4A46}"/>
              </a:ext>
            </a:extLst>
          </p:cNvPr>
          <p:cNvSpPr/>
          <p:nvPr/>
        </p:nvSpPr>
        <p:spPr>
          <a:xfrm>
            <a:off x="5980762" y="6006836"/>
            <a:ext cx="169918" cy="164660"/>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none" lIns="19050" tIns="19050" rIns="19050" bIns="19050" numCol="1" anchor="ctr">
            <a:spAutoFit/>
          </a:bodyPr>
          <a:lstStyle>
            <a:lvl1pPr algn="ctr">
              <a:lnSpc>
                <a:spcPct val="80000"/>
              </a:lnSpc>
              <a:defRPr sz="2000" b="1">
                <a:solidFill>
                  <a:srgbClr val="1D1F30"/>
                </a:solidFill>
                <a:latin typeface="Avenir Next"/>
                <a:ea typeface="Avenir Next"/>
                <a:cs typeface="Avenir Next"/>
                <a:sym typeface="Avenir Next"/>
              </a:defRPr>
            </a:lvl1pPr>
          </a:lstStyle>
          <a:p>
            <a:r>
              <a:rPr sz="1000" dirty="0">
                <a:latin typeface="+mn-lt"/>
              </a:rPr>
              <a:t>0</a:t>
            </a:r>
            <a:r>
              <a:rPr lang="en-US" sz="1000" dirty="0">
                <a:latin typeface="+mn-lt"/>
              </a:rPr>
              <a:t>4</a:t>
            </a:r>
            <a:endParaRPr sz="1000" dirty="0">
              <a:latin typeface="+mn-lt"/>
            </a:endParaRPr>
          </a:p>
        </p:txBody>
      </p:sp>
      <p:sp>
        <p:nvSpPr>
          <p:cNvPr id="108" name="Shape 571">
            <a:extLst>
              <a:ext uri="{FF2B5EF4-FFF2-40B4-BE49-F238E27FC236}">
                <a16:creationId xmlns:a16="http://schemas.microsoft.com/office/drawing/2014/main" id="{3511DDED-D117-4079-99F3-0464DCE3A246}"/>
              </a:ext>
            </a:extLst>
          </p:cNvPr>
          <p:cNvSpPr/>
          <p:nvPr/>
        </p:nvSpPr>
        <p:spPr>
          <a:xfrm>
            <a:off x="1476451" y="5959748"/>
            <a:ext cx="3379082" cy="638525"/>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Autofit/>
          </a:bodyPr>
          <a:lstStyle>
            <a:lvl1pPr algn="r">
              <a:defRPr sz="5000" cap="all">
                <a:latin typeface="Avenir Next Demi Bold"/>
                <a:ea typeface="Avenir Next Demi Bold"/>
                <a:cs typeface="Avenir Next Demi Bold"/>
                <a:sym typeface="Avenir Next Demi Bold"/>
              </a:defRPr>
            </a:lvl1pPr>
          </a:lstStyle>
          <a:p>
            <a:r>
              <a:rPr lang="en-US" sz="1400" b="1" dirty="0">
                <a:solidFill>
                  <a:srgbClr val="652D74"/>
                </a:solidFill>
                <a:latin typeface="Book Antiqua" panose="02040602050305030304" pitchFamily="18" charset="0"/>
              </a:rPr>
              <a:t>KNN (K-Nearest Neighbors)</a:t>
            </a:r>
            <a:r>
              <a:rPr lang="en-US" sz="1400" dirty="0">
                <a:solidFill>
                  <a:srgbClr val="652D74"/>
                </a:solidFill>
                <a:latin typeface="Book Antiqua" panose="02040602050305030304" pitchFamily="18" charset="0"/>
              </a:rPr>
              <a:t>:</a:t>
            </a:r>
          </a:p>
          <a:p>
            <a:pPr lvl="1" algn="r"/>
            <a:r>
              <a:rPr lang="en-US" sz="1400" dirty="0">
                <a:solidFill>
                  <a:srgbClr val="652D74"/>
                </a:solidFill>
                <a:latin typeface="Book Antiqua" panose="02040602050305030304" pitchFamily="18" charset="0"/>
              </a:rPr>
              <a:t>Train Accuracy: 73.4%</a:t>
            </a:r>
          </a:p>
          <a:p>
            <a:pPr lvl="1" algn="r"/>
            <a:r>
              <a:rPr lang="en-US" sz="1400" dirty="0">
                <a:solidFill>
                  <a:srgbClr val="652D74"/>
                </a:solidFill>
                <a:latin typeface="Book Antiqua" panose="02040602050305030304" pitchFamily="18" charset="0"/>
              </a:rPr>
              <a:t>Test Accuracy: 73.9%</a:t>
            </a:r>
          </a:p>
        </p:txBody>
      </p:sp>
      <p:sp>
        <p:nvSpPr>
          <p:cNvPr id="95" name="Shape 491">
            <a:extLst>
              <a:ext uri="{FF2B5EF4-FFF2-40B4-BE49-F238E27FC236}">
                <a16:creationId xmlns:a16="http://schemas.microsoft.com/office/drawing/2014/main" id="{86D7BEFC-1506-449B-97E9-44C803ACBB9F}"/>
              </a:ext>
            </a:extLst>
          </p:cNvPr>
          <p:cNvSpPr/>
          <p:nvPr/>
        </p:nvSpPr>
        <p:spPr>
          <a:xfrm flipH="1">
            <a:off x="8274233" y="2930069"/>
            <a:ext cx="2603951" cy="1"/>
          </a:xfrm>
          <a:prstGeom prst="line">
            <a:avLst/>
          </a:prstGeom>
          <a:ln w="76200">
            <a:solidFill>
              <a:srgbClr val="343650"/>
            </a:solidFill>
            <a:custDash>
              <a:ds d="200000" sp="200000"/>
            </a:custDash>
            <a:miter lim="400000"/>
          </a:ln>
        </p:spPr>
        <p:txBody>
          <a:bodyPr lIns="19050" tIns="19050" rIns="19050" bIns="19050" anchor="ctr"/>
          <a:lstStyle/>
          <a:p>
            <a:pPr algn="ctr">
              <a:defRPr sz="3000">
                <a:solidFill>
                  <a:srgbClr val="000000"/>
                </a:solidFill>
                <a:latin typeface="Helvetica Light"/>
                <a:ea typeface="Helvetica Light"/>
                <a:cs typeface="Helvetica Light"/>
                <a:sym typeface="Helvetica Light"/>
              </a:defRPr>
            </a:pPr>
            <a:endParaRPr sz="1500"/>
          </a:p>
        </p:txBody>
      </p:sp>
      <p:sp>
        <p:nvSpPr>
          <p:cNvPr id="96" name="Shape 559">
            <a:extLst>
              <a:ext uri="{FF2B5EF4-FFF2-40B4-BE49-F238E27FC236}">
                <a16:creationId xmlns:a16="http://schemas.microsoft.com/office/drawing/2014/main" id="{96070251-9359-457B-8A1B-CECAA5D18148}"/>
              </a:ext>
            </a:extLst>
          </p:cNvPr>
          <p:cNvSpPr/>
          <p:nvPr/>
        </p:nvSpPr>
        <p:spPr>
          <a:xfrm>
            <a:off x="8047325" y="3676208"/>
            <a:ext cx="420271" cy="420271"/>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97" name="Shape 560">
            <a:extLst>
              <a:ext uri="{FF2B5EF4-FFF2-40B4-BE49-F238E27FC236}">
                <a16:creationId xmlns:a16="http://schemas.microsoft.com/office/drawing/2014/main" id="{CFE5D12A-1136-46C4-A28D-3596FCCFCECF}"/>
              </a:ext>
            </a:extLst>
          </p:cNvPr>
          <p:cNvSpPr/>
          <p:nvPr/>
        </p:nvSpPr>
        <p:spPr>
          <a:xfrm>
            <a:off x="8173481" y="3827424"/>
            <a:ext cx="169918" cy="164660"/>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none" lIns="19050" tIns="19050" rIns="19050" bIns="19050" numCol="1" anchor="ctr">
            <a:spAutoFit/>
          </a:bodyPr>
          <a:lstStyle>
            <a:lvl1pPr algn="ctr">
              <a:lnSpc>
                <a:spcPct val="80000"/>
              </a:lnSpc>
              <a:defRPr sz="2000" b="1">
                <a:solidFill>
                  <a:srgbClr val="1D1F30"/>
                </a:solidFill>
                <a:latin typeface="Avenir Next"/>
                <a:ea typeface="Avenir Next"/>
                <a:cs typeface="Avenir Next"/>
                <a:sym typeface="Avenir Next"/>
              </a:defRPr>
            </a:lvl1pPr>
          </a:lstStyle>
          <a:p>
            <a:r>
              <a:rPr sz="1000" dirty="0">
                <a:latin typeface="+mn-lt"/>
              </a:rPr>
              <a:t>0</a:t>
            </a:r>
            <a:r>
              <a:rPr lang="en-US" sz="1000" dirty="0">
                <a:latin typeface="+mn-lt"/>
              </a:rPr>
              <a:t>7</a:t>
            </a:r>
            <a:endParaRPr sz="1000" dirty="0">
              <a:latin typeface="+mn-lt"/>
            </a:endParaRPr>
          </a:p>
        </p:txBody>
      </p:sp>
      <p:sp>
        <p:nvSpPr>
          <p:cNvPr id="100" name="Shape 571">
            <a:extLst>
              <a:ext uri="{FF2B5EF4-FFF2-40B4-BE49-F238E27FC236}">
                <a16:creationId xmlns:a16="http://schemas.microsoft.com/office/drawing/2014/main" id="{E9FC5420-A9FF-4D70-B2CB-158DA34C57EA}"/>
              </a:ext>
            </a:extLst>
          </p:cNvPr>
          <p:cNvSpPr/>
          <p:nvPr/>
        </p:nvSpPr>
        <p:spPr>
          <a:xfrm>
            <a:off x="8102560" y="2115945"/>
            <a:ext cx="2335160" cy="1002549"/>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Autofit/>
          </a:bodyPr>
          <a:lstStyle>
            <a:lvl1pPr algn="r">
              <a:defRPr sz="5000" cap="all">
                <a:latin typeface="Avenir Next Demi Bold"/>
                <a:ea typeface="Avenir Next Demi Bold"/>
                <a:cs typeface="Avenir Next Demi Bold"/>
                <a:sym typeface="Avenir Next Demi Bold"/>
              </a:defRPr>
            </a:lvl1pPr>
          </a:lstStyle>
          <a:p>
            <a:r>
              <a:rPr lang="en-US" sz="1400" b="1" dirty="0">
                <a:solidFill>
                  <a:srgbClr val="652D74"/>
                </a:solidFill>
                <a:latin typeface="Book Antiqua" panose="02040602050305030304" pitchFamily="18" charset="0"/>
              </a:rPr>
              <a:t>XGBClassifier:</a:t>
            </a:r>
          </a:p>
          <a:p>
            <a:r>
              <a:rPr kumimoji="0" lang="en-US" sz="1400" b="0" i="0" u="none" strike="noStrike" kern="1200" cap="none" spc="0" normalizeH="0" baseline="0" noProof="0" dirty="0">
                <a:ln>
                  <a:noFill/>
                </a:ln>
                <a:solidFill>
                  <a:srgbClr val="652D74"/>
                </a:solidFill>
                <a:effectLst/>
                <a:uLnTx/>
                <a:uFillTx/>
                <a:latin typeface="Book Antiqua" panose="02040602050305030304" pitchFamily="18" charset="0"/>
                <a:ea typeface="+mn-ea"/>
                <a:cs typeface="+mn-cs"/>
              </a:rPr>
              <a:t>Train Accuracy </a:t>
            </a:r>
            <a:r>
              <a:rPr lang="en-US" sz="1400" b="1" dirty="0">
                <a:solidFill>
                  <a:srgbClr val="652D74"/>
                </a:solidFill>
                <a:latin typeface="Book Antiqua" panose="02040602050305030304" pitchFamily="18" charset="0"/>
              </a:rPr>
              <a:t>: </a:t>
            </a:r>
            <a:r>
              <a:rPr lang="en-US" sz="1400" dirty="0">
                <a:solidFill>
                  <a:srgbClr val="652D74"/>
                </a:solidFill>
                <a:latin typeface="Book Antiqua" panose="02040602050305030304" pitchFamily="18" charset="0"/>
              </a:rPr>
              <a:t>93.6%</a:t>
            </a:r>
          </a:p>
          <a:p>
            <a:r>
              <a:rPr kumimoji="0" lang="en-US" sz="1400" i="0" u="none" strike="noStrike" kern="1200" cap="none" spc="0" normalizeH="0" baseline="0" noProof="0" dirty="0">
                <a:ln>
                  <a:noFill/>
                </a:ln>
                <a:solidFill>
                  <a:srgbClr val="652D74"/>
                </a:solidFill>
                <a:effectLst/>
                <a:uLnTx/>
                <a:uFillTx/>
                <a:latin typeface="Book Antiqua" panose="02040602050305030304" pitchFamily="18" charset="0"/>
                <a:ea typeface="+mn-ea"/>
                <a:cs typeface="+mn-cs"/>
              </a:rPr>
              <a:t>Test Accuracy </a:t>
            </a:r>
            <a:r>
              <a:rPr lang="en-US" sz="1400" dirty="0">
                <a:solidFill>
                  <a:srgbClr val="652D74"/>
                </a:solidFill>
                <a:latin typeface="Book Antiqua" panose="02040602050305030304" pitchFamily="18" charset="0"/>
              </a:rPr>
              <a:t>: 77.6%</a:t>
            </a:r>
          </a:p>
        </p:txBody>
      </p:sp>
      <p:sp>
        <p:nvSpPr>
          <p:cNvPr id="110" name="Shape 486">
            <a:extLst>
              <a:ext uri="{FF2B5EF4-FFF2-40B4-BE49-F238E27FC236}">
                <a16:creationId xmlns:a16="http://schemas.microsoft.com/office/drawing/2014/main" id="{1929CB5D-B33A-49D7-8384-8B8DDD510F5A}"/>
              </a:ext>
            </a:extLst>
          </p:cNvPr>
          <p:cNvSpPr/>
          <p:nvPr/>
        </p:nvSpPr>
        <p:spPr>
          <a:xfrm rot="10800000">
            <a:off x="7181532" y="6121432"/>
            <a:ext cx="3173106" cy="3151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455" y="0"/>
                </a:lnTo>
                <a:lnTo>
                  <a:pt x="0" y="0"/>
                </a:lnTo>
              </a:path>
            </a:pathLst>
          </a:custGeom>
          <a:ln w="76200">
            <a:solidFill>
              <a:srgbClr val="343650"/>
            </a:solidFill>
            <a:custDash>
              <a:ds d="200000" sp="200000"/>
            </a:custDash>
            <a:miter lim="400000"/>
          </a:ln>
        </p:spPr>
        <p:txBody>
          <a:bodyPr lIns="19050" tIns="19050" rIns="19050" bIns="19050" anchor="ctr"/>
          <a:lstStyle/>
          <a:p>
            <a:pPr algn="ctr">
              <a:defRPr sz="3000">
                <a:solidFill>
                  <a:srgbClr val="000000"/>
                </a:solidFill>
                <a:latin typeface="Helvetica Light"/>
                <a:ea typeface="Helvetica Light"/>
                <a:cs typeface="Helvetica Light"/>
                <a:sym typeface="Helvetica Light"/>
              </a:defRPr>
            </a:pPr>
            <a:endParaRPr sz="1500"/>
          </a:p>
        </p:txBody>
      </p:sp>
      <p:sp>
        <p:nvSpPr>
          <p:cNvPr id="111" name="Shape 556">
            <a:extLst>
              <a:ext uri="{FF2B5EF4-FFF2-40B4-BE49-F238E27FC236}">
                <a16:creationId xmlns:a16="http://schemas.microsoft.com/office/drawing/2014/main" id="{0178599D-1941-4FB6-96A1-726F931DCD71}"/>
              </a:ext>
            </a:extLst>
          </p:cNvPr>
          <p:cNvSpPr/>
          <p:nvPr/>
        </p:nvSpPr>
        <p:spPr>
          <a:xfrm>
            <a:off x="6837605" y="5695749"/>
            <a:ext cx="420271" cy="420271"/>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112" name="Shape 557">
            <a:extLst>
              <a:ext uri="{FF2B5EF4-FFF2-40B4-BE49-F238E27FC236}">
                <a16:creationId xmlns:a16="http://schemas.microsoft.com/office/drawing/2014/main" id="{5A63C994-CB22-4A70-8ECB-2ABC38147AD7}"/>
              </a:ext>
            </a:extLst>
          </p:cNvPr>
          <p:cNvSpPr/>
          <p:nvPr/>
        </p:nvSpPr>
        <p:spPr>
          <a:xfrm>
            <a:off x="6962781" y="5828794"/>
            <a:ext cx="169918" cy="164660"/>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none" lIns="19050" tIns="19050" rIns="19050" bIns="19050" numCol="1" anchor="ctr">
            <a:spAutoFit/>
          </a:bodyPr>
          <a:lstStyle>
            <a:lvl1pPr algn="ctr">
              <a:lnSpc>
                <a:spcPct val="80000"/>
              </a:lnSpc>
              <a:defRPr sz="2000" b="1">
                <a:solidFill>
                  <a:srgbClr val="1D1F30"/>
                </a:solidFill>
                <a:latin typeface="Avenir Next"/>
                <a:ea typeface="Avenir Next"/>
                <a:cs typeface="Avenir Next"/>
                <a:sym typeface="Avenir Next"/>
              </a:defRPr>
            </a:lvl1pPr>
          </a:lstStyle>
          <a:p>
            <a:r>
              <a:rPr sz="1000" dirty="0">
                <a:latin typeface="+mn-lt"/>
              </a:rPr>
              <a:t>0</a:t>
            </a:r>
            <a:r>
              <a:rPr lang="en-US" sz="1000" dirty="0">
                <a:latin typeface="+mn-lt"/>
              </a:rPr>
              <a:t>5</a:t>
            </a:r>
            <a:endParaRPr sz="1000" dirty="0">
              <a:latin typeface="+mn-lt"/>
            </a:endParaRPr>
          </a:p>
        </p:txBody>
      </p:sp>
      <p:sp>
        <p:nvSpPr>
          <p:cNvPr id="113" name="Shape 571">
            <a:extLst>
              <a:ext uri="{FF2B5EF4-FFF2-40B4-BE49-F238E27FC236}">
                <a16:creationId xmlns:a16="http://schemas.microsoft.com/office/drawing/2014/main" id="{7B0F9AD5-99C9-4FF9-84E1-208675853FB0}"/>
              </a:ext>
            </a:extLst>
          </p:cNvPr>
          <p:cNvSpPr/>
          <p:nvPr/>
        </p:nvSpPr>
        <p:spPr>
          <a:xfrm>
            <a:off x="7870009" y="5673029"/>
            <a:ext cx="3683536" cy="951778"/>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Autofit/>
          </a:bodyPr>
          <a:lstStyle>
            <a:lvl1pPr algn="r">
              <a:defRPr sz="5000" cap="all">
                <a:latin typeface="Avenir Next Demi Bold"/>
                <a:ea typeface="Avenir Next Demi Bold"/>
                <a:cs typeface="Avenir Next Demi Bold"/>
                <a:sym typeface="Avenir Next Demi Bold"/>
              </a:defRPr>
            </a:lvl1pPr>
          </a:lstStyle>
          <a:p>
            <a:pPr algn="l"/>
            <a:r>
              <a:rPr lang="en-US" sz="1400" b="1" dirty="0">
                <a:solidFill>
                  <a:srgbClr val="652D74"/>
                </a:solidFill>
                <a:latin typeface="Book Antiqua" panose="02040602050305030304" pitchFamily="18" charset="0"/>
              </a:rPr>
              <a:t>GBDT:</a:t>
            </a:r>
          </a:p>
          <a:p>
            <a:pPr algn="l"/>
            <a:r>
              <a:rPr kumimoji="0" lang="en-US" sz="1400" b="0" i="0" u="none" strike="noStrike" kern="1200" cap="none" spc="0" normalizeH="0" baseline="0" noProof="0" dirty="0">
                <a:ln>
                  <a:noFill/>
                </a:ln>
                <a:solidFill>
                  <a:srgbClr val="652D74"/>
                </a:solidFill>
                <a:effectLst/>
                <a:uLnTx/>
                <a:uFillTx/>
                <a:latin typeface="Book Antiqua" panose="02040602050305030304" pitchFamily="18" charset="0"/>
                <a:ea typeface="+mn-ea"/>
                <a:cs typeface="+mn-cs"/>
              </a:rPr>
              <a:t>Train Accuracy </a:t>
            </a:r>
            <a:r>
              <a:rPr lang="en-US" sz="1400" dirty="0">
                <a:solidFill>
                  <a:srgbClr val="652D74"/>
                </a:solidFill>
                <a:latin typeface="Book Antiqua" panose="02040602050305030304" pitchFamily="18" charset="0"/>
              </a:rPr>
              <a:t>: 86.4%</a:t>
            </a:r>
          </a:p>
          <a:p>
            <a:pPr algn="l"/>
            <a:r>
              <a:rPr kumimoji="0" lang="en-US" sz="1400" i="0" u="none" strike="noStrike" kern="1200" cap="none" spc="0" normalizeH="0" baseline="0" noProof="0" dirty="0">
                <a:ln>
                  <a:noFill/>
                </a:ln>
                <a:solidFill>
                  <a:srgbClr val="652D74"/>
                </a:solidFill>
                <a:effectLst/>
                <a:uLnTx/>
                <a:uFillTx/>
                <a:latin typeface="Book Antiqua" panose="02040602050305030304" pitchFamily="18" charset="0"/>
                <a:ea typeface="+mn-ea"/>
                <a:cs typeface="+mn-cs"/>
              </a:rPr>
              <a:t>Test Accuracy </a:t>
            </a:r>
            <a:r>
              <a:rPr lang="en-US" sz="1400" dirty="0">
                <a:solidFill>
                  <a:srgbClr val="652D74"/>
                </a:solidFill>
                <a:latin typeface="Book Antiqua" panose="02040602050305030304" pitchFamily="18" charset="0"/>
              </a:rPr>
              <a:t>: 77.9%</a:t>
            </a:r>
          </a:p>
        </p:txBody>
      </p:sp>
      <p:sp>
        <p:nvSpPr>
          <p:cNvPr id="109" name="Slide Number Placeholder 3">
            <a:extLst>
              <a:ext uri="{FF2B5EF4-FFF2-40B4-BE49-F238E27FC236}">
                <a16:creationId xmlns:a16="http://schemas.microsoft.com/office/drawing/2014/main" id="{0C526F9B-2FEC-4745-88B7-12E090BBC8FC}"/>
              </a:ext>
            </a:extLst>
          </p:cNvPr>
          <p:cNvSpPr txBox="1">
            <a:spLocks/>
          </p:cNvSpPr>
          <p:nvPr/>
        </p:nvSpPr>
        <p:spPr>
          <a:xfrm>
            <a:off x="11658612" y="6369817"/>
            <a:ext cx="367408" cy="27699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B84D2E29-67F4-44D8-B0E3-F54815B4F123}" type="slidenum">
              <a:rPr lang="en-US" sz="1200" b="1" smtClean="0">
                <a:solidFill>
                  <a:srgbClr val="652D74"/>
                </a:solidFill>
                <a:latin typeface="Calibri" panose="020F0502020204030204"/>
              </a:rPr>
              <a:pPr algn="ctr"/>
              <a:t>23</a:t>
            </a:fld>
            <a:endParaRPr lang="en-US" sz="1200" b="1" dirty="0">
              <a:solidFill>
                <a:srgbClr val="652D74"/>
              </a:solidFill>
              <a:latin typeface="Calibri" panose="020F0502020204030204"/>
            </a:endParaRPr>
          </a:p>
        </p:txBody>
      </p:sp>
    </p:spTree>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15" name="Rectangle 4">
            <a:extLst>
              <a:ext uri="{FF2B5EF4-FFF2-40B4-BE49-F238E27FC236}">
                <a16:creationId xmlns:a16="http://schemas.microsoft.com/office/drawing/2014/main" id="{F40790DB-A7AE-4B73-9419-E4681CBEA25B}"/>
              </a:ext>
            </a:extLst>
          </p:cNvPr>
          <p:cNvSpPr/>
          <p:nvPr/>
        </p:nvSpPr>
        <p:spPr>
          <a:xfrm>
            <a:off x="0" y="0"/>
            <a:ext cx="3997253" cy="6689396"/>
          </a:xfrm>
          <a:custGeom>
            <a:avLst/>
            <a:gdLst>
              <a:gd name="connsiteX0" fmla="*/ 0 w 5880100"/>
              <a:gd name="connsiteY0" fmla="*/ 0 h 5880100"/>
              <a:gd name="connsiteX1" fmla="*/ 5880100 w 5880100"/>
              <a:gd name="connsiteY1" fmla="*/ 0 h 5880100"/>
              <a:gd name="connsiteX2" fmla="*/ 5880100 w 5880100"/>
              <a:gd name="connsiteY2" fmla="*/ 5880100 h 5880100"/>
              <a:gd name="connsiteX3" fmla="*/ 0 w 5880100"/>
              <a:gd name="connsiteY3" fmla="*/ 5880100 h 5880100"/>
              <a:gd name="connsiteX4" fmla="*/ 0 w 5880100"/>
              <a:gd name="connsiteY4" fmla="*/ 0 h 5880100"/>
              <a:gd name="connsiteX0" fmla="*/ 0 w 6615112"/>
              <a:gd name="connsiteY0" fmla="*/ 0 h 6615112"/>
              <a:gd name="connsiteX1" fmla="*/ 5880100 w 6615112"/>
              <a:gd name="connsiteY1" fmla="*/ 0 h 6615112"/>
              <a:gd name="connsiteX2" fmla="*/ 5880100 w 6615112"/>
              <a:gd name="connsiteY2" fmla="*/ 5880100 h 6615112"/>
              <a:gd name="connsiteX3" fmla="*/ 0 w 6615112"/>
              <a:gd name="connsiteY3" fmla="*/ 5880100 h 6615112"/>
              <a:gd name="connsiteX4" fmla="*/ 0 w 6615112"/>
              <a:gd name="connsiteY4" fmla="*/ 0 h 6615112"/>
              <a:gd name="connsiteX0" fmla="*/ 0 w 6145189"/>
              <a:gd name="connsiteY0" fmla="*/ 0 h 6082525"/>
              <a:gd name="connsiteX1" fmla="*/ 5880100 w 6145189"/>
              <a:gd name="connsiteY1" fmla="*/ 0 h 6082525"/>
              <a:gd name="connsiteX2" fmla="*/ 3898900 w 6145189"/>
              <a:gd name="connsiteY2" fmla="*/ 3035300 h 6082525"/>
              <a:gd name="connsiteX3" fmla="*/ 0 w 6145189"/>
              <a:gd name="connsiteY3" fmla="*/ 5880100 h 6082525"/>
              <a:gd name="connsiteX4" fmla="*/ 0 w 6145189"/>
              <a:gd name="connsiteY4" fmla="*/ 0 h 6082525"/>
              <a:gd name="connsiteX0" fmla="*/ 0 w 6085854"/>
              <a:gd name="connsiteY0" fmla="*/ 0 h 6135502"/>
              <a:gd name="connsiteX1" fmla="*/ 5880100 w 6085854"/>
              <a:gd name="connsiteY1" fmla="*/ 0 h 6135502"/>
              <a:gd name="connsiteX2" fmla="*/ 3898900 w 6085854"/>
              <a:gd name="connsiteY2" fmla="*/ 3035300 h 6135502"/>
              <a:gd name="connsiteX3" fmla="*/ 0 w 6085854"/>
              <a:gd name="connsiteY3" fmla="*/ 5880100 h 6135502"/>
              <a:gd name="connsiteX4" fmla="*/ 0 w 6085854"/>
              <a:gd name="connsiteY4" fmla="*/ 0 h 6135502"/>
              <a:gd name="connsiteX0" fmla="*/ 0 w 6113652"/>
              <a:gd name="connsiteY0" fmla="*/ 0 h 6259192"/>
              <a:gd name="connsiteX1" fmla="*/ 5880100 w 6113652"/>
              <a:gd name="connsiteY1" fmla="*/ 0 h 6259192"/>
              <a:gd name="connsiteX2" fmla="*/ 4318000 w 6113652"/>
              <a:gd name="connsiteY2" fmla="*/ 4038600 h 6259192"/>
              <a:gd name="connsiteX3" fmla="*/ 0 w 6113652"/>
              <a:gd name="connsiteY3" fmla="*/ 5880100 h 6259192"/>
              <a:gd name="connsiteX4" fmla="*/ 0 w 6113652"/>
              <a:gd name="connsiteY4" fmla="*/ 0 h 6259192"/>
              <a:gd name="connsiteX0" fmla="*/ 0 w 6124861"/>
              <a:gd name="connsiteY0" fmla="*/ 0 h 6340446"/>
              <a:gd name="connsiteX1" fmla="*/ 5880100 w 6124861"/>
              <a:gd name="connsiteY1" fmla="*/ 0 h 6340446"/>
              <a:gd name="connsiteX2" fmla="*/ 4318000 w 6124861"/>
              <a:gd name="connsiteY2" fmla="*/ 4038600 h 6340446"/>
              <a:gd name="connsiteX3" fmla="*/ 0 w 6124861"/>
              <a:gd name="connsiteY3" fmla="*/ 5880100 h 6340446"/>
              <a:gd name="connsiteX4" fmla="*/ 0 w 6124861"/>
              <a:gd name="connsiteY4" fmla="*/ 0 h 6340446"/>
              <a:gd name="connsiteX0" fmla="*/ 0 w 6124861"/>
              <a:gd name="connsiteY0" fmla="*/ 0 h 6419004"/>
              <a:gd name="connsiteX1" fmla="*/ 5880100 w 6124861"/>
              <a:gd name="connsiteY1" fmla="*/ 0 h 6419004"/>
              <a:gd name="connsiteX2" fmla="*/ 4318000 w 6124861"/>
              <a:gd name="connsiteY2" fmla="*/ 4038600 h 6419004"/>
              <a:gd name="connsiteX3" fmla="*/ 0 w 6124861"/>
              <a:gd name="connsiteY3" fmla="*/ 5981143 h 6419004"/>
              <a:gd name="connsiteX4" fmla="*/ 0 w 6124861"/>
              <a:gd name="connsiteY4" fmla="*/ 0 h 6419004"/>
              <a:gd name="connsiteX0" fmla="*/ 0 w 6124861"/>
              <a:gd name="connsiteY0" fmla="*/ 0 h 6288307"/>
              <a:gd name="connsiteX1" fmla="*/ 5880100 w 6124861"/>
              <a:gd name="connsiteY1" fmla="*/ 0 h 6288307"/>
              <a:gd name="connsiteX2" fmla="*/ 4318000 w 6124861"/>
              <a:gd name="connsiteY2" fmla="*/ 4038600 h 6288307"/>
              <a:gd name="connsiteX3" fmla="*/ 1877438 w 6124861"/>
              <a:gd name="connsiteY3" fmla="*/ 4875323 h 6288307"/>
              <a:gd name="connsiteX4" fmla="*/ 0 w 6124861"/>
              <a:gd name="connsiteY4" fmla="*/ 5981143 h 6288307"/>
              <a:gd name="connsiteX5" fmla="*/ 0 w 6124861"/>
              <a:gd name="connsiteY5" fmla="*/ 0 h 6288307"/>
              <a:gd name="connsiteX0" fmla="*/ 0 w 6124861"/>
              <a:gd name="connsiteY0" fmla="*/ 0 h 6296591"/>
              <a:gd name="connsiteX1" fmla="*/ 5880100 w 6124861"/>
              <a:gd name="connsiteY1" fmla="*/ 0 h 6296591"/>
              <a:gd name="connsiteX2" fmla="*/ 4318000 w 6124861"/>
              <a:gd name="connsiteY2" fmla="*/ 4038600 h 6296591"/>
              <a:gd name="connsiteX3" fmla="*/ 1186774 w 6124861"/>
              <a:gd name="connsiteY3" fmla="*/ 4942685 h 6296591"/>
              <a:gd name="connsiteX4" fmla="*/ 0 w 6124861"/>
              <a:gd name="connsiteY4" fmla="*/ 5981143 h 6296591"/>
              <a:gd name="connsiteX5" fmla="*/ 0 w 6124861"/>
              <a:gd name="connsiteY5" fmla="*/ 0 h 6296591"/>
              <a:gd name="connsiteX0" fmla="*/ 0 w 6063529"/>
              <a:gd name="connsiteY0" fmla="*/ 0 h 6296591"/>
              <a:gd name="connsiteX1" fmla="*/ 5880100 w 6063529"/>
              <a:gd name="connsiteY1" fmla="*/ 0 h 6296591"/>
              <a:gd name="connsiteX2" fmla="*/ 3325778 w 6063529"/>
              <a:gd name="connsiteY2" fmla="*/ 3449184 h 6296591"/>
              <a:gd name="connsiteX3" fmla="*/ 1186774 w 6063529"/>
              <a:gd name="connsiteY3" fmla="*/ 4942685 h 6296591"/>
              <a:gd name="connsiteX4" fmla="*/ 0 w 6063529"/>
              <a:gd name="connsiteY4" fmla="*/ 5981143 h 6296591"/>
              <a:gd name="connsiteX5" fmla="*/ 0 w 6063529"/>
              <a:gd name="connsiteY5" fmla="*/ 0 h 6296591"/>
              <a:gd name="connsiteX0" fmla="*/ 0 w 6063529"/>
              <a:gd name="connsiteY0" fmla="*/ 0 h 6447106"/>
              <a:gd name="connsiteX1" fmla="*/ 5880100 w 6063529"/>
              <a:gd name="connsiteY1" fmla="*/ 0 h 6447106"/>
              <a:gd name="connsiteX2" fmla="*/ 3325778 w 6063529"/>
              <a:gd name="connsiteY2" fmla="*/ 3449184 h 6447106"/>
              <a:gd name="connsiteX3" fmla="*/ 1186774 w 6063529"/>
              <a:gd name="connsiteY3" fmla="*/ 4942685 h 6447106"/>
              <a:gd name="connsiteX4" fmla="*/ 291830 w 6063529"/>
              <a:gd name="connsiteY4" fmla="*/ 5835231 h 6447106"/>
              <a:gd name="connsiteX5" fmla="*/ 0 w 6063529"/>
              <a:gd name="connsiteY5" fmla="*/ 5981143 h 6447106"/>
              <a:gd name="connsiteX6" fmla="*/ 0 w 6063529"/>
              <a:gd name="connsiteY6" fmla="*/ 0 h 6447106"/>
              <a:gd name="connsiteX0" fmla="*/ 0 w 6063529"/>
              <a:gd name="connsiteY0" fmla="*/ 0 h 6458929"/>
              <a:gd name="connsiteX1" fmla="*/ 5880100 w 6063529"/>
              <a:gd name="connsiteY1" fmla="*/ 0 h 6458929"/>
              <a:gd name="connsiteX2" fmla="*/ 3325778 w 6063529"/>
              <a:gd name="connsiteY2" fmla="*/ 3449184 h 6458929"/>
              <a:gd name="connsiteX3" fmla="*/ 1186774 w 6063529"/>
              <a:gd name="connsiteY3" fmla="*/ 4942685 h 6458929"/>
              <a:gd name="connsiteX4" fmla="*/ 291830 w 6063529"/>
              <a:gd name="connsiteY4" fmla="*/ 5835231 h 6458929"/>
              <a:gd name="connsiteX5" fmla="*/ 87549 w 6063529"/>
              <a:gd name="connsiteY5" fmla="*/ 5969955 h 6458929"/>
              <a:gd name="connsiteX6" fmla="*/ 0 w 6063529"/>
              <a:gd name="connsiteY6" fmla="*/ 5981143 h 6458929"/>
              <a:gd name="connsiteX7" fmla="*/ 0 w 6063529"/>
              <a:gd name="connsiteY7" fmla="*/ 0 h 6458929"/>
              <a:gd name="connsiteX0" fmla="*/ 0 w 6063529"/>
              <a:gd name="connsiteY0" fmla="*/ 0 h 6465239"/>
              <a:gd name="connsiteX1" fmla="*/ 5880100 w 6063529"/>
              <a:gd name="connsiteY1" fmla="*/ 0 h 6465239"/>
              <a:gd name="connsiteX2" fmla="*/ 3325778 w 6063529"/>
              <a:gd name="connsiteY2" fmla="*/ 3449184 h 6465239"/>
              <a:gd name="connsiteX3" fmla="*/ 1186774 w 6063529"/>
              <a:gd name="connsiteY3" fmla="*/ 4942685 h 6465239"/>
              <a:gd name="connsiteX4" fmla="*/ 291830 w 6063529"/>
              <a:gd name="connsiteY4" fmla="*/ 5835231 h 6465239"/>
              <a:gd name="connsiteX5" fmla="*/ 87549 w 6063529"/>
              <a:gd name="connsiteY5" fmla="*/ 5969955 h 6465239"/>
              <a:gd name="connsiteX6" fmla="*/ 29183 w 6063529"/>
              <a:gd name="connsiteY6" fmla="*/ 6003635 h 6465239"/>
              <a:gd name="connsiteX7" fmla="*/ 0 w 6063529"/>
              <a:gd name="connsiteY7" fmla="*/ 5981143 h 6465239"/>
              <a:gd name="connsiteX8" fmla="*/ 0 w 6063529"/>
              <a:gd name="connsiteY8" fmla="*/ 0 h 6465239"/>
              <a:gd name="connsiteX0" fmla="*/ 0 w 6063529"/>
              <a:gd name="connsiteY0" fmla="*/ 0 h 6457675"/>
              <a:gd name="connsiteX1" fmla="*/ 5880100 w 6063529"/>
              <a:gd name="connsiteY1" fmla="*/ 0 h 6457675"/>
              <a:gd name="connsiteX2" fmla="*/ 3325778 w 6063529"/>
              <a:gd name="connsiteY2" fmla="*/ 3449184 h 6457675"/>
              <a:gd name="connsiteX3" fmla="*/ 1186774 w 6063529"/>
              <a:gd name="connsiteY3" fmla="*/ 4942685 h 6457675"/>
              <a:gd name="connsiteX4" fmla="*/ 291830 w 6063529"/>
              <a:gd name="connsiteY4" fmla="*/ 5835231 h 6457675"/>
              <a:gd name="connsiteX5" fmla="*/ 87549 w 6063529"/>
              <a:gd name="connsiteY5" fmla="*/ 5969955 h 6457675"/>
              <a:gd name="connsiteX6" fmla="*/ 29183 w 6063529"/>
              <a:gd name="connsiteY6" fmla="*/ 6003635 h 6457675"/>
              <a:gd name="connsiteX7" fmla="*/ 9728 w 6063529"/>
              <a:gd name="connsiteY7" fmla="*/ 5986794 h 6457675"/>
              <a:gd name="connsiteX8" fmla="*/ 0 w 6063529"/>
              <a:gd name="connsiteY8" fmla="*/ 5981143 h 6457675"/>
              <a:gd name="connsiteX9" fmla="*/ 0 w 6063529"/>
              <a:gd name="connsiteY9" fmla="*/ 0 h 6457675"/>
              <a:gd name="connsiteX0" fmla="*/ 0 w 8790761"/>
              <a:gd name="connsiteY0" fmla="*/ 0 h 6457675"/>
              <a:gd name="connsiteX1" fmla="*/ 8683590 w 8790761"/>
              <a:gd name="connsiteY1" fmla="*/ 8698 h 6457675"/>
              <a:gd name="connsiteX2" fmla="*/ 3325778 w 8790761"/>
              <a:gd name="connsiteY2" fmla="*/ 3449184 h 6457675"/>
              <a:gd name="connsiteX3" fmla="*/ 1186774 w 8790761"/>
              <a:gd name="connsiteY3" fmla="*/ 4942685 h 6457675"/>
              <a:gd name="connsiteX4" fmla="*/ 291830 w 8790761"/>
              <a:gd name="connsiteY4" fmla="*/ 5835231 h 6457675"/>
              <a:gd name="connsiteX5" fmla="*/ 87549 w 8790761"/>
              <a:gd name="connsiteY5" fmla="*/ 5969955 h 6457675"/>
              <a:gd name="connsiteX6" fmla="*/ 29183 w 8790761"/>
              <a:gd name="connsiteY6" fmla="*/ 6003635 h 6457675"/>
              <a:gd name="connsiteX7" fmla="*/ 9728 w 8790761"/>
              <a:gd name="connsiteY7" fmla="*/ 5986794 h 6457675"/>
              <a:gd name="connsiteX8" fmla="*/ 0 w 8790761"/>
              <a:gd name="connsiteY8" fmla="*/ 5981143 h 6457675"/>
              <a:gd name="connsiteX9" fmla="*/ 0 w 8790761"/>
              <a:gd name="connsiteY9" fmla="*/ 0 h 645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90761" h="6457675">
                <a:moveTo>
                  <a:pt x="0" y="0"/>
                </a:moveTo>
                <a:lnTo>
                  <a:pt x="8683590" y="8698"/>
                </a:lnTo>
                <a:cubicBezTo>
                  <a:pt x="9663607" y="988715"/>
                  <a:pt x="3607295" y="1199167"/>
                  <a:pt x="3325778" y="3449184"/>
                </a:cubicBezTo>
                <a:cubicBezTo>
                  <a:pt x="2806204" y="4463824"/>
                  <a:pt x="1906440" y="4618928"/>
                  <a:pt x="1186774" y="4942685"/>
                </a:cubicBezTo>
                <a:cubicBezTo>
                  <a:pt x="674631" y="5414738"/>
                  <a:pt x="489626" y="5662155"/>
                  <a:pt x="291830" y="5835231"/>
                </a:cubicBezTo>
                <a:cubicBezTo>
                  <a:pt x="103762" y="6080822"/>
                  <a:pt x="136187" y="5945636"/>
                  <a:pt x="87549" y="5969955"/>
                </a:cubicBezTo>
                <a:cubicBezTo>
                  <a:pt x="38911" y="6072401"/>
                  <a:pt x="43774" y="6001770"/>
                  <a:pt x="29183" y="6003635"/>
                </a:cubicBezTo>
                <a:cubicBezTo>
                  <a:pt x="14592" y="6079417"/>
                  <a:pt x="14592" y="5990543"/>
                  <a:pt x="9728" y="5986794"/>
                </a:cubicBezTo>
                <a:cubicBezTo>
                  <a:pt x="4864" y="5983045"/>
                  <a:pt x="0" y="7051917"/>
                  <a:pt x="0" y="5981143"/>
                </a:cubicBezTo>
                <a:lnTo>
                  <a:pt x="0" y="0"/>
                </a:lnTo>
                <a:close/>
              </a:path>
            </a:pathLst>
          </a:custGeom>
          <a:solidFill>
            <a:srgbClr val="F2EAF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4" name="Object 3" hidden="1">
            <a:extLst>
              <a:ext uri="{FF2B5EF4-FFF2-40B4-BE49-F238E27FC236}">
                <a16:creationId xmlns:a16="http://schemas.microsoft.com/office/drawing/2014/main" id="{8C8FA7AC-B37F-4E1E-AFD9-DAA70D9E71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8C8FA7AC-B37F-4E1E-AFD9-DAA70D9E71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5" name="Rectangle 34">
            <a:extLst>
              <a:ext uri="{FF2B5EF4-FFF2-40B4-BE49-F238E27FC236}">
                <a16:creationId xmlns:a16="http://schemas.microsoft.com/office/drawing/2014/main" id="{3B62D48D-742F-4585-97E7-27E04C1E73AB}"/>
              </a:ext>
            </a:extLst>
          </p:cNvPr>
          <p:cNvSpPr/>
          <p:nvPr/>
        </p:nvSpPr>
        <p:spPr>
          <a:xfrm rot="10800000">
            <a:off x="-4" y="6046154"/>
            <a:ext cx="12132015" cy="832675"/>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12802 w 3492612"/>
              <a:gd name="connsiteY0" fmla="*/ 0 h 1146118"/>
              <a:gd name="connsiteX1" fmla="*/ 3492612 w 3492612"/>
              <a:gd name="connsiteY1" fmla="*/ 4553 h 1146118"/>
              <a:gd name="connsiteX2" fmla="*/ 3492612 w 3492612"/>
              <a:gd name="connsiteY2" fmla="*/ 1130405 h 1146118"/>
              <a:gd name="connsiteX3" fmla="*/ 3136462 w 3492612"/>
              <a:gd name="connsiteY3" fmla="*/ 374170 h 1146118"/>
              <a:gd name="connsiteX4" fmla="*/ 2198295 w 3492612"/>
              <a:gd name="connsiteY4" fmla="*/ 775263 h 1146118"/>
              <a:gd name="connsiteX5" fmla="*/ 12802 w 3492612"/>
              <a:gd name="connsiteY5" fmla="*/ 0 h 114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2612" h="1146118">
                <a:moveTo>
                  <a:pt x="12802" y="0"/>
                </a:moveTo>
                <a:lnTo>
                  <a:pt x="3492612" y="4553"/>
                </a:lnTo>
                <a:lnTo>
                  <a:pt x="3492612" y="1130405"/>
                </a:lnTo>
                <a:cubicBezTo>
                  <a:pt x="3387229" y="1270157"/>
                  <a:pt x="3352181" y="433360"/>
                  <a:pt x="3136462" y="374170"/>
                </a:cubicBezTo>
                <a:cubicBezTo>
                  <a:pt x="2920743" y="314980"/>
                  <a:pt x="2718905" y="837625"/>
                  <a:pt x="2198295" y="775263"/>
                </a:cubicBezTo>
                <a:cubicBezTo>
                  <a:pt x="1677685" y="712901"/>
                  <a:pt x="-171046" y="183848"/>
                  <a:pt x="12802"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E940B0CD-CDC3-4D1A-BED9-138021592740}"/>
              </a:ext>
            </a:extLst>
          </p:cNvPr>
          <p:cNvSpPr txBox="1"/>
          <p:nvPr/>
        </p:nvSpPr>
        <p:spPr>
          <a:xfrm>
            <a:off x="1262386" y="168604"/>
            <a:ext cx="8276694" cy="1617238"/>
          </a:xfrm>
          <a:prstGeom prst="rect">
            <a:avLst/>
          </a:prstGeom>
          <a:noFill/>
        </p:spPr>
        <p:txBody>
          <a:bodyPr wrap="square" lIns="0" tIns="0" rIns="0" bIns="0" rtlCol="0">
            <a:spAutoFit/>
          </a:bodyPr>
          <a:lstStyle/>
          <a:p>
            <a:pPr algn="ctr">
              <a:lnSpc>
                <a:spcPct val="80000"/>
              </a:lnSpc>
            </a:pPr>
            <a:r>
              <a:rPr lang="en-US" sz="4000" dirty="0">
                <a:solidFill>
                  <a:srgbClr val="652D74"/>
                </a:solidFill>
                <a:latin typeface="Baskerville Old Face" panose="02020602080505020303" pitchFamily="18" charset="0"/>
              </a:rPr>
              <a:t>T</a:t>
            </a:r>
            <a:r>
              <a:rPr lang="en-IL" sz="4000" dirty="0">
                <a:solidFill>
                  <a:srgbClr val="652D74"/>
                </a:solidFill>
                <a:latin typeface="Baskerville Old Face" panose="02020602080505020303" pitchFamily="18" charset="0"/>
              </a:rPr>
              <a:t>he best accuracy</a:t>
            </a:r>
            <a:r>
              <a:rPr lang="en-US" sz="4000" dirty="0">
                <a:solidFill>
                  <a:srgbClr val="652D74"/>
                </a:solidFill>
                <a:latin typeface="Baskerville Old Face" panose="02020602080505020303" pitchFamily="18" charset="0"/>
              </a:rPr>
              <a:t> </a:t>
            </a:r>
            <a:r>
              <a:rPr lang="en-IL" sz="4000" dirty="0">
                <a:solidFill>
                  <a:srgbClr val="652D74"/>
                </a:solidFill>
                <a:latin typeface="Baskerville Old Face" panose="02020602080505020303" pitchFamily="18" charset="0"/>
              </a:rPr>
              <a:t> for all</a:t>
            </a:r>
            <a:r>
              <a:rPr lang="en-US" sz="4000" dirty="0">
                <a:solidFill>
                  <a:srgbClr val="652D74"/>
                </a:solidFill>
                <a:latin typeface="Baskerville Old Face" panose="02020602080505020303" pitchFamily="18" charset="0"/>
              </a:rPr>
              <a:t> </a:t>
            </a:r>
            <a:r>
              <a:rPr lang="en-IL" sz="4000" dirty="0">
                <a:solidFill>
                  <a:srgbClr val="652D74"/>
                </a:solidFill>
                <a:latin typeface="Baskerville Old Face" panose="02020602080505020303" pitchFamily="18" charset="0"/>
              </a:rPr>
              <a:t>algorithms</a:t>
            </a:r>
            <a:r>
              <a:rPr lang="en-US" sz="4000" dirty="0">
                <a:solidFill>
                  <a:srgbClr val="652D74"/>
                </a:solidFill>
                <a:latin typeface="Baskerville Old Face" panose="02020602080505020303" pitchFamily="18" charset="0"/>
              </a:rPr>
              <a:t>:</a:t>
            </a:r>
          </a:p>
          <a:p>
            <a:pPr algn="ctr">
              <a:lnSpc>
                <a:spcPct val="80000"/>
              </a:lnSpc>
            </a:pPr>
            <a:r>
              <a:rPr lang="en-US" sz="1100" dirty="0">
                <a:solidFill>
                  <a:srgbClr val="652D74"/>
                </a:solidFill>
                <a:latin typeface="Baskerville Old Face" panose="02020602080505020303" pitchFamily="18" charset="0"/>
              </a:rPr>
              <a:t>_____________________________________________________________________________________________________________</a:t>
            </a:r>
          </a:p>
          <a:p>
            <a:pPr algn="ctr">
              <a:lnSpc>
                <a:spcPct val="80000"/>
              </a:lnSpc>
            </a:pPr>
            <a:r>
              <a:rPr lang="en-US" sz="2800" b="1" dirty="0">
                <a:solidFill>
                  <a:srgbClr val="652D74"/>
                </a:solidFill>
                <a:latin typeface="Baskerville Old Face" panose="02020602080505020303" pitchFamily="18" charset="0"/>
              </a:rPr>
              <a:t>Recommendation for Churn Prediction</a:t>
            </a:r>
          </a:p>
          <a:p>
            <a:pPr algn="ctr">
              <a:lnSpc>
                <a:spcPct val="80000"/>
              </a:lnSpc>
            </a:pPr>
            <a:endParaRPr lang="en-US" sz="1100" dirty="0">
              <a:solidFill>
                <a:srgbClr val="652D74"/>
              </a:solidFill>
              <a:latin typeface="Baskerville Old Face" panose="02020602080505020303" pitchFamily="18" charset="0"/>
            </a:endParaRPr>
          </a:p>
          <a:p>
            <a:pPr algn="ctr">
              <a:lnSpc>
                <a:spcPct val="80000"/>
              </a:lnSpc>
            </a:pPr>
            <a:endParaRPr lang="en-US" sz="4000" dirty="0">
              <a:solidFill>
                <a:srgbClr val="652D74"/>
              </a:solidFill>
              <a:latin typeface="Baskerville Old Face" panose="02020602080505020303" pitchFamily="18" charset="0"/>
            </a:endParaRPr>
          </a:p>
        </p:txBody>
      </p:sp>
      <p:sp>
        <p:nvSpPr>
          <p:cNvPr id="42" name="Slide Number Placeholder 41">
            <a:extLst>
              <a:ext uri="{FF2B5EF4-FFF2-40B4-BE49-F238E27FC236}">
                <a16:creationId xmlns:a16="http://schemas.microsoft.com/office/drawing/2014/main" id="{7681E91A-08DB-47B4-A0B7-DCF410E8C00E}"/>
              </a:ext>
            </a:extLst>
          </p:cNvPr>
          <p:cNvSpPr>
            <a:spLocks noGrp="1"/>
          </p:cNvSpPr>
          <p:nvPr>
            <p:ph type="sldNum" sz="quarter" idx="4"/>
          </p:nvPr>
        </p:nvSpPr>
        <p:spPr/>
        <p:txBody>
          <a:bodyPr/>
          <a:lstStyle/>
          <a:p>
            <a:fld id="{B84D2E29-67F4-44D8-B0E3-F54815B4F123}" type="slidenum">
              <a:rPr lang="en-US" smtClean="0"/>
              <a:pPr/>
              <a:t>24</a:t>
            </a:fld>
            <a:endParaRPr lang="en-US" dirty="0"/>
          </a:p>
        </p:txBody>
      </p:sp>
      <p:sp>
        <p:nvSpPr>
          <p:cNvPr id="7" name="TextBox 6">
            <a:extLst>
              <a:ext uri="{FF2B5EF4-FFF2-40B4-BE49-F238E27FC236}">
                <a16:creationId xmlns:a16="http://schemas.microsoft.com/office/drawing/2014/main" id="{40FE114D-846B-45EE-8529-C8F9341ACF6C}"/>
              </a:ext>
            </a:extLst>
          </p:cNvPr>
          <p:cNvSpPr txBox="1"/>
          <p:nvPr/>
        </p:nvSpPr>
        <p:spPr>
          <a:xfrm>
            <a:off x="196502" y="1508077"/>
            <a:ext cx="3840205" cy="5539978"/>
          </a:xfrm>
          <a:prstGeom prst="rect">
            <a:avLst/>
          </a:prstGeom>
          <a:noFill/>
        </p:spPr>
        <p:txBody>
          <a:bodyPr wrap="square" rtlCol="0">
            <a:spAutoFit/>
          </a:bodyPr>
          <a:lstStyle/>
          <a:p>
            <a:r>
              <a:rPr lang="en-US" b="1" dirty="0">
                <a:solidFill>
                  <a:srgbClr val="652D74"/>
                </a:solidFill>
                <a:latin typeface="Book Antiqua" panose="02040602050305030304" pitchFamily="18" charset="0"/>
              </a:rPr>
              <a:t>	Logistic Regression</a:t>
            </a:r>
            <a:r>
              <a:rPr lang="en-US" dirty="0">
                <a:solidFill>
                  <a:srgbClr val="652D74"/>
                </a:solidFill>
                <a:latin typeface="Book Antiqua" panose="02040602050305030304" pitchFamily="18" charset="0"/>
              </a:rPr>
              <a:t>:</a:t>
            </a:r>
          </a:p>
          <a:p>
            <a:endParaRPr lang="en-US" sz="1000" dirty="0">
              <a:solidFill>
                <a:srgbClr val="652D74"/>
              </a:solidFill>
              <a:latin typeface="Book Antiqua" panose="02040602050305030304" pitchFamily="18" charset="0"/>
            </a:endParaRPr>
          </a:p>
          <a:p>
            <a:pPr marL="742950" lvl="1" indent="-285750">
              <a:buFont typeface="+mj-lt"/>
              <a:buAutoNum type="arabicPeriod"/>
            </a:pPr>
            <a:r>
              <a:rPr lang="en-US" sz="1600" dirty="0">
                <a:solidFill>
                  <a:srgbClr val="652D74"/>
                </a:solidFill>
                <a:latin typeface="Book Antiqua" panose="02040602050305030304" pitchFamily="18" charset="0"/>
              </a:rPr>
              <a:t>Best choice for simplicity and consistent performance.</a:t>
            </a:r>
          </a:p>
          <a:p>
            <a:pPr marL="742950" lvl="1" indent="-285750">
              <a:buFont typeface="+mj-lt"/>
              <a:buAutoNum type="arabicPeriod"/>
            </a:pPr>
            <a:r>
              <a:rPr lang="en-US" sz="1600" dirty="0">
                <a:solidFill>
                  <a:srgbClr val="652D74"/>
                </a:solidFill>
                <a:latin typeface="Book Antiqua" panose="02040602050305030304" pitchFamily="18" charset="0"/>
              </a:rPr>
              <a:t>Ideal if interpretability is a priority.</a:t>
            </a:r>
          </a:p>
          <a:p>
            <a:pPr lvl="1"/>
            <a:endParaRPr lang="en-US" sz="1000" dirty="0">
              <a:solidFill>
                <a:srgbClr val="652D74"/>
              </a:solidFill>
              <a:latin typeface="Book Antiqua" panose="02040602050305030304" pitchFamily="18" charset="0"/>
            </a:endParaRPr>
          </a:p>
          <a:p>
            <a:r>
              <a:rPr lang="en-US" b="1" dirty="0">
                <a:solidFill>
                  <a:srgbClr val="652D74"/>
                </a:solidFill>
                <a:latin typeface="Book Antiqua" panose="02040602050305030304" pitchFamily="18" charset="0"/>
              </a:rPr>
              <a:t>	XGBoost or GBDT</a:t>
            </a:r>
            <a:r>
              <a:rPr lang="en-US" dirty="0">
                <a:solidFill>
                  <a:srgbClr val="652D74"/>
                </a:solidFill>
                <a:latin typeface="Book Antiqua" panose="02040602050305030304" pitchFamily="18" charset="0"/>
              </a:rPr>
              <a:t>:</a:t>
            </a:r>
          </a:p>
          <a:p>
            <a:endParaRPr lang="en-US" sz="1000" dirty="0">
              <a:solidFill>
                <a:srgbClr val="652D74"/>
              </a:solidFill>
              <a:latin typeface="Book Antiqua" panose="02040602050305030304" pitchFamily="18" charset="0"/>
            </a:endParaRPr>
          </a:p>
          <a:p>
            <a:pPr marL="742950" lvl="1" indent="-285750">
              <a:buFont typeface="+mj-lt"/>
              <a:buAutoNum type="arabicPeriod"/>
            </a:pPr>
            <a:r>
              <a:rPr lang="en-US" sz="1600" dirty="0">
                <a:solidFill>
                  <a:srgbClr val="652D74"/>
                </a:solidFill>
                <a:latin typeface="Book Antiqua" panose="02040602050305030304" pitchFamily="18" charset="0"/>
              </a:rPr>
              <a:t>These models should be preferred if you seek better performance with slightly higher complexity.</a:t>
            </a:r>
          </a:p>
          <a:p>
            <a:pPr marL="742950" lvl="1" indent="-285750">
              <a:buFont typeface="+mj-lt"/>
              <a:buAutoNum type="arabicPeriod"/>
            </a:pPr>
            <a:r>
              <a:rPr lang="en-US" sz="1600" dirty="0">
                <a:solidFill>
                  <a:srgbClr val="652D74"/>
                </a:solidFill>
                <a:latin typeface="Book Antiqua" panose="02040602050305030304" pitchFamily="18" charset="0"/>
              </a:rPr>
              <a:t>Parameter tuning is essential to reduce overfitting and maximize generalization.</a:t>
            </a:r>
          </a:p>
          <a:p>
            <a:pPr lvl="1"/>
            <a:endParaRPr lang="en-US" sz="1000" dirty="0">
              <a:solidFill>
                <a:srgbClr val="652D74"/>
              </a:solidFill>
              <a:latin typeface="Book Antiqua" panose="02040602050305030304" pitchFamily="18" charset="0"/>
            </a:endParaRPr>
          </a:p>
          <a:p>
            <a:r>
              <a:rPr lang="en-US" b="1" dirty="0">
                <a:solidFill>
                  <a:srgbClr val="652D74"/>
                </a:solidFill>
                <a:latin typeface="Book Antiqua" panose="02040602050305030304" pitchFamily="18" charset="0"/>
              </a:rPr>
              <a:t>	Avoid</a:t>
            </a:r>
            <a:r>
              <a:rPr lang="en-US" dirty="0">
                <a:solidFill>
                  <a:srgbClr val="652D74"/>
                </a:solidFill>
                <a:latin typeface="Book Antiqua" panose="02040602050305030304" pitchFamily="18" charset="0"/>
              </a:rPr>
              <a:t>:</a:t>
            </a:r>
          </a:p>
          <a:p>
            <a:endParaRPr lang="en-US" sz="1000" dirty="0">
              <a:solidFill>
                <a:srgbClr val="652D74"/>
              </a:solidFill>
              <a:latin typeface="Book Antiqua" panose="02040602050305030304" pitchFamily="18" charset="0"/>
            </a:endParaRPr>
          </a:p>
          <a:p>
            <a:pPr marL="742950" lvl="1" indent="-285750">
              <a:buFont typeface="+mj-lt"/>
              <a:buAutoNum type="arabicPeriod"/>
            </a:pPr>
            <a:r>
              <a:rPr lang="en-US" sz="1600" dirty="0">
                <a:solidFill>
                  <a:srgbClr val="652D74"/>
                </a:solidFill>
                <a:latin typeface="Book Antiqua" panose="02040602050305030304" pitchFamily="18" charset="0"/>
              </a:rPr>
              <a:t>SVM: Due to severe overfitting.</a:t>
            </a:r>
          </a:p>
          <a:p>
            <a:pPr marL="742950" lvl="1" indent="-285750">
              <a:buFont typeface="+mj-lt"/>
              <a:buAutoNum type="arabicPeriod"/>
            </a:pPr>
            <a:r>
              <a:rPr lang="en-US" sz="1600" dirty="0">
                <a:solidFill>
                  <a:srgbClr val="652D74"/>
                </a:solidFill>
                <a:latin typeface="Book Antiqua" panose="02040602050305030304" pitchFamily="18" charset="0"/>
              </a:rPr>
              <a:t>Naive Bayes: Due to low accuracy.</a:t>
            </a:r>
          </a:p>
          <a:p>
            <a:endParaRPr lang="en-IL" dirty="0">
              <a:solidFill>
                <a:srgbClr val="652D74"/>
              </a:solidFill>
              <a:latin typeface="Book Antiqua" panose="02040602050305030304" pitchFamily="18" charset="0"/>
            </a:endParaRPr>
          </a:p>
        </p:txBody>
      </p:sp>
      <p:grpSp>
        <p:nvGrpSpPr>
          <p:cNvPr id="9" name="Group 8">
            <a:extLst>
              <a:ext uri="{FF2B5EF4-FFF2-40B4-BE49-F238E27FC236}">
                <a16:creationId xmlns:a16="http://schemas.microsoft.com/office/drawing/2014/main" id="{F59D4B36-DA16-43B3-96FA-5C665CF717AF}"/>
              </a:ext>
            </a:extLst>
          </p:cNvPr>
          <p:cNvGrpSpPr/>
          <p:nvPr/>
        </p:nvGrpSpPr>
        <p:grpSpPr>
          <a:xfrm>
            <a:off x="3997253" y="1416423"/>
            <a:ext cx="7913176" cy="4584934"/>
            <a:chOff x="3986644" y="2061882"/>
            <a:chExt cx="7913176" cy="4584934"/>
          </a:xfrm>
        </p:grpSpPr>
        <p:sp>
          <p:nvSpPr>
            <p:cNvPr id="12" name="Google Shape;253;p33">
              <a:extLst>
                <a:ext uri="{FF2B5EF4-FFF2-40B4-BE49-F238E27FC236}">
                  <a16:creationId xmlns:a16="http://schemas.microsoft.com/office/drawing/2014/main" id="{0076C2EE-34BA-4517-8E43-F8AFE9A0C483}"/>
                </a:ext>
              </a:extLst>
            </p:cNvPr>
            <p:cNvSpPr/>
            <p:nvPr/>
          </p:nvSpPr>
          <p:spPr>
            <a:xfrm rot="5400000">
              <a:off x="5650765" y="397761"/>
              <a:ext cx="4584934" cy="7913176"/>
            </a:xfrm>
            <a:custGeom>
              <a:avLst/>
              <a:gdLst/>
              <a:ahLst/>
              <a:cxnLst/>
              <a:rect l="l" t="t" r="r" b="b"/>
              <a:pathLst>
                <a:path w="60958" h="86210" extrusionOk="0">
                  <a:moveTo>
                    <a:pt x="28985" y="3938"/>
                  </a:moveTo>
                  <a:lnTo>
                    <a:pt x="29189" y="4006"/>
                  </a:lnTo>
                  <a:lnTo>
                    <a:pt x="29189" y="4141"/>
                  </a:lnTo>
                  <a:lnTo>
                    <a:pt x="29189" y="4277"/>
                  </a:lnTo>
                  <a:lnTo>
                    <a:pt x="28985" y="4345"/>
                  </a:lnTo>
                  <a:lnTo>
                    <a:pt x="28850" y="4277"/>
                  </a:lnTo>
                  <a:lnTo>
                    <a:pt x="28782" y="4141"/>
                  </a:lnTo>
                  <a:lnTo>
                    <a:pt x="28850" y="4006"/>
                  </a:lnTo>
                  <a:lnTo>
                    <a:pt x="28985" y="3938"/>
                  </a:lnTo>
                  <a:close/>
                  <a:moveTo>
                    <a:pt x="30479" y="3734"/>
                  </a:moveTo>
                  <a:lnTo>
                    <a:pt x="30615" y="3802"/>
                  </a:lnTo>
                  <a:lnTo>
                    <a:pt x="30750" y="3870"/>
                  </a:lnTo>
                  <a:lnTo>
                    <a:pt x="30818" y="4006"/>
                  </a:lnTo>
                  <a:lnTo>
                    <a:pt x="30818" y="4141"/>
                  </a:lnTo>
                  <a:lnTo>
                    <a:pt x="30818" y="4277"/>
                  </a:lnTo>
                  <a:lnTo>
                    <a:pt x="30750" y="4345"/>
                  </a:lnTo>
                  <a:lnTo>
                    <a:pt x="30615" y="4481"/>
                  </a:lnTo>
                  <a:lnTo>
                    <a:pt x="30343" y="4481"/>
                  </a:lnTo>
                  <a:lnTo>
                    <a:pt x="30207" y="4345"/>
                  </a:lnTo>
                  <a:lnTo>
                    <a:pt x="30139" y="4277"/>
                  </a:lnTo>
                  <a:lnTo>
                    <a:pt x="30139" y="4141"/>
                  </a:lnTo>
                  <a:lnTo>
                    <a:pt x="30139" y="4006"/>
                  </a:lnTo>
                  <a:lnTo>
                    <a:pt x="30207" y="3870"/>
                  </a:lnTo>
                  <a:lnTo>
                    <a:pt x="30343" y="3802"/>
                  </a:lnTo>
                  <a:lnTo>
                    <a:pt x="30479" y="3734"/>
                  </a:lnTo>
                  <a:close/>
                  <a:moveTo>
                    <a:pt x="56885" y="7943"/>
                  </a:moveTo>
                  <a:lnTo>
                    <a:pt x="56885" y="78132"/>
                  </a:lnTo>
                  <a:lnTo>
                    <a:pt x="56817" y="78200"/>
                  </a:lnTo>
                  <a:lnTo>
                    <a:pt x="4209" y="78200"/>
                  </a:lnTo>
                  <a:lnTo>
                    <a:pt x="4141" y="78132"/>
                  </a:lnTo>
                  <a:lnTo>
                    <a:pt x="4141" y="7943"/>
                  </a:lnTo>
                  <a:close/>
                  <a:moveTo>
                    <a:pt x="30479" y="80440"/>
                  </a:moveTo>
                  <a:lnTo>
                    <a:pt x="30071" y="80508"/>
                  </a:lnTo>
                  <a:lnTo>
                    <a:pt x="29732" y="80576"/>
                  </a:lnTo>
                  <a:lnTo>
                    <a:pt x="29461" y="80779"/>
                  </a:lnTo>
                  <a:lnTo>
                    <a:pt x="29189" y="80983"/>
                  </a:lnTo>
                  <a:lnTo>
                    <a:pt x="28917" y="81255"/>
                  </a:lnTo>
                  <a:lnTo>
                    <a:pt x="28782" y="81594"/>
                  </a:lnTo>
                  <a:lnTo>
                    <a:pt x="28646" y="81933"/>
                  </a:lnTo>
                  <a:lnTo>
                    <a:pt x="28646" y="82273"/>
                  </a:lnTo>
                  <a:lnTo>
                    <a:pt x="28646" y="82341"/>
                  </a:lnTo>
                  <a:lnTo>
                    <a:pt x="28646" y="82680"/>
                  </a:lnTo>
                  <a:lnTo>
                    <a:pt x="28782" y="83020"/>
                  </a:lnTo>
                  <a:lnTo>
                    <a:pt x="28985" y="83291"/>
                  </a:lnTo>
                  <a:lnTo>
                    <a:pt x="29189" y="83563"/>
                  </a:lnTo>
                  <a:lnTo>
                    <a:pt x="29461" y="83834"/>
                  </a:lnTo>
                  <a:lnTo>
                    <a:pt x="29800" y="83970"/>
                  </a:lnTo>
                  <a:lnTo>
                    <a:pt x="30139" y="84106"/>
                  </a:lnTo>
                  <a:lnTo>
                    <a:pt x="30818" y="84106"/>
                  </a:lnTo>
                  <a:lnTo>
                    <a:pt x="31158" y="83970"/>
                  </a:lnTo>
                  <a:lnTo>
                    <a:pt x="31497" y="83766"/>
                  </a:lnTo>
                  <a:lnTo>
                    <a:pt x="31768" y="83563"/>
                  </a:lnTo>
                  <a:lnTo>
                    <a:pt x="31972" y="83291"/>
                  </a:lnTo>
                  <a:lnTo>
                    <a:pt x="32176" y="83020"/>
                  </a:lnTo>
                  <a:lnTo>
                    <a:pt x="32244" y="82612"/>
                  </a:lnTo>
                  <a:lnTo>
                    <a:pt x="32312" y="82273"/>
                  </a:lnTo>
                  <a:lnTo>
                    <a:pt x="32244" y="81933"/>
                  </a:lnTo>
                  <a:lnTo>
                    <a:pt x="32176" y="81594"/>
                  </a:lnTo>
                  <a:lnTo>
                    <a:pt x="31972" y="81255"/>
                  </a:lnTo>
                  <a:lnTo>
                    <a:pt x="31768" y="80983"/>
                  </a:lnTo>
                  <a:lnTo>
                    <a:pt x="31497" y="80779"/>
                  </a:lnTo>
                  <a:lnTo>
                    <a:pt x="31158" y="80576"/>
                  </a:lnTo>
                  <a:lnTo>
                    <a:pt x="30818" y="80508"/>
                  </a:lnTo>
                  <a:lnTo>
                    <a:pt x="30479" y="80440"/>
                  </a:lnTo>
                  <a:close/>
                  <a:moveTo>
                    <a:pt x="30886" y="80304"/>
                  </a:moveTo>
                  <a:lnTo>
                    <a:pt x="31225" y="80440"/>
                  </a:lnTo>
                  <a:lnTo>
                    <a:pt x="31565" y="80644"/>
                  </a:lnTo>
                  <a:lnTo>
                    <a:pt x="31904" y="80847"/>
                  </a:lnTo>
                  <a:lnTo>
                    <a:pt x="32108" y="81187"/>
                  </a:lnTo>
                  <a:lnTo>
                    <a:pt x="32312" y="81526"/>
                  </a:lnTo>
                  <a:lnTo>
                    <a:pt x="32447" y="81866"/>
                  </a:lnTo>
                  <a:lnTo>
                    <a:pt x="32447" y="82273"/>
                  </a:lnTo>
                  <a:lnTo>
                    <a:pt x="32447" y="82680"/>
                  </a:lnTo>
                  <a:lnTo>
                    <a:pt x="32312" y="83020"/>
                  </a:lnTo>
                  <a:lnTo>
                    <a:pt x="32108" y="83359"/>
                  </a:lnTo>
                  <a:lnTo>
                    <a:pt x="31904" y="83698"/>
                  </a:lnTo>
                  <a:lnTo>
                    <a:pt x="31565" y="83902"/>
                  </a:lnTo>
                  <a:lnTo>
                    <a:pt x="31225" y="84106"/>
                  </a:lnTo>
                  <a:lnTo>
                    <a:pt x="30886" y="84241"/>
                  </a:lnTo>
                  <a:lnTo>
                    <a:pt x="30479" y="84309"/>
                  </a:lnTo>
                  <a:lnTo>
                    <a:pt x="30071" y="84241"/>
                  </a:lnTo>
                  <a:lnTo>
                    <a:pt x="29732" y="84106"/>
                  </a:lnTo>
                  <a:lnTo>
                    <a:pt x="29393" y="83970"/>
                  </a:lnTo>
                  <a:lnTo>
                    <a:pt x="29053" y="83698"/>
                  </a:lnTo>
                  <a:lnTo>
                    <a:pt x="28850" y="83427"/>
                  </a:lnTo>
                  <a:lnTo>
                    <a:pt x="28646" y="83087"/>
                  </a:lnTo>
                  <a:lnTo>
                    <a:pt x="28510" y="82748"/>
                  </a:lnTo>
                  <a:lnTo>
                    <a:pt x="28442" y="82341"/>
                  </a:lnTo>
                  <a:lnTo>
                    <a:pt x="28442" y="82273"/>
                  </a:lnTo>
                  <a:lnTo>
                    <a:pt x="28510" y="81866"/>
                  </a:lnTo>
                  <a:lnTo>
                    <a:pt x="28646" y="81526"/>
                  </a:lnTo>
                  <a:lnTo>
                    <a:pt x="28782" y="81187"/>
                  </a:lnTo>
                  <a:lnTo>
                    <a:pt x="29053" y="80847"/>
                  </a:lnTo>
                  <a:lnTo>
                    <a:pt x="29325" y="80644"/>
                  </a:lnTo>
                  <a:lnTo>
                    <a:pt x="29664" y="80440"/>
                  </a:lnTo>
                  <a:lnTo>
                    <a:pt x="30071" y="80304"/>
                  </a:lnTo>
                  <a:close/>
                  <a:moveTo>
                    <a:pt x="3530" y="815"/>
                  </a:moveTo>
                  <a:lnTo>
                    <a:pt x="2987" y="883"/>
                  </a:lnTo>
                  <a:lnTo>
                    <a:pt x="2512" y="1019"/>
                  </a:lnTo>
                  <a:lnTo>
                    <a:pt x="2036" y="1290"/>
                  </a:lnTo>
                  <a:lnTo>
                    <a:pt x="1629" y="1630"/>
                  </a:lnTo>
                  <a:lnTo>
                    <a:pt x="1290" y="2037"/>
                  </a:lnTo>
                  <a:lnTo>
                    <a:pt x="1086" y="2512"/>
                  </a:lnTo>
                  <a:lnTo>
                    <a:pt x="950" y="2987"/>
                  </a:lnTo>
                  <a:lnTo>
                    <a:pt x="882" y="3530"/>
                  </a:lnTo>
                  <a:lnTo>
                    <a:pt x="882" y="82612"/>
                  </a:lnTo>
                  <a:lnTo>
                    <a:pt x="950" y="83155"/>
                  </a:lnTo>
                  <a:lnTo>
                    <a:pt x="1086" y="83698"/>
                  </a:lnTo>
                  <a:lnTo>
                    <a:pt x="1358" y="84174"/>
                  </a:lnTo>
                  <a:lnTo>
                    <a:pt x="1765" y="84581"/>
                  </a:lnTo>
                  <a:lnTo>
                    <a:pt x="2172" y="84852"/>
                  </a:lnTo>
                  <a:lnTo>
                    <a:pt x="2715" y="85124"/>
                  </a:lnTo>
                  <a:lnTo>
                    <a:pt x="3258" y="85260"/>
                  </a:lnTo>
                  <a:lnTo>
                    <a:pt x="3869" y="85328"/>
                  </a:lnTo>
                  <a:lnTo>
                    <a:pt x="57156" y="85328"/>
                  </a:lnTo>
                  <a:lnTo>
                    <a:pt x="57767" y="85260"/>
                  </a:lnTo>
                  <a:lnTo>
                    <a:pt x="58310" y="85124"/>
                  </a:lnTo>
                  <a:lnTo>
                    <a:pt x="58785" y="84852"/>
                  </a:lnTo>
                  <a:lnTo>
                    <a:pt x="59260" y="84513"/>
                  </a:lnTo>
                  <a:lnTo>
                    <a:pt x="59600" y="84106"/>
                  </a:lnTo>
                  <a:lnTo>
                    <a:pt x="59871" y="83631"/>
                  </a:lnTo>
                  <a:lnTo>
                    <a:pt x="60075" y="83087"/>
                  </a:lnTo>
                  <a:lnTo>
                    <a:pt x="60143" y="82477"/>
                  </a:lnTo>
                  <a:lnTo>
                    <a:pt x="60143" y="3530"/>
                  </a:lnTo>
                  <a:lnTo>
                    <a:pt x="60075" y="2987"/>
                  </a:lnTo>
                  <a:lnTo>
                    <a:pt x="59939" y="2512"/>
                  </a:lnTo>
                  <a:lnTo>
                    <a:pt x="59668" y="2037"/>
                  </a:lnTo>
                  <a:lnTo>
                    <a:pt x="59328" y="1630"/>
                  </a:lnTo>
                  <a:lnTo>
                    <a:pt x="58921" y="1290"/>
                  </a:lnTo>
                  <a:lnTo>
                    <a:pt x="58446" y="1019"/>
                  </a:lnTo>
                  <a:lnTo>
                    <a:pt x="57903" y="883"/>
                  </a:lnTo>
                  <a:lnTo>
                    <a:pt x="57360" y="815"/>
                  </a:lnTo>
                  <a:close/>
                  <a:moveTo>
                    <a:pt x="57971" y="679"/>
                  </a:moveTo>
                  <a:lnTo>
                    <a:pt x="58514" y="883"/>
                  </a:lnTo>
                  <a:lnTo>
                    <a:pt x="58989" y="1155"/>
                  </a:lnTo>
                  <a:lnTo>
                    <a:pt x="59464" y="1494"/>
                  </a:lnTo>
                  <a:lnTo>
                    <a:pt x="59804" y="1901"/>
                  </a:lnTo>
                  <a:lnTo>
                    <a:pt x="60075" y="2444"/>
                  </a:lnTo>
                  <a:lnTo>
                    <a:pt x="60211" y="2987"/>
                  </a:lnTo>
                  <a:lnTo>
                    <a:pt x="60279" y="3530"/>
                  </a:lnTo>
                  <a:lnTo>
                    <a:pt x="60279" y="82477"/>
                  </a:lnTo>
                  <a:lnTo>
                    <a:pt x="60211" y="83087"/>
                  </a:lnTo>
                  <a:lnTo>
                    <a:pt x="60075" y="83698"/>
                  </a:lnTo>
                  <a:lnTo>
                    <a:pt x="59736" y="84174"/>
                  </a:lnTo>
                  <a:lnTo>
                    <a:pt x="59396" y="84649"/>
                  </a:lnTo>
                  <a:lnTo>
                    <a:pt x="58921" y="84988"/>
                  </a:lnTo>
                  <a:lnTo>
                    <a:pt x="58378" y="85260"/>
                  </a:lnTo>
                  <a:lnTo>
                    <a:pt x="57767" y="85463"/>
                  </a:lnTo>
                  <a:lnTo>
                    <a:pt x="57156" y="85531"/>
                  </a:lnTo>
                  <a:lnTo>
                    <a:pt x="3869" y="85531"/>
                  </a:lnTo>
                  <a:lnTo>
                    <a:pt x="3190" y="85463"/>
                  </a:lnTo>
                  <a:lnTo>
                    <a:pt x="2647" y="85260"/>
                  </a:lnTo>
                  <a:lnTo>
                    <a:pt x="2104" y="84988"/>
                  </a:lnTo>
                  <a:lnTo>
                    <a:pt x="1629" y="84649"/>
                  </a:lnTo>
                  <a:lnTo>
                    <a:pt x="1222" y="84241"/>
                  </a:lnTo>
                  <a:lnTo>
                    <a:pt x="950" y="83766"/>
                  </a:lnTo>
                  <a:lnTo>
                    <a:pt x="747" y="83223"/>
                  </a:lnTo>
                  <a:lnTo>
                    <a:pt x="679" y="82612"/>
                  </a:lnTo>
                  <a:lnTo>
                    <a:pt x="679" y="3530"/>
                  </a:lnTo>
                  <a:lnTo>
                    <a:pt x="747" y="2987"/>
                  </a:lnTo>
                  <a:lnTo>
                    <a:pt x="950" y="2444"/>
                  </a:lnTo>
                  <a:lnTo>
                    <a:pt x="1154" y="1901"/>
                  </a:lnTo>
                  <a:lnTo>
                    <a:pt x="1561" y="1494"/>
                  </a:lnTo>
                  <a:lnTo>
                    <a:pt x="1969" y="1155"/>
                  </a:lnTo>
                  <a:lnTo>
                    <a:pt x="2444" y="883"/>
                  </a:lnTo>
                  <a:lnTo>
                    <a:pt x="2987" y="679"/>
                  </a:lnTo>
                  <a:close/>
                  <a:moveTo>
                    <a:pt x="3530" y="1"/>
                  </a:moveTo>
                  <a:lnTo>
                    <a:pt x="2851" y="68"/>
                  </a:lnTo>
                  <a:lnTo>
                    <a:pt x="2172" y="204"/>
                  </a:lnTo>
                  <a:lnTo>
                    <a:pt x="1561" y="544"/>
                  </a:lnTo>
                  <a:lnTo>
                    <a:pt x="1018" y="1019"/>
                  </a:lnTo>
                  <a:lnTo>
                    <a:pt x="611" y="1562"/>
                  </a:lnTo>
                  <a:lnTo>
                    <a:pt x="272" y="2173"/>
                  </a:lnTo>
                  <a:lnTo>
                    <a:pt x="68" y="2852"/>
                  </a:lnTo>
                  <a:lnTo>
                    <a:pt x="0" y="3530"/>
                  </a:lnTo>
                  <a:lnTo>
                    <a:pt x="0" y="82612"/>
                  </a:lnTo>
                  <a:lnTo>
                    <a:pt x="68" y="83359"/>
                  </a:lnTo>
                  <a:lnTo>
                    <a:pt x="339" y="84038"/>
                  </a:lnTo>
                  <a:lnTo>
                    <a:pt x="679" y="84649"/>
                  </a:lnTo>
                  <a:lnTo>
                    <a:pt x="1154" y="85124"/>
                  </a:lnTo>
                  <a:lnTo>
                    <a:pt x="1697" y="85599"/>
                  </a:lnTo>
                  <a:lnTo>
                    <a:pt x="2376" y="85938"/>
                  </a:lnTo>
                  <a:lnTo>
                    <a:pt x="3055" y="86142"/>
                  </a:lnTo>
                  <a:lnTo>
                    <a:pt x="3869" y="86210"/>
                  </a:lnTo>
                  <a:lnTo>
                    <a:pt x="57156" y="86210"/>
                  </a:lnTo>
                  <a:lnTo>
                    <a:pt x="57903" y="86142"/>
                  </a:lnTo>
                  <a:lnTo>
                    <a:pt x="58582" y="85938"/>
                  </a:lnTo>
                  <a:lnTo>
                    <a:pt x="59260" y="85599"/>
                  </a:lnTo>
                  <a:lnTo>
                    <a:pt x="59804" y="85124"/>
                  </a:lnTo>
                  <a:lnTo>
                    <a:pt x="60347" y="84581"/>
                  </a:lnTo>
                  <a:lnTo>
                    <a:pt x="60686" y="83970"/>
                  </a:lnTo>
                  <a:lnTo>
                    <a:pt x="60890" y="83223"/>
                  </a:lnTo>
                  <a:lnTo>
                    <a:pt x="60957" y="82477"/>
                  </a:lnTo>
                  <a:lnTo>
                    <a:pt x="60957" y="3530"/>
                  </a:lnTo>
                  <a:lnTo>
                    <a:pt x="60890" y="2852"/>
                  </a:lnTo>
                  <a:lnTo>
                    <a:pt x="60686" y="2173"/>
                  </a:lnTo>
                  <a:lnTo>
                    <a:pt x="60347" y="1562"/>
                  </a:lnTo>
                  <a:lnTo>
                    <a:pt x="59939" y="1019"/>
                  </a:lnTo>
                  <a:lnTo>
                    <a:pt x="59396" y="544"/>
                  </a:lnTo>
                  <a:lnTo>
                    <a:pt x="58785" y="204"/>
                  </a:lnTo>
                  <a:lnTo>
                    <a:pt x="58106" y="68"/>
                  </a:lnTo>
                  <a:lnTo>
                    <a:pt x="57360" y="1"/>
                  </a:lnTo>
                  <a:close/>
                </a:path>
              </a:pathLst>
            </a:custGeom>
            <a:solidFill>
              <a:schemeClr val="accent2">
                <a:lumMod val="75000"/>
                <a:alpha val="44230"/>
              </a:schemeClr>
            </a:solidFill>
            <a:ln w="952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pic>
          <p:nvPicPr>
            <p:cNvPr id="6" name="Picture 5">
              <a:extLst>
                <a:ext uri="{FF2B5EF4-FFF2-40B4-BE49-F238E27FC236}">
                  <a16:creationId xmlns:a16="http://schemas.microsoft.com/office/drawing/2014/main" id="{7F25239E-7B59-465C-A25D-CDCC87FDEB1C}"/>
                </a:ext>
              </a:extLst>
            </p:cNvPr>
            <p:cNvPicPr>
              <a:picLocks noChangeAspect="1"/>
            </p:cNvPicPr>
            <p:nvPr/>
          </p:nvPicPr>
          <p:blipFill>
            <a:blip r:embed="rId7"/>
            <a:stretch>
              <a:fillRect/>
            </a:stretch>
          </p:blipFill>
          <p:spPr>
            <a:xfrm>
              <a:off x="4601399" y="2371619"/>
              <a:ext cx="7186699" cy="3998198"/>
            </a:xfrm>
            <a:prstGeom prst="rect">
              <a:avLst/>
            </a:prstGeom>
          </p:spPr>
        </p:pic>
      </p:grpSp>
      <p:grpSp>
        <p:nvGrpSpPr>
          <p:cNvPr id="19" name="Group 18">
            <a:extLst>
              <a:ext uri="{FF2B5EF4-FFF2-40B4-BE49-F238E27FC236}">
                <a16:creationId xmlns:a16="http://schemas.microsoft.com/office/drawing/2014/main" id="{AE854612-9C69-43BE-B1F8-14EB982978E5}"/>
              </a:ext>
            </a:extLst>
          </p:cNvPr>
          <p:cNvGrpSpPr/>
          <p:nvPr/>
        </p:nvGrpSpPr>
        <p:grpSpPr>
          <a:xfrm>
            <a:off x="196502" y="1266223"/>
            <a:ext cx="678155" cy="677750"/>
            <a:chOff x="7284171" y="3630931"/>
            <a:chExt cx="678155" cy="677750"/>
          </a:xfrm>
        </p:grpSpPr>
        <p:grpSp>
          <p:nvGrpSpPr>
            <p:cNvPr id="20" name="Group 19">
              <a:extLst>
                <a:ext uri="{FF2B5EF4-FFF2-40B4-BE49-F238E27FC236}">
                  <a16:creationId xmlns:a16="http://schemas.microsoft.com/office/drawing/2014/main" id="{3F07B4FC-A111-4029-B349-B6C7BBBDFCD6}"/>
                </a:ext>
              </a:extLst>
            </p:cNvPr>
            <p:cNvGrpSpPr/>
            <p:nvPr/>
          </p:nvGrpSpPr>
          <p:grpSpPr>
            <a:xfrm>
              <a:off x="7284171" y="3630931"/>
              <a:ext cx="678155" cy="677750"/>
              <a:chOff x="2245613" y="2085761"/>
              <a:chExt cx="1201395" cy="1200678"/>
            </a:xfrm>
          </p:grpSpPr>
          <p:sp>
            <p:nvSpPr>
              <p:cNvPr id="25" name="Oval 24">
                <a:extLst>
                  <a:ext uri="{FF2B5EF4-FFF2-40B4-BE49-F238E27FC236}">
                    <a16:creationId xmlns:a16="http://schemas.microsoft.com/office/drawing/2014/main" id="{5D546944-DF79-4909-997F-304AD9DE2E55}"/>
                  </a:ext>
                </a:extLst>
              </p:cNvPr>
              <p:cNvSpPr/>
              <p:nvPr/>
            </p:nvSpPr>
            <p:spPr>
              <a:xfrm>
                <a:off x="2245613" y="2085761"/>
                <a:ext cx="1200678" cy="1200678"/>
              </a:xfrm>
              <a:prstGeom prst="ellipse">
                <a:avLst/>
              </a:prstGeom>
              <a:solidFill>
                <a:srgbClr val="8D19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Shape 26">
                <a:extLst>
                  <a:ext uri="{FF2B5EF4-FFF2-40B4-BE49-F238E27FC236}">
                    <a16:creationId xmlns:a16="http://schemas.microsoft.com/office/drawing/2014/main" id="{206740A9-D257-481B-8A4D-6C601E3AF77E}"/>
                  </a:ext>
                </a:extLst>
              </p:cNvPr>
              <p:cNvSpPr/>
              <p:nvPr/>
            </p:nvSpPr>
            <p:spPr>
              <a:xfrm>
                <a:off x="2398831" y="2085761"/>
                <a:ext cx="1048177" cy="1048177"/>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21" name="Group 20">
              <a:extLst>
                <a:ext uri="{FF2B5EF4-FFF2-40B4-BE49-F238E27FC236}">
                  <a16:creationId xmlns:a16="http://schemas.microsoft.com/office/drawing/2014/main" id="{C1415F0D-F3F3-44D0-AF27-42BA05E05452}"/>
                </a:ext>
              </a:extLst>
            </p:cNvPr>
            <p:cNvGrpSpPr/>
            <p:nvPr/>
          </p:nvGrpSpPr>
          <p:grpSpPr>
            <a:xfrm>
              <a:off x="7473682" y="3818928"/>
              <a:ext cx="299132" cy="301756"/>
              <a:chOff x="2673350" y="4327526"/>
              <a:chExt cx="361950" cy="365125"/>
            </a:xfrm>
            <a:solidFill>
              <a:schemeClr val="bg1"/>
            </a:solidFill>
            <a:effectLst>
              <a:outerShdw blurRad="50800" dist="38100" dir="2700000" algn="tl" rotWithShape="0">
                <a:prstClr val="black">
                  <a:alpha val="40000"/>
                </a:prstClr>
              </a:outerShdw>
            </a:effectLst>
          </p:grpSpPr>
          <p:sp>
            <p:nvSpPr>
              <p:cNvPr id="22" name="Freeform 97">
                <a:extLst>
                  <a:ext uri="{FF2B5EF4-FFF2-40B4-BE49-F238E27FC236}">
                    <a16:creationId xmlns:a16="http://schemas.microsoft.com/office/drawing/2014/main" id="{A6DCACD1-EF96-4085-B346-7BF9647CF04C}"/>
                  </a:ext>
                </a:extLst>
              </p:cNvPr>
              <p:cNvSpPr>
                <a:spLocks noEditPoints="1"/>
              </p:cNvSpPr>
              <p:nvPr/>
            </p:nvSpPr>
            <p:spPr bwMode="auto">
              <a:xfrm>
                <a:off x="2816225" y="4327526"/>
                <a:ext cx="219075" cy="214313"/>
              </a:xfrm>
              <a:custGeom>
                <a:avLst/>
                <a:gdLst>
                  <a:gd name="T0" fmla="*/ 55 w 58"/>
                  <a:gd name="T1" fmla="*/ 2 h 57"/>
                  <a:gd name="T2" fmla="*/ 46 w 58"/>
                  <a:gd name="T3" fmla="*/ 3 h 57"/>
                  <a:gd name="T4" fmla="*/ 41 w 58"/>
                  <a:gd name="T5" fmla="*/ 10 h 57"/>
                  <a:gd name="T6" fmla="*/ 26 w 58"/>
                  <a:gd name="T7" fmla="*/ 5 h 57"/>
                  <a:gd name="T8" fmla="*/ 6 w 58"/>
                  <a:gd name="T9" fmla="*/ 15 h 57"/>
                  <a:gd name="T10" fmla="*/ 6 w 58"/>
                  <a:gd name="T11" fmla="*/ 17 h 57"/>
                  <a:gd name="T12" fmla="*/ 0 w 58"/>
                  <a:gd name="T13" fmla="*/ 31 h 57"/>
                  <a:gd name="T14" fmla="*/ 0 w 58"/>
                  <a:gd name="T15" fmla="*/ 33 h 57"/>
                  <a:gd name="T16" fmla="*/ 14 w 58"/>
                  <a:gd name="T17" fmla="*/ 33 h 57"/>
                  <a:gd name="T18" fmla="*/ 14 w 58"/>
                  <a:gd name="T19" fmla="*/ 39 h 57"/>
                  <a:gd name="T20" fmla="*/ 12 w 58"/>
                  <a:gd name="T21" fmla="*/ 53 h 57"/>
                  <a:gd name="T22" fmla="*/ 26 w 58"/>
                  <a:gd name="T23" fmla="*/ 57 h 57"/>
                  <a:gd name="T24" fmla="*/ 52 w 58"/>
                  <a:gd name="T25" fmla="*/ 31 h 57"/>
                  <a:gd name="T26" fmla="*/ 49 w 58"/>
                  <a:gd name="T27" fmla="*/ 19 h 57"/>
                  <a:gd name="T28" fmla="*/ 56 w 58"/>
                  <a:gd name="T29" fmla="*/ 11 h 57"/>
                  <a:gd name="T30" fmla="*/ 55 w 58"/>
                  <a:gd name="T31" fmla="*/ 2 h 57"/>
                  <a:gd name="T32" fmla="*/ 53 w 58"/>
                  <a:gd name="T33" fmla="*/ 8 h 57"/>
                  <a:gd name="T34" fmla="*/ 28 w 58"/>
                  <a:gd name="T35" fmla="*/ 41 h 57"/>
                  <a:gd name="T36" fmla="*/ 27 w 58"/>
                  <a:gd name="T37" fmla="*/ 42 h 57"/>
                  <a:gd name="T38" fmla="*/ 26 w 58"/>
                  <a:gd name="T39" fmla="*/ 42 h 57"/>
                  <a:gd name="T40" fmla="*/ 25 w 58"/>
                  <a:gd name="T41" fmla="*/ 41 h 57"/>
                  <a:gd name="T42" fmla="*/ 14 w 58"/>
                  <a:gd name="T43" fmla="*/ 30 h 57"/>
                  <a:gd name="T44" fmla="*/ 14 w 58"/>
                  <a:gd name="T45" fmla="*/ 28 h 57"/>
                  <a:gd name="T46" fmla="*/ 17 w 58"/>
                  <a:gd name="T47" fmla="*/ 28 h 57"/>
                  <a:gd name="T48" fmla="*/ 26 w 58"/>
                  <a:gd name="T49" fmla="*/ 37 h 57"/>
                  <a:gd name="T50" fmla="*/ 49 w 58"/>
                  <a:gd name="T51" fmla="*/ 6 h 57"/>
                  <a:gd name="T52" fmla="*/ 52 w 58"/>
                  <a:gd name="T53" fmla="*/ 5 h 57"/>
                  <a:gd name="T54" fmla="*/ 53 w 58"/>
                  <a:gd name="T55"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57">
                    <a:moveTo>
                      <a:pt x="55" y="2"/>
                    </a:moveTo>
                    <a:cubicBezTo>
                      <a:pt x="52" y="0"/>
                      <a:pt x="48" y="1"/>
                      <a:pt x="46" y="3"/>
                    </a:cubicBezTo>
                    <a:cubicBezTo>
                      <a:pt x="41" y="10"/>
                      <a:pt x="41" y="10"/>
                      <a:pt x="41" y="10"/>
                    </a:cubicBezTo>
                    <a:cubicBezTo>
                      <a:pt x="37" y="7"/>
                      <a:pt x="32" y="5"/>
                      <a:pt x="26" y="5"/>
                    </a:cubicBezTo>
                    <a:cubicBezTo>
                      <a:pt x="18" y="5"/>
                      <a:pt x="11" y="9"/>
                      <a:pt x="6" y="15"/>
                    </a:cubicBezTo>
                    <a:cubicBezTo>
                      <a:pt x="6" y="15"/>
                      <a:pt x="6" y="16"/>
                      <a:pt x="6" y="17"/>
                    </a:cubicBezTo>
                    <a:cubicBezTo>
                      <a:pt x="6" y="23"/>
                      <a:pt x="4" y="28"/>
                      <a:pt x="0" y="31"/>
                    </a:cubicBezTo>
                    <a:cubicBezTo>
                      <a:pt x="0" y="32"/>
                      <a:pt x="0" y="32"/>
                      <a:pt x="0" y="33"/>
                    </a:cubicBezTo>
                    <a:cubicBezTo>
                      <a:pt x="14" y="33"/>
                      <a:pt x="14" y="33"/>
                      <a:pt x="14" y="33"/>
                    </a:cubicBezTo>
                    <a:cubicBezTo>
                      <a:pt x="14" y="39"/>
                      <a:pt x="14" y="39"/>
                      <a:pt x="14" y="39"/>
                    </a:cubicBezTo>
                    <a:cubicBezTo>
                      <a:pt x="14" y="44"/>
                      <a:pt x="13" y="49"/>
                      <a:pt x="12" y="53"/>
                    </a:cubicBezTo>
                    <a:cubicBezTo>
                      <a:pt x="16" y="56"/>
                      <a:pt x="21" y="57"/>
                      <a:pt x="26" y="57"/>
                    </a:cubicBezTo>
                    <a:cubicBezTo>
                      <a:pt x="40" y="57"/>
                      <a:pt x="52" y="45"/>
                      <a:pt x="52" y="31"/>
                    </a:cubicBezTo>
                    <a:cubicBezTo>
                      <a:pt x="52" y="27"/>
                      <a:pt x="51" y="23"/>
                      <a:pt x="49" y="19"/>
                    </a:cubicBezTo>
                    <a:cubicBezTo>
                      <a:pt x="56" y="11"/>
                      <a:pt x="56" y="11"/>
                      <a:pt x="56" y="11"/>
                    </a:cubicBezTo>
                    <a:cubicBezTo>
                      <a:pt x="58" y="8"/>
                      <a:pt x="57" y="4"/>
                      <a:pt x="55" y="2"/>
                    </a:cubicBezTo>
                    <a:close/>
                    <a:moveTo>
                      <a:pt x="53" y="8"/>
                    </a:moveTo>
                    <a:cubicBezTo>
                      <a:pt x="28" y="41"/>
                      <a:pt x="28" y="41"/>
                      <a:pt x="28" y="41"/>
                    </a:cubicBezTo>
                    <a:cubicBezTo>
                      <a:pt x="28" y="41"/>
                      <a:pt x="27" y="42"/>
                      <a:pt x="27" y="42"/>
                    </a:cubicBezTo>
                    <a:cubicBezTo>
                      <a:pt x="27" y="42"/>
                      <a:pt x="26" y="42"/>
                      <a:pt x="26" y="42"/>
                    </a:cubicBezTo>
                    <a:cubicBezTo>
                      <a:pt x="26" y="42"/>
                      <a:pt x="25" y="41"/>
                      <a:pt x="25" y="41"/>
                    </a:cubicBezTo>
                    <a:cubicBezTo>
                      <a:pt x="14" y="30"/>
                      <a:pt x="14" y="30"/>
                      <a:pt x="14" y="30"/>
                    </a:cubicBezTo>
                    <a:cubicBezTo>
                      <a:pt x="14" y="30"/>
                      <a:pt x="14" y="28"/>
                      <a:pt x="14" y="28"/>
                    </a:cubicBezTo>
                    <a:cubicBezTo>
                      <a:pt x="15" y="27"/>
                      <a:pt x="16" y="27"/>
                      <a:pt x="17" y="28"/>
                    </a:cubicBezTo>
                    <a:cubicBezTo>
                      <a:pt x="26" y="37"/>
                      <a:pt x="26" y="37"/>
                      <a:pt x="26" y="37"/>
                    </a:cubicBezTo>
                    <a:cubicBezTo>
                      <a:pt x="49" y="6"/>
                      <a:pt x="49" y="6"/>
                      <a:pt x="49" y="6"/>
                    </a:cubicBezTo>
                    <a:cubicBezTo>
                      <a:pt x="50" y="5"/>
                      <a:pt x="51" y="5"/>
                      <a:pt x="52" y="5"/>
                    </a:cubicBezTo>
                    <a:cubicBezTo>
                      <a:pt x="53" y="6"/>
                      <a:pt x="53" y="7"/>
                      <a:pt x="5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Oval 98">
                <a:extLst>
                  <a:ext uri="{FF2B5EF4-FFF2-40B4-BE49-F238E27FC236}">
                    <a16:creationId xmlns:a16="http://schemas.microsoft.com/office/drawing/2014/main" id="{AF5AA154-2D73-4D4F-AF9D-E8A76C3357C0}"/>
                  </a:ext>
                </a:extLst>
              </p:cNvPr>
              <p:cNvSpPr>
                <a:spLocks noChangeArrowheads="1"/>
              </p:cNvSpPr>
              <p:nvPr/>
            </p:nvSpPr>
            <p:spPr bwMode="auto">
              <a:xfrm>
                <a:off x="2703513" y="4332288"/>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99">
                <a:extLst>
                  <a:ext uri="{FF2B5EF4-FFF2-40B4-BE49-F238E27FC236}">
                    <a16:creationId xmlns:a16="http://schemas.microsoft.com/office/drawing/2014/main" id="{F2449E5D-133B-44A9-A5E4-DB782AF1227C}"/>
                  </a:ext>
                </a:extLst>
              </p:cNvPr>
              <p:cNvSpPr>
                <a:spLocks/>
              </p:cNvSpPr>
              <p:nvPr/>
            </p:nvSpPr>
            <p:spPr bwMode="auto">
              <a:xfrm>
                <a:off x="2673350" y="4467226"/>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28" name="Group 27">
            <a:extLst>
              <a:ext uri="{FF2B5EF4-FFF2-40B4-BE49-F238E27FC236}">
                <a16:creationId xmlns:a16="http://schemas.microsoft.com/office/drawing/2014/main" id="{BAE5333B-5FF3-4C46-AD9C-B070CB21D7D3}"/>
              </a:ext>
            </a:extLst>
          </p:cNvPr>
          <p:cNvGrpSpPr/>
          <p:nvPr/>
        </p:nvGrpSpPr>
        <p:grpSpPr>
          <a:xfrm>
            <a:off x="196097" y="2970811"/>
            <a:ext cx="678155" cy="677750"/>
            <a:chOff x="1687705" y="3630931"/>
            <a:chExt cx="678155" cy="677750"/>
          </a:xfrm>
        </p:grpSpPr>
        <p:grpSp>
          <p:nvGrpSpPr>
            <p:cNvPr id="29" name="Group 28">
              <a:extLst>
                <a:ext uri="{FF2B5EF4-FFF2-40B4-BE49-F238E27FC236}">
                  <a16:creationId xmlns:a16="http://schemas.microsoft.com/office/drawing/2014/main" id="{5B295A69-F1A9-4C97-898C-80E7208E70E9}"/>
                </a:ext>
              </a:extLst>
            </p:cNvPr>
            <p:cNvGrpSpPr/>
            <p:nvPr/>
          </p:nvGrpSpPr>
          <p:grpSpPr>
            <a:xfrm>
              <a:off x="1687705" y="3630931"/>
              <a:ext cx="678155" cy="677750"/>
              <a:chOff x="2245613" y="2085761"/>
              <a:chExt cx="1201395" cy="1200678"/>
            </a:xfrm>
          </p:grpSpPr>
          <p:sp>
            <p:nvSpPr>
              <p:cNvPr id="31" name="Oval 30">
                <a:extLst>
                  <a:ext uri="{FF2B5EF4-FFF2-40B4-BE49-F238E27FC236}">
                    <a16:creationId xmlns:a16="http://schemas.microsoft.com/office/drawing/2014/main" id="{3AD7756F-5C65-4E91-889C-B2C561345A58}"/>
                  </a:ext>
                </a:extLst>
              </p:cNvPr>
              <p:cNvSpPr/>
              <p:nvPr/>
            </p:nvSpPr>
            <p:spPr>
              <a:xfrm>
                <a:off x="2245613" y="2085761"/>
                <a:ext cx="1200678" cy="1200678"/>
              </a:xfrm>
              <a:prstGeom prst="ellipse">
                <a:avLst/>
              </a:prstGeom>
              <a:solidFill>
                <a:srgbClr val="8D19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Shape 31">
                <a:extLst>
                  <a:ext uri="{FF2B5EF4-FFF2-40B4-BE49-F238E27FC236}">
                    <a16:creationId xmlns:a16="http://schemas.microsoft.com/office/drawing/2014/main" id="{BF72D415-7ADE-43A2-AD99-94739FD88020}"/>
                  </a:ext>
                </a:extLst>
              </p:cNvPr>
              <p:cNvSpPr/>
              <p:nvPr/>
            </p:nvSpPr>
            <p:spPr>
              <a:xfrm>
                <a:off x="2398831" y="2085761"/>
                <a:ext cx="1048177" cy="1048177"/>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0" name="Freeform 188">
              <a:extLst>
                <a:ext uri="{FF2B5EF4-FFF2-40B4-BE49-F238E27FC236}">
                  <a16:creationId xmlns:a16="http://schemas.microsoft.com/office/drawing/2014/main" id="{4962CBF0-203F-4F74-B950-E95D52F705BF}"/>
                </a:ext>
              </a:extLst>
            </p:cNvPr>
            <p:cNvSpPr>
              <a:spLocks noEditPoints="1"/>
            </p:cNvSpPr>
            <p:nvPr/>
          </p:nvSpPr>
          <p:spPr bwMode="auto">
            <a:xfrm>
              <a:off x="1904112" y="3806005"/>
              <a:ext cx="245341" cy="327603"/>
            </a:xfrm>
            <a:custGeom>
              <a:avLst/>
              <a:gdLst>
                <a:gd name="T0" fmla="*/ 47 w 72"/>
                <a:gd name="T1" fmla="*/ 1 h 96"/>
                <a:gd name="T2" fmla="*/ 2 w 72"/>
                <a:gd name="T3" fmla="*/ 0 h 96"/>
                <a:gd name="T4" fmla="*/ 0 w 72"/>
                <a:gd name="T5" fmla="*/ 94 h 96"/>
                <a:gd name="T6" fmla="*/ 70 w 72"/>
                <a:gd name="T7" fmla="*/ 96 h 96"/>
                <a:gd name="T8" fmla="*/ 72 w 72"/>
                <a:gd name="T9" fmla="*/ 26 h 96"/>
                <a:gd name="T10" fmla="*/ 24 w 72"/>
                <a:gd name="T11" fmla="*/ 38 h 96"/>
                <a:gd name="T12" fmla="*/ 22 w 72"/>
                <a:gd name="T13" fmla="*/ 21 h 96"/>
                <a:gd name="T14" fmla="*/ 24 w 72"/>
                <a:gd name="T15" fmla="*/ 16 h 96"/>
                <a:gd name="T16" fmla="*/ 26 w 72"/>
                <a:gd name="T17" fmla="*/ 21 h 96"/>
                <a:gd name="T18" fmla="*/ 31 w 72"/>
                <a:gd name="T19" fmla="*/ 31 h 96"/>
                <a:gd name="T20" fmla="*/ 24 w 72"/>
                <a:gd name="T21" fmla="*/ 24 h 96"/>
                <a:gd name="T22" fmla="*/ 24 w 72"/>
                <a:gd name="T23" fmla="*/ 34 h 96"/>
                <a:gd name="T24" fmla="*/ 26 w 72"/>
                <a:gd name="T25" fmla="*/ 51 h 96"/>
                <a:gd name="T26" fmla="*/ 24 w 72"/>
                <a:gd name="T27" fmla="*/ 56 h 96"/>
                <a:gd name="T28" fmla="*/ 22 w 72"/>
                <a:gd name="T29" fmla="*/ 51 h 96"/>
                <a:gd name="T30" fmla="*/ 17 w 72"/>
                <a:gd name="T31" fmla="*/ 41 h 96"/>
                <a:gd name="T32" fmla="*/ 24 w 72"/>
                <a:gd name="T33" fmla="*/ 47 h 96"/>
                <a:gd name="T34" fmla="*/ 24 w 72"/>
                <a:gd name="T35" fmla="*/ 38 h 96"/>
                <a:gd name="T36" fmla="*/ 14 w 72"/>
                <a:gd name="T37" fmla="*/ 84 h 96"/>
                <a:gd name="T38" fmla="*/ 14 w 72"/>
                <a:gd name="T39" fmla="*/ 80 h 96"/>
                <a:gd name="T40" fmla="*/ 60 w 72"/>
                <a:gd name="T41" fmla="*/ 82 h 96"/>
                <a:gd name="T42" fmla="*/ 58 w 72"/>
                <a:gd name="T43" fmla="*/ 76 h 96"/>
                <a:gd name="T44" fmla="*/ 12 w 72"/>
                <a:gd name="T45" fmla="*/ 74 h 96"/>
                <a:gd name="T46" fmla="*/ 58 w 72"/>
                <a:gd name="T47" fmla="*/ 72 h 96"/>
                <a:gd name="T48" fmla="*/ 58 w 72"/>
                <a:gd name="T49" fmla="*/ 76 h 96"/>
                <a:gd name="T50" fmla="*/ 14 w 72"/>
                <a:gd name="T51" fmla="*/ 68 h 96"/>
                <a:gd name="T52" fmla="*/ 14 w 72"/>
                <a:gd name="T53" fmla="*/ 64 h 96"/>
                <a:gd name="T54" fmla="*/ 60 w 72"/>
                <a:gd name="T55" fmla="*/ 66 h 96"/>
                <a:gd name="T56" fmla="*/ 58 w 72"/>
                <a:gd name="T57" fmla="*/ 60 h 96"/>
                <a:gd name="T58" fmla="*/ 36 w 72"/>
                <a:gd name="T59" fmla="*/ 58 h 96"/>
                <a:gd name="T60" fmla="*/ 58 w 72"/>
                <a:gd name="T61" fmla="*/ 56 h 96"/>
                <a:gd name="T62" fmla="*/ 58 w 72"/>
                <a:gd name="T63" fmla="*/ 60 h 96"/>
                <a:gd name="T64" fmla="*/ 46 w 72"/>
                <a:gd name="T65" fmla="*/ 52 h 96"/>
                <a:gd name="T66" fmla="*/ 46 w 72"/>
                <a:gd name="T67" fmla="*/ 48 h 96"/>
                <a:gd name="T68" fmla="*/ 60 w 72"/>
                <a:gd name="T69" fmla="*/ 50 h 96"/>
                <a:gd name="T70" fmla="*/ 58 w 72"/>
                <a:gd name="T71" fmla="*/ 44 h 96"/>
                <a:gd name="T72" fmla="*/ 44 w 72"/>
                <a:gd name="T73" fmla="*/ 42 h 96"/>
                <a:gd name="T74" fmla="*/ 58 w 72"/>
                <a:gd name="T75" fmla="*/ 40 h 96"/>
                <a:gd name="T76" fmla="*/ 58 w 72"/>
                <a:gd name="T77" fmla="*/ 44 h 96"/>
                <a:gd name="T78" fmla="*/ 58 w 72"/>
                <a:gd name="T79" fmla="*/ 28 h 96"/>
                <a:gd name="T80" fmla="*/ 46 w 72"/>
                <a:gd name="T81" fmla="*/ 28 h 96"/>
                <a:gd name="T82" fmla="*/ 44 w 72"/>
                <a:gd name="T83" fmla="*/ 15 h 96"/>
                <a:gd name="T84" fmla="*/ 44 w 72"/>
                <a:gd name="T85" fmla="*/ 3 h 96"/>
                <a:gd name="T86" fmla="*/ 58 w 72"/>
                <a:gd name="T87" fmla="*/ 2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24" y="38"/>
                  </a:moveTo>
                  <a:cubicBezTo>
                    <a:pt x="19" y="38"/>
                    <a:pt x="15" y="34"/>
                    <a:pt x="15" y="29"/>
                  </a:cubicBezTo>
                  <a:cubicBezTo>
                    <a:pt x="15" y="25"/>
                    <a:pt x="18" y="22"/>
                    <a:pt x="22" y="21"/>
                  </a:cubicBezTo>
                  <a:cubicBezTo>
                    <a:pt x="22" y="18"/>
                    <a:pt x="22" y="18"/>
                    <a:pt x="22" y="18"/>
                  </a:cubicBezTo>
                  <a:cubicBezTo>
                    <a:pt x="22" y="17"/>
                    <a:pt x="23" y="16"/>
                    <a:pt x="24" y="16"/>
                  </a:cubicBezTo>
                  <a:cubicBezTo>
                    <a:pt x="25" y="16"/>
                    <a:pt x="26" y="17"/>
                    <a:pt x="26" y="18"/>
                  </a:cubicBezTo>
                  <a:cubicBezTo>
                    <a:pt x="26" y="21"/>
                    <a:pt x="26" y="21"/>
                    <a:pt x="26" y="21"/>
                  </a:cubicBezTo>
                  <a:cubicBezTo>
                    <a:pt x="30" y="22"/>
                    <a:pt x="33" y="25"/>
                    <a:pt x="33" y="29"/>
                  </a:cubicBezTo>
                  <a:cubicBezTo>
                    <a:pt x="33" y="30"/>
                    <a:pt x="32" y="31"/>
                    <a:pt x="31" y="31"/>
                  </a:cubicBezTo>
                  <a:cubicBezTo>
                    <a:pt x="30" y="31"/>
                    <a:pt x="29" y="30"/>
                    <a:pt x="29" y="29"/>
                  </a:cubicBezTo>
                  <a:cubicBezTo>
                    <a:pt x="29" y="27"/>
                    <a:pt x="27" y="24"/>
                    <a:pt x="24" y="24"/>
                  </a:cubicBezTo>
                  <a:cubicBezTo>
                    <a:pt x="21" y="24"/>
                    <a:pt x="19" y="27"/>
                    <a:pt x="19" y="29"/>
                  </a:cubicBezTo>
                  <a:cubicBezTo>
                    <a:pt x="19" y="32"/>
                    <a:pt x="21" y="34"/>
                    <a:pt x="24" y="34"/>
                  </a:cubicBezTo>
                  <a:cubicBezTo>
                    <a:pt x="29" y="34"/>
                    <a:pt x="33" y="38"/>
                    <a:pt x="33" y="43"/>
                  </a:cubicBezTo>
                  <a:cubicBezTo>
                    <a:pt x="33" y="47"/>
                    <a:pt x="30" y="50"/>
                    <a:pt x="26" y="51"/>
                  </a:cubicBezTo>
                  <a:cubicBezTo>
                    <a:pt x="26" y="54"/>
                    <a:pt x="26" y="54"/>
                    <a:pt x="26" y="54"/>
                  </a:cubicBezTo>
                  <a:cubicBezTo>
                    <a:pt x="26" y="55"/>
                    <a:pt x="25" y="56"/>
                    <a:pt x="24" y="56"/>
                  </a:cubicBezTo>
                  <a:cubicBezTo>
                    <a:pt x="23" y="56"/>
                    <a:pt x="22" y="55"/>
                    <a:pt x="22" y="54"/>
                  </a:cubicBezTo>
                  <a:cubicBezTo>
                    <a:pt x="22" y="51"/>
                    <a:pt x="22" y="51"/>
                    <a:pt x="22" y="51"/>
                  </a:cubicBezTo>
                  <a:cubicBezTo>
                    <a:pt x="18" y="50"/>
                    <a:pt x="15" y="47"/>
                    <a:pt x="15" y="43"/>
                  </a:cubicBezTo>
                  <a:cubicBezTo>
                    <a:pt x="15" y="42"/>
                    <a:pt x="16" y="41"/>
                    <a:pt x="17" y="41"/>
                  </a:cubicBezTo>
                  <a:cubicBezTo>
                    <a:pt x="18" y="41"/>
                    <a:pt x="19" y="42"/>
                    <a:pt x="19" y="43"/>
                  </a:cubicBezTo>
                  <a:cubicBezTo>
                    <a:pt x="19" y="45"/>
                    <a:pt x="21" y="47"/>
                    <a:pt x="24" y="47"/>
                  </a:cubicBezTo>
                  <a:cubicBezTo>
                    <a:pt x="27" y="47"/>
                    <a:pt x="29" y="45"/>
                    <a:pt x="29" y="43"/>
                  </a:cubicBezTo>
                  <a:cubicBezTo>
                    <a:pt x="29" y="40"/>
                    <a:pt x="27" y="38"/>
                    <a:pt x="24" y="38"/>
                  </a:cubicBezTo>
                  <a:close/>
                  <a:moveTo>
                    <a:pt x="58" y="84"/>
                  </a:moveTo>
                  <a:cubicBezTo>
                    <a:pt x="14" y="84"/>
                    <a:pt x="14" y="84"/>
                    <a:pt x="14" y="84"/>
                  </a:cubicBezTo>
                  <a:cubicBezTo>
                    <a:pt x="13" y="84"/>
                    <a:pt x="12" y="83"/>
                    <a:pt x="12" y="82"/>
                  </a:cubicBezTo>
                  <a:cubicBezTo>
                    <a:pt x="12" y="81"/>
                    <a:pt x="13" y="80"/>
                    <a:pt x="14" y="80"/>
                  </a:cubicBezTo>
                  <a:cubicBezTo>
                    <a:pt x="58" y="80"/>
                    <a:pt x="58" y="80"/>
                    <a:pt x="58" y="80"/>
                  </a:cubicBezTo>
                  <a:cubicBezTo>
                    <a:pt x="59" y="80"/>
                    <a:pt x="60" y="81"/>
                    <a:pt x="60" y="82"/>
                  </a:cubicBezTo>
                  <a:cubicBezTo>
                    <a:pt x="60" y="83"/>
                    <a:pt x="59" y="84"/>
                    <a:pt x="58" y="84"/>
                  </a:cubicBezTo>
                  <a:close/>
                  <a:moveTo>
                    <a:pt x="58" y="76"/>
                  </a:moveTo>
                  <a:cubicBezTo>
                    <a:pt x="14" y="76"/>
                    <a:pt x="14" y="76"/>
                    <a:pt x="14" y="76"/>
                  </a:cubicBezTo>
                  <a:cubicBezTo>
                    <a:pt x="13" y="76"/>
                    <a:pt x="12" y="75"/>
                    <a:pt x="12" y="74"/>
                  </a:cubicBezTo>
                  <a:cubicBezTo>
                    <a:pt x="12" y="73"/>
                    <a:pt x="13" y="72"/>
                    <a:pt x="14" y="72"/>
                  </a:cubicBezTo>
                  <a:cubicBezTo>
                    <a:pt x="58" y="72"/>
                    <a:pt x="58" y="72"/>
                    <a:pt x="58" y="72"/>
                  </a:cubicBezTo>
                  <a:cubicBezTo>
                    <a:pt x="59" y="72"/>
                    <a:pt x="60" y="73"/>
                    <a:pt x="60" y="74"/>
                  </a:cubicBezTo>
                  <a:cubicBezTo>
                    <a:pt x="60" y="75"/>
                    <a:pt x="59" y="76"/>
                    <a:pt x="58" y="76"/>
                  </a:cubicBezTo>
                  <a:close/>
                  <a:moveTo>
                    <a:pt x="58" y="68"/>
                  </a:moveTo>
                  <a:cubicBezTo>
                    <a:pt x="14" y="68"/>
                    <a:pt x="14" y="68"/>
                    <a:pt x="14" y="68"/>
                  </a:cubicBezTo>
                  <a:cubicBezTo>
                    <a:pt x="13" y="68"/>
                    <a:pt x="12" y="67"/>
                    <a:pt x="12" y="66"/>
                  </a:cubicBezTo>
                  <a:cubicBezTo>
                    <a:pt x="12" y="65"/>
                    <a:pt x="13" y="64"/>
                    <a:pt x="14" y="64"/>
                  </a:cubicBezTo>
                  <a:cubicBezTo>
                    <a:pt x="58" y="64"/>
                    <a:pt x="58" y="64"/>
                    <a:pt x="58" y="64"/>
                  </a:cubicBezTo>
                  <a:cubicBezTo>
                    <a:pt x="59" y="64"/>
                    <a:pt x="60" y="65"/>
                    <a:pt x="60" y="66"/>
                  </a:cubicBezTo>
                  <a:cubicBezTo>
                    <a:pt x="60" y="67"/>
                    <a:pt x="59" y="68"/>
                    <a:pt x="58" y="68"/>
                  </a:cubicBezTo>
                  <a:close/>
                  <a:moveTo>
                    <a:pt x="58" y="60"/>
                  </a:moveTo>
                  <a:cubicBezTo>
                    <a:pt x="38" y="60"/>
                    <a:pt x="38" y="60"/>
                    <a:pt x="38" y="60"/>
                  </a:cubicBezTo>
                  <a:cubicBezTo>
                    <a:pt x="37" y="60"/>
                    <a:pt x="36" y="59"/>
                    <a:pt x="36" y="58"/>
                  </a:cubicBezTo>
                  <a:cubicBezTo>
                    <a:pt x="36" y="57"/>
                    <a:pt x="37" y="56"/>
                    <a:pt x="38" y="56"/>
                  </a:cubicBezTo>
                  <a:cubicBezTo>
                    <a:pt x="58" y="56"/>
                    <a:pt x="58" y="56"/>
                    <a:pt x="58" y="56"/>
                  </a:cubicBezTo>
                  <a:cubicBezTo>
                    <a:pt x="59" y="56"/>
                    <a:pt x="60" y="57"/>
                    <a:pt x="60" y="58"/>
                  </a:cubicBezTo>
                  <a:cubicBezTo>
                    <a:pt x="60" y="59"/>
                    <a:pt x="59" y="60"/>
                    <a:pt x="58" y="60"/>
                  </a:cubicBezTo>
                  <a:close/>
                  <a:moveTo>
                    <a:pt x="58" y="52"/>
                  </a:moveTo>
                  <a:cubicBezTo>
                    <a:pt x="46" y="52"/>
                    <a:pt x="46" y="52"/>
                    <a:pt x="46" y="52"/>
                  </a:cubicBezTo>
                  <a:cubicBezTo>
                    <a:pt x="45" y="52"/>
                    <a:pt x="44" y="51"/>
                    <a:pt x="44" y="50"/>
                  </a:cubicBezTo>
                  <a:cubicBezTo>
                    <a:pt x="44" y="49"/>
                    <a:pt x="45" y="48"/>
                    <a:pt x="46" y="48"/>
                  </a:cubicBezTo>
                  <a:cubicBezTo>
                    <a:pt x="58" y="48"/>
                    <a:pt x="58" y="48"/>
                    <a:pt x="58" y="48"/>
                  </a:cubicBezTo>
                  <a:cubicBezTo>
                    <a:pt x="59" y="48"/>
                    <a:pt x="60" y="49"/>
                    <a:pt x="60" y="50"/>
                  </a:cubicBezTo>
                  <a:cubicBezTo>
                    <a:pt x="60" y="51"/>
                    <a:pt x="59" y="52"/>
                    <a:pt x="58" y="52"/>
                  </a:cubicBezTo>
                  <a:close/>
                  <a:moveTo>
                    <a:pt x="58" y="44"/>
                  </a:moveTo>
                  <a:cubicBezTo>
                    <a:pt x="46" y="44"/>
                    <a:pt x="46" y="44"/>
                    <a:pt x="46" y="44"/>
                  </a:cubicBezTo>
                  <a:cubicBezTo>
                    <a:pt x="45" y="44"/>
                    <a:pt x="44" y="43"/>
                    <a:pt x="44" y="42"/>
                  </a:cubicBezTo>
                  <a:cubicBezTo>
                    <a:pt x="44" y="41"/>
                    <a:pt x="45" y="40"/>
                    <a:pt x="46" y="40"/>
                  </a:cubicBezTo>
                  <a:cubicBezTo>
                    <a:pt x="58" y="40"/>
                    <a:pt x="58" y="40"/>
                    <a:pt x="58" y="40"/>
                  </a:cubicBezTo>
                  <a:cubicBezTo>
                    <a:pt x="59" y="40"/>
                    <a:pt x="60" y="41"/>
                    <a:pt x="60" y="42"/>
                  </a:cubicBezTo>
                  <a:cubicBezTo>
                    <a:pt x="60" y="43"/>
                    <a:pt x="59" y="44"/>
                    <a:pt x="58" y="44"/>
                  </a:cubicBezTo>
                  <a:close/>
                  <a:moveTo>
                    <a:pt x="58" y="28"/>
                  </a:moveTo>
                  <a:cubicBezTo>
                    <a:pt x="58" y="28"/>
                    <a:pt x="58" y="28"/>
                    <a:pt x="58" y="28"/>
                  </a:cubicBezTo>
                  <a:cubicBezTo>
                    <a:pt x="57" y="28"/>
                    <a:pt x="57" y="28"/>
                    <a:pt x="57" y="28"/>
                  </a:cubicBezTo>
                  <a:cubicBezTo>
                    <a:pt x="46" y="28"/>
                    <a:pt x="46" y="28"/>
                    <a:pt x="46" y="28"/>
                  </a:cubicBezTo>
                  <a:cubicBezTo>
                    <a:pt x="45" y="28"/>
                    <a:pt x="44" y="27"/>
                    <a:pt x="44" y="26"/>
                  </a:cubicBezTo>
                  <a:cubicBezTo>
                    <a:pt x="44" y="15"/>
                    <a:pt x="44" y="15"/>
                    <a:pt x="44" y="15"/>
                  </a:cubicBezTo>
                  <a:cubicBezTo>
                    <a:pt x="44" y="14"/>
                    <a:pt x="44" y="14"/>
                    <a:pt x="44" y="14"/>
                  </a:cubicBezTo>
                  <a:cubicBezTo>
                    <a:pt x="44" y="3"/>
                    <a:pt x="44" y="3"/>
                    <a:pt x="44" y="3"/>
                  </a:cubicBezTo>
                  <a:cubicBezTo>
                    <a:pt x="69" y="28"/>
                    <a:pt x="69" y="28"/>
                    <a:pt x="69" y="28"/>
                  </a:cubicBezTo>
                  <a:lnTo>
                    <a:pt x="58" y="28"/>
                  </a:lnTo>
                  <a:close/>
                </a:path>
              </a:pathLst>
            </a:custGeom>
            <a:solidFill>
              <a:schemeClr val="bg1"/>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id-ID"/>
            </a:p>
          </p:txBody>
        </p:sp>
      </p:grpSp>
      <p:grpSp>
        <p:nvGrpSpPr>
          <p:cNvPr id="33" name="Group 32">
            <a:extLst>
              <a:ext uri="{FF2B5EF4-FFF2-40B4-BE49-F238E27FC236}">
                <a16:creationId xmlns:a16="http://schemas.microsoft.com/office/drawing/2014/main" id="{129ECAA3-0993-4F78-8778-1F68C8351F66}"/>
              </a:ext>
            </a:extLst>
          </p:cNvPr>
          <p:cNvGrpSpPr/>
          <p:nvPr/>
        </p:nvGrpSpPr>
        <p:grpSpPr>
          <a:xfrm>
            <a:off x="239340" y="5046608"/>
            <a:ext cx="678155" cy="677750"/>
            <a:chOff x="4485938" y="3630931"/>
            <a:chExt cx="678155" cy="677750"/>
          </a:xfrm>
        </p:grpSpPr>
        <p:grpSp>
          <p:nvGrpSpPr>
            <p:cNvPr id="34" name="Group 33">
              <a:extLst>
                <a:ext uri="{FF2B5EF4-FFF2-40B4-BE49-F238E27FC236}">
                  <a16:creationId xmlns:a16="http://schemas.microsoft.com/office/drawing/2014/main" id="{080D8B4D-AAE2-4CEF-A3ED-D5C86F6902AF}"/>
                </a:ext>
              </a:extLst>
            </p:cNvPr>
            <p:cNvGrpSpPr/>
            <p:nvPr/>
          </p:nvGrpSpPr>
          <p:grpSpPr>
            <a:xfrm>
              <a:off x="4485938" y="3630931"/>
              <a:ext cx="678155" cy="677750"/>
              <a:chOff x="2245613" y="2085761"/>
              <a:chExt cx="1201395" cy="1200678"/>
            </a:xfrm>
          </p:grpSpPr>
          <p:sp>
            <p:nvSpPr>
              <p:cNvPr id="39" name="Oval 38">
                <a:extLst>
                  <a:ext uri="{FF2B5EF4-FFF2-40B4-BE49-F238E27FC236}">
                    <a16:creationId xmlns:a16="http://schemas.microsoft.com/office/drawing/2014/main" id="{74E618D3-3E91-44A3-AACF-F730A178E117}"/>
                  </a:ext>
                </a:extLst>
              </p:cNvPr>
              <p:cNvSpPr/>
              <p:nvPr/>
            </p:nvSpPr>
            <p:spPr>
              <a:xfrm>
                <a:off x="2245613" y="2085761"/>
                <a:ext cx="1200678" cy="1200678"/>
              </a:xfrm>
              <a:prstGeom prst="ellipse">
                <a:avLst/>
              </a:prstGeom>
              <a:solidFill>
                <a:srgbClr val="8D19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eform: Shape 39">
                <a:extLst>
                  <a:ext uri="{FF2B5EF4-FFF2-40B4-BE49-F238E27FC236}">
                    <a16:creationId xmlns:a16="http://schemas.microsoft.com/office/drawing/2014/main" id="{5664A17D-BCE7-4C7F-B36B-137EFD215496}"/>
                  </a:ext>
                </a:extLst>
              </p:cNvPr>
              <p:cNvSpPr/>
              <p:nvPr/>
            </p:nvSpPr>
            <p:spPr>
              <a:xfrm>
                <a:off x="2398831" y="2085761"/>
                <a:ext cx="1048177" cy="1048177"/>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36" name="Group 35">
              <a:extLst>
                <a:ext uri="{FF2B5EF4-FFF2-40B4-BE49-F238E27FC236}">
                  <a16:creationId xmlns:a16="http://schemas.microsoft.com/office/drawing/2014/main" id="{AF4E5741-954E-45CE-84BD-FFB90EECE69D}"/>
                </a:ext>
              </a:extLst>
            </p:cNvPr>
            <p:cNvGrpSpPr/>
            <p:nvPr/>
          </p:nvGrpSpPr>
          <p:grpSpPr>
            <a:xfrm>
              <a:off x="4661214" y="3826209"/>
              <a:ext cx="327603" cy="287194"/>
              <a:chOff x="8440738" y="3640138"/>
              <a:chExt cx="360363" cy="315913"/>
            </a:xfrm>
            <a:solidFill>
              <a:schemeClr val="bg1"/>
            </a:solidFill>
            <a:effectLst>
              <a:outerShdw blurRad="50800" dist="38100" dir="2700000" algn="tl" rotWithShape="0">
                <a:prstClr val="black">
                  <a:alpha val="40000"/>
                </a:prstClr>
              </a:outerShdw>
            </a:effectLst>
          </p:grpSpPr>
          <p:sp>
            <p:nvSpPr>
              <p:cNvPr id="37" name="Freeform 51">
                <a:extLst>
                  <a:ext uri="{FF2B5EF4-FFF2-40B4-BE49-F238E27FC236}">
                    <a16:creationId xmlns:a16="http://schemas.microsoft.com/office/drawing/2014/main" id="{7A9459CA-95DD-4E93-A980-738CB6005723}"/>
                  </a:ext>
                </a:extLst>
              </p:cNvPr>
              <p:cNvSpPr>
                <a:spLocks noEditPoints="1"/>
              </p:cNvSpPr>
              <p:nvPr/>
            </p:nvSpPr>
            <p:spPr bwMode="auto">
              <a:xfrm>
                <a:off x="8440738" y="3865563"/>
                <a:ext cx="360363" cy="90488"/>
              </a:xfrm>
              <a:custGeom>
                <a:avLst/>
                <a:gdLst>
                  <a:gd name="T0" fmla="*/ 0 w 96"/>
                  <a:gd name="T1" fmla="*/ 0 h 24"/>
                  <a:gd name="T2" fmla="*/ 0 w 96"/>
                  <a:gd name="T3" fmla="*/ 8 h 24"/>
                  <a:gd name="T4" fmla="*/ 8 w 96"/>
                  <a:gd name="T5" fmla="*/ 16 h 24"/>
                  <a:gd name="T6" fmla="*/ 46 w 96"/>
                  <a:gd name="T7" fmla="*/ 16 h 24"/>
                  <a:gd name="T8" fmla="*/ 46 w 96"/>
                  <a:gd name="T9" fmla="*/ 20 h 24"/>
                  <a:gd name="T10" fmla="*/ 20 w 96"/>
                  <a:gd name="T11" fmla="*/ 20 h 24"/>
                  <a:gd name="T12" fmla="*/ 18 w 96"/>
                  <a:gd name="T13" fmla="*/ 22 h 24"/>
                  <a:gd name="T14" fmla="*/ 20 w 96"/>
                  <a:gd name="T15" fmla="*/ 24 h 24"/>
                  <a:gd name="T16" fmla="*/ 76 w 96"/>
                  <a:gd name="T17" fmla="*/ 24 h 24"/>
                  <a:gd name="T18" fmla="*/ 78 w 96"/>
                  <a:gd name="T19" fmla="*/ 22 h 24"/>
                  <a:gd name="T20" fmla="*/ 76 w 96"/>
                  <a:gd name="T21" fmla="*/ 20 h 24"/>
                  <a:gd name="T22" fmla="*/ 50 w 96"/>
                  <a:gd name="T23" fmla="*/ 20 h 24"/>
                  <a:gd name="T24" fmla="*/ 50 w 96"/>
                  <a:gd name="T25" fmla="*/ 16 h 24"/>
                  <a:gd name="T26" fmla="*/ 88 w 96"/>
                  <a:gd name="T27" fmla="*/ 16 h 24"/>
                  <a:gd name="T28" fmla="*/ 96 w 96"/>
                  <a:gd name="T29" fmla="*/ 8 h 24"/>
                  <a:gd name="T30" fmla="*/ 96 w 96"/>
                  <a:gd name="T31" fmla="*/ 0 h 24"/>
                  <a:gd name="T32" fmla="*/ 0 w 96"/>
                  <a:gd name="T33" fmla="*/ 0 h 24"/>
                  <a:gd name="T34" fmla="*/ 48 w 96"/>
                  <a:gd name="T35" fmla="*/ 12 h 24"/>
                  <a:gd name="T36" fmla="*/ 44 w 96"/>
                  <a:gd name="T37" fmla="*/ 8 h 24"/>
                  <a:gd name="T38" fmla="*/ 48 w 96"/>
                  <a:gd name="T39" fmla="*/ 4 h 24"/>
                  <a:gd name="T40" fmla="*/ 52 w 96"/>
                  <a:gd name="T41" fmla="*/ 8 h 24"/>
                  <a:gd name="T42" fmla="*/ 48 w 96"/>
                  <a:gd name="T4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24">
                    <a:moveTo>
                      <a:pt x="0" y="0"/>
                    </a:moveTo>
                    <a:cubicBezTo>
                      <a:pt x="0" y="8"/>
                      <a:pt x="0" y="8"/>
                      <a:pt x="0" y="8"/>
                    </a:cubicBezTo>
                    <a:cubicBezTo>
                      <a:pt x="0" y="12"/>
                      <a:pt x="4" y="16"/>
                      <a:pt x="8" y="16"/>
                    </a:cubicBezTo>
                    <a:cubicBezTo>
                      <a:pt x="46" y="16"/>
                      <a:pt x="46" y="16"/>
                      <a:pt x="46" y="16"/>
                    </a:cubicBezTo>
                    <a:cubicBezTo>
                      <a:pt x="46" y="20"/>
                      <a:pt x="46" y="20"/>
                      <a:pt x="46" y="20"/>
                    </a:cubicBezTo>
                    <a:cubicBezTo>
                      <a:pt x="20" y="20"/>
                      <a:pt x="20" y="20"/>
                      <a:pt x="20" y="20"/>
                    </a:cubicBezTo>
                    <a:cubicBezTo>
                      <a:pt x="19" y="20"/>
                      <a:pt x="18" y="21"/>
                      <a:pt x="18" y="22"/>
                    </a:cubicBezTo>
                    <a:cubicBezTo>
                      <a:pt x="18" y="23"/>
                      <a:pt x="19" y="24"/>
                      <a:pt x="20" y="24"/>
                    </a:cubicBezTo>
                    <a:cubicBezTo>
                      <a:pt x="76" y="24"/>
                      <a:pt x="76" y="24"/>
                      <a:pt x="76" y="24"/>
                    </a:cubicBezTo>
                    <a:cubicBezTo>
                      <a:pt x="77" y="24"/>
                      <a:pt x="78" y="23"/>
                      <a:pt x="78" y="22"/>
                    </a:cubicBezTo>
                    <a:cubicBezTo>
                      <a:pt x="78" y="21"/>
                      <a:pt x="77" y="20"/>
                      <a:pt x="76" y="20"/>
                    </a:cubicBezTo>
                    <a:cubicBezTo>
                      <a:pt x="50" y="20"/>
                      <a:pt x="50" y="20"/>
                      <a:pt x="50" y="20"/>
                    </a:cubicBezTo>
                    <a:cubicBezTo>
                      <a:pt x="50" y="16"/>
                      <a:pt x="50" y="16"/>
                      <a:pt x="50" y="16"/>
                    </a:cubicBezTo>
                    <a:cubicBezTo>
                      <a:pt x="88" y="16"/>
                      <a:pt x="88" y="16"/>
                      <a:pt x="88" y="16"/>
                    </a:cubicBezTo>
                    <a:cubicBezTo>
                      <a:pt x="92" y="16"/>
                      <a:pt x="96" y="12"/>
                      <a:pt x="96" y="8"/>
                    </a:cubicBezTo>
                    <a:cubicBezTo>
                      <a:pt x="96" y="0"/>
                      <a:pt x="96" y="0"/>
                      <a:pt x="96" y="0"/>
                    </a:cubicBezTo>
                    <a:lnTo>
                      <a:pt x="0" y="0"/>
                    </a:lnTo>
                    <a:close/>
                    <a:moveTo>
                      <a:pt x="48" y="12"/>
                    </a:moveTo>
                    <a:cubicBezTo>
                      <a:pt x="46" y="12"/>
                      <a:pt x="44" y="10"/>
                      <a:pt x="44" y="8"/>
                    </a:cubicBezTo>
                    <a:cubicBezTo>
                      <a:pt x="44" y="6"/>
                      <a:pt x="46" y="4"/>
                      <a:pt x="48" y="4"/>
                    </a:cubicBezTo>
                    <a:cubicBezTo>
                      <a:pt x="50" y="4"/>
                      <a:pt x="52" y="6"/>
                      <a:pt x="52" y="8"/>
                    </a:cubicBezTo>
                    <a:cubicBezTo>
                      <a:pt x="52" y="10"/>
                      <a:pt x="50"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52">
                <a:extLst>
                  <a:ext uri="{FF2B5EF4-FFF2-40B4-BE49-F238E27FC236}">
                    <a16:creationId xmlns:a16="http://schemas.microsoft.com/office/drawing/2014/main" id="{11B65276-8D45-4ADC-A6FA-01E921F160F8}"/>
                  </a:ext>
                </a:extLst>
              </p:cNvPr>
              <p:cNvSpPr>
                <a:spLocks noEditPoints="1"/>
              </p:cNvSpPr>
              <p:nvPr/>
            </p:nvSpPr>
            <p:spPr bwMode="auto">
              <a:xfrm>
                <a:off x="8440738" y="3640138"/>
                <a:ext cx="360363" cy="211138"/>
              </a:xfrm>
              <a:custGeom>
                <a:avLst/>
                <a:gdLst>
                  <a:gd name="T0" fmla="*/ 88 w 96"/>
                  <a:gd name="T1" fmla="*/ 0 h 56"/>
                  <a:gd name="T2" fmla="*/ 8 w 96"/>
                  <a:gd name="T3" fmla="*/ 0 h 56"/>
                  <a:gd name="T4" fmla="*/ 0 w 96"/>
                  <a:gd name="T5" fmla="*/ 8 h 56"/>
                  <a:gd name="T6" fmla="*/ 0 w 96"/>
                  <a:gd name="T7" fmla="*/ 56 h 56"/>
                  <a:gd name="T8" fmla="*/ 96 w 96"/>
                  <a:gd name="T9" fmla="*/ 56 h 56"/>
                  <a:gd name="T10" fmla="*/ 96 w 96"/>
                  <a:gd name="T11" fmla="*/ 8 h 56"/>
                  <a:gd name="T12" fmla="*/ 88 w 96"/>
                  <a:gd name="T13" fmla="*/ 0 h 56"/>
                  <a:gd name="T14" fmla="*/ 20 w 96"/>
                  <a:gd name="T15" fmla="*/ 52 h 56"/>
                  <a:gd name="T16" fmla="*/ 16 w 96"/>
                  <a:gd name="T17" fmla="*/ 52 h 56"/>
                  <a:gd name="T18" fmla="*/ 16 w 96"/>
                  <a:gd name="T19" fmla="*/ 12 h 56"/>
                  <a:gd name="T20" fmla="*/ 20 w 96"/>
                  <a:gd name="T21" fmla="*/ 12 h 56"/>
                  <a:gd name="T22" fmla="*/ 20 w 96"/>
                  <a:gd name="T23" fmla="*/ 52 h 56"/>
                  <a:gd name="T24" fmla="*/ 40 w 96"/>
                  <a:gd name="T25" fmla="*/ 50 h 56"/>
                  <a:gd name="T26" fmla="*/ 38 w 96"/>
                  <a:gd name="T27" fmla="*/ 52 h 56"/>
                  <a:gd name="T28" fmla="*/ 26 w 96"/>
                  <a:gd name="T29" fmla="*/ 52 h 56"/>
                  <a:gd name="T30" fmla="*/ 24 w 96"/>
                  <a:gd name="T31" fmla="*/ 50 h 56"/>
                  <a:gd name="T32" fmla="*/ 24 w 96"/>
                  <a:gd name="T33" fmla="*/ 34 h 56"/>
                  <a:gd name="T34" fmla="*/ 26 w 96"/>
                  <a:gd name="T35" fmla="*/ 32 h 56"/>
                  <a:gd name="T36" fmla="*/ 38 w 96"/>
                  <a:gd name="T37" fmla="*/ 32 h 56"/>
                  <a:gd name="T38" fmla="*/ 40 w 96"/>
                  <a:gd name="T39" fmla="*/ 34 h 56"/>
                  <a:gd name="T40" fmla="*/ 40 w 96"/>
                  <a:gd name="T41" fmla="*/ 50 h 56"/>
                  <a:gd name="T42" fmla="*/ 60 w 96"/>
                  <a:gd name="T43" fmla="*/ 50 h 56"/>
                  <a:gd name="T44" fmla="*/ 58 w 96"/>
                  <a:gd name="T45" fmla="*/ 52 h 56"/>
                  <a:gd name="T46" fmla="*/ 46 w 96"/>
                  <a:gd name="T47" fmla="*/ 52 h 56"/>
                  <a:gd name="T48" fmla="*/ 44 w 96"/>
                  <a:gd name="T49" fmla="*/ 50 h 56"/>
                  <a:gd name="T50" fmla="*/ 44 w 96"/>
                  <a:gd name="T51" fmla="*/ 22 h 56"/>
                  <a:gd name="T52" fmla="*/ 46 w 96"/>
                  <a:gd name="T53" fmla="*/ 20 h 56"/>
                  <a:gd name="T54" fmla="*/ 58 w 96"/>
                  <a:gd name="T55" fmla="*/ 20 h 56"/>
                  <a:gd name="T56" fmla="*/ 60 w 96"/>
                  <a:gd name="T57" fmla="*/ 22 h 56"/>
                  <a:gd name="T58" fmla="*/ 60 w 96"/>
                  <a:gd name="T59" fmla="*/ 50 h 56"/>
                  <a:gd name="T60" fmla="*/ 80 w 96"/>
                  <a:gd name="T61" fmla="*/ 50 h 56"/>
                  <a:gd name="T62" fmla="*/ 78 w 96"/>
                  <a:gd name="T63" fmla="*/ 52 h 56"/>
                  <a:gd name="T64" fmla="*/ 66 w 96"/>
                  <a:gd name="T65" fmla="*/ 52 h 56"/>
                  <a:gd name="T66" fmla="*/ 64 w 96"/>
                  <a:gd name="T67" fmla="*/ 50 h 56"/>
                  <a:gd name="T68" fmla="*/ 64 w 96"/>
                  <a:gd name="T69" fmla="*/ 14 h 56"/>
                  <a:gd name="T70" fmla="*/ 66 w 96"/>
                  <a:gd name="T71" fmla="*/ 12 h 56"/>
                  <a:gd name="T72" fmla="*/ 78 w 96"/>
                  <a:gd name="T73" fmla="*/ 12 h 56"/>
                  <a:gd name="T74" fmla="*/ 80 w 96"/>
                  <a:gd name="T75" fmla="*/ 14 h 56"/>
                  <a:gd name="T76" fmla="*/ 80 w 96"/>
                  <a:gd name="T77" fmla="*/ 5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6" h="56">
                    <a:moveTo>
                      <a:pt x="88" y="0"/>
                    </a:moveTo>
                    <a:cubicBezTo>
                      <a:pt x="8" y="0"/>
                      <a:pt x="8" y="0"/>
                      <a:pt x="8" y="0"/>
                    </a:cubicBezTo>
                    <a:cubicBezTo>
                      <a:pt x="4" y="0"/>
                      <a:pt x="0" y="4"/>
                      <a:pt x="0" y="8"/>
                    </a:cubicBezTo>
                    <a:cubicBezTo>
                      <a:pt x="0" y="56"/>
                      <a:pt x="0" y="56"/>
                      <a:pt x="0" y="56"/>
                    </a:cubicBezTo>
                    <a:cubicBezTo>
                      <a:pt x="96" y="56"/>
                      <a:pt x="96" y="56"/>
                      <a:pt x="96" y="56"/>
                    </a:cubicBezTo>
                    <a:cubicBezTo>
                      <a:pt x="96" y="8"/>
                      <a:pt x="96" y="8"/>
                      <a:pt x="96" y="8"/>
                    </a:cubicBezTo>
                    <a:cubicBezTo>
                      <a:pt x="96" y="4"/>
                      <a:pt x="92" y="0"/>
                      <a:pt x="88" y="0"/>
                    </a:cubicBezTo>
                    <a:close/>
                    <a:moveTo>
                      <a:pt x="20" y="52"/>
                    </a:moveTo>
                    <a:cubicBezTo>
                      <a:pt x="16" y="52"/>
                      <a:pt x="16" y="52"/>
                      <a:pt x="16" y="52"/>
                    </a:cubicBezTo>
                    <a:cubicBezTo>
                      <a:pt x="16" y="12"/>
                      <a:pt x="16" y="12"/>
                      <a:pt x="16" y="12"/>
                    </a:cubicBezTo>
                    <a:cubicBezTo>
                      <a:pt x="20" y="12"/>
                      <a:pt x="20" y="12"/>
                      <a:pt x="20" y="12"/>
                    </a:cubicBezTo>
                    <a:lnTo>
                      <a:pt x="20" y="52"/>
                    </a:lnTo>
                    <a:close/>
                    <a:moveTo>
                      <a:pt x="40" y="50"/>
                    </a:moveTo>
                    <a:cubicBezTo>
                      <a:pt x="40" y="51"/>
                      <a:pt x="39" y="52"/>
                      <a:pt x="38" y="52"/>
                    </a:cubicBezTo>
                    <a:cubicBezTo>
                      <a:pt x="26" y="52"/>
                      <a:pt x="26" y="52"/>
                      <a:pt x="26" y="52"/>
                    </a:cubicBezTo>
                    <a:cubicBezTo>
                      <a:pt x="25" y="52"/>
                      <a:pt x="24" y="51"/>
                      <a:pt x="24" y="50"/>
                    </a:cubicBezTo>
                    <a:cubicBezTo>
                      <a:pt x="24" y="34"/>
                      <a:pt x="24" y="34"/>
                      <a:pt x="24" y="34"/>
                    </a:cubicBezTo>
                    <a:cubicBezTo>
                      <a:pt x="24" y="33"/>
                      <a:pt x="25" y="32"/>
                      <a:pt x="26" y="32"/>
                    </a:cubicBezTo>
                    <a:cubicBezTo>
                      <a:pt x="38" y="32"/>
                      <a:pt x="38" y="32"/>
                      <a:pt x="38" y="32"/>
                    </a:cubicBezTo>
                    <a:cubicBezTo>
                      <a:pt x="39" y="32"/>
                      <a:pt x="40" y="33"/>
                      <a:pt x="40" y="34"/>
                    </a:cubicBezTo>
                    <a:lnTo>
                      <a:pt x="40" y="50"/>
                    </a:lnTo>
                    <a:close/>
                    <a:moveTo>
                      <a:pt x="60" y="50"/>
                    </a:moveTo>
                    <a:cubicBezTo>
                      <a:pt x="60" y="51"/>
                      <a:pt x="59" y="52"/>
                      <a:pt x="58" y="52"/>
                    </a:cubicBezTo>
                    <a:cubicBezTo>
                      <a:pt x="46" y="52"/>
                      <a:pt x="46" y="52"/>
                      <a:pt x="46" y="52"/>
                    </a:cubicBezTo>
                    <a:cubicBezTo>
                      <a:pt x="45" y="52"/>
                      <a:pt x="44" y="51"/>
                      <a:pt x="44" y="50"/>
                    </a:cubicBezTo>
                    <a:cubicBezTo>
                      <a:pt x="44" y="22"/>
                      <a:pt x="44" y="22"/>
                      <a:pt x="44" y="22"/>
                    </a:cubicBezTo>
                    <a:cubicBezTo>
                      <a:pt x="44" y="21"/>
                      <a:pt x="45" y="20"/>
                      <a:pt x="46" y="20"/>
                    </a:cubicBezTo>
                    <a:cubicBezTo>
                      <a:pt x="58" y="20"/>
                      <a:pt x="58" y="20"/>
                      <a:pt x="58" y="20"/>
                    </a:cubicBezTo>
                    <a:cubicBezTo>
                      <a:pt x="59" y="20"/>
                      <a:pt x="60" y="21"/>
                      <a:pt x="60" y="22"/>
                    </a:cubicBezTo>
                    <a:lnTo>
                      <a:pt x="60" y="50"/>
                    </a:lnTo>
                    <a:close/>
                    <a:moveTo>
                      <a:pt x="80" y="50"/>
                    </a:moveTo>
                    <a:cubicBezTo>
                      <a:pt x="80" y="51"/>
                      <a:pt x="79" y="52"/>
                      <a:pt x="78" y="52"/>
                    </a:cubicBezTo>
                    <a:cubicBezTo>
                      <a:pt x="66" y="52"/>
                      <a:pt x="66" y="52"/>
                      <a:pt x="66" y="52"/>
                    </a:cubicBezTo>
                    <a:cubicBezTo>
                      <a:pt x="65" y="52"/>
                      <a:pt x="64" y="51"/>
                      <a:pt x="64" y="50"/>
                    </a:cubicBezTo>
                    <a:cubicBezTo>
                      <a:pt x="64" y="14"/>
                      <a:pt x="64" y="14"/>
                      <a:pt x="64" y="14"/>
                    </a:cubicBezTo>
                    <a:cubicBezTo>
                      <a:pt x="64" y="13"/>
                      <a:pt x="65" y="12"/>
                      <a:pt x="66" y="12"/>
                    </a:cubicBezTo>
                    <a:cubicBezTo>
                      <a:pt x="78" y="12"/>
                      <a:pt x="78" y="12"/>
                      <a:pt x="78" y="12"/>
                    </a:cubicBezTo>
                    <a:cubicBezTo>
                      <a:pt x="79" y="12"/>
                      <a:pt x="80" y="13"/>
                      <a:pt x="80" y="14"/>
                    </a:cubicBezTo>
                    <a:lnTo>
                      <a:pt x="8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
        <p:nvSpPr>
          <p:cNvPr id="41" name="Slide Number Placeholder 3">
            <a:extLst>
              <a:ext uri="{FF2B5EF4-FFF2-40B4-BE49-F238E27FC236}">
                <a16:creationId xmlns:a16="http://schemas.microsoft.com/office/drawing/2014/main" id="{4B0C28A2-E2E7-420D-9592-698B5BEA08C3}"/>
              </a:ext>
            </a:extLst>
          </p:cNvPr>
          <p:cNvSpPr txBox="1">
            <a:spLocks/>
          </p:cNvSpPr>
          <p:nvPr/>
        </p:nvSpPr>
        <p:spPr>
          <a:xfrm>
            <a:off x="11790251" y="6485824"/>
            <a:ext cx="341760" cy="276999"/>
          </a:xfrm>
          <a:prstGeom prst="rect">
            <a:avLst/>
          </a:prstGeom>
        </p:spPr>
        <p:txBody>
          <a:bodyPr wrap="none" anchor="ctr">
            <a:spAutoFit/>
          </a:bodyP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84D2E29-67F4-44D8-B0E3-F54815B4F123}" type="slidenum">
              <a:rPr lang="en-US" b="1" smtClean="0">
                <a:solidFill>
                  <a:srgbClr val="652D74"/>
                </a:solidFill>
                <a:latin typeface="Calibri" panose="020F0502020204030204"/>
              </a:rPr>
              <a:pPr/>
              <a:t>24</a:t>
            </a:fld>
            <a:endParaRPr lang="en-US" b="1" dirty="0">
              <a:solidFill>
                <a:srgbClr val="652D74"/>
              </a:solidFill>
              <a:latin typeface="Calibri" panose="020F0502020204030204"/>
            </a:endParaRPr>
          </a:p>
        </p:txBody>
      </p:sp>
    </p:spTree>
    <p:extLst>
      <p:ext uri="{BB962C8B-B14F-4D97-AF65-F5344CB8AC3E}">
        <p14:creationId xmlns:p14="http://schemas.microsoft.com/office/powerpoint/2010/main" val="21996775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oogle Shape;205;p29">
            <a:extLst>
              <a:ext uri="{FF2B5EF4-FFF2-40B4-BE49-F238E27FC236}">
                <a16:creationId xmlns:a16="http://schemas.microsoft.com/office/drawing/2014/main" id="{C23823C9-2EA5-4789-98EA-39A0F880A179}"/>
              </a:ext>
            </a:extLst>
          </p:cNvPr>
          <p:cNvGrpSpPr/>
          <p:nvPr/>
        </p:nvGrpSpPr>
        <p:grpSpPr>
          <a:xfrm>
            <a:off x="169950" y="228816"/>
            <a:ext cx="11826910" cy="6621863"/>
            <a:chOff x="275475" y="1342375"/>
            <a:chExt cx="7012250" cy="3021400"/>
          </a:xfrm>
        </p:grpSpPr>
        <p:sp>
          <p:nvSpPr>
            <p:cNvPr id="35" name="Google Shape;206;p29">
              <a:extLst>
                <a:ext uri="{FF2B5EF4-FFF2-40B4-BE49-F238E27FC236}">
                  <a16:creationId xmlns:a16="http://schemas.microsoft.com/office/drawing/2014/main" id="{C59C5BD4-3FBB-488A-A04F-ACFF07CA3F7B}"/>
                </a:ext>
              </a:extLst>
            </p:cNvPr>
            <p:cNvSpPr/>
            <p:nvPr/>
          </p:nvSpPr>
          <p:spPr>
            <a:xfrm>
              <a:off x="4871175" y="2237375"/>
              <a:ext cx="257375" cy="209425"/>
            </a:xfrm>
            <a:custGeom>
              <a:avLst/>
              <a:gdLst/>
              <a:ahLst/>
              <a:cxnLst/>
              <a:rect l="l" t="t" r="r" b="b"/>
              <a:pathLst>
                <a:path w="10295" h="8377" extrusionOk="0">
                  <a:moveTo>
                    <a:pt x="10100" y="993"/>
                  </a:moveTo>
                  <a:lnTo>
                    <a:pt x="9324" y="993"/>
                  </a:lnTo>
                  <a:lnTo>
                    <a:pt x="8788" y="913"/>
                  </a:lnTo>
                  <a:lnTo>
                    <a:pt x="8434" y="1335"/>
                  </a:lnTo>
                  <a:lnTo>
                    <a:pt x="8126" y="1427"/>
                  </a:lnTo>
                  <a:lnTo>
                    <a:pt x="7921" y="1621"/>
                  </a:lnTo>
                  <a:lnTo>
                    <a:pt x="7544" y="1313"/>
                  </a:lnTo>
                  <a:lnTo>
                    <a:pt x="7407" y="548"/>
                  </a:lnTo>
                  <a:lnTo>
                    <a:pt x="7179" y="502"/>
                  </a:lnTo>
                  <a:lnTo>
                    <a:pt x="7179" y="217"/>
                  </a:lnTo>
                  <a:lnTo>
                    <a:pt x="6722" y="0"/>
                  </a:lnTo>
                  <a:lnTo>
                    <a:pt x="6471" y="331"/>
                  </a:lnTo>
                  <a:lnTo>
                    <a:pt x="6506" y="708"/>
                  </a:lnTo>
                  <a:lnTo>
                    <a:pt x="6414" y="833"/>
                  </a:lnTo>
                  <a:lnTo>
                    <a:pt x="5958" y="822"/>
                  </a:lnTo>
                  <a:lnTo>
                    <a:pt x="5832" y="1244"/>
                  </a:lnTo>
                  <a:lnTo>
                    <a:pt x="5536" y="1061"/>
                  </a:lnTo>
                  <a:lnTo>
                    <a:pt x="5068" y="1358"/>
                  </a:lnTo>
                  <a:lnTo>
                    <a:pt x="4805" y="1244"/>
                  </a:lnTo>
                  <a:lnTo>
                    <a:pt x="4189" y="1050"/>
                  </a:lnTo>
                  <a:lnTo>
                    <a:pt x="3778" y="1050"/>
                  </a:lnTo>
                  <a:lnTo>
                    <a:pt x="3550" y="1016"/>
                  </a:lnTo>
                  <a:lnTo>
                    <a:pt x="3139" y="776"/>
                  </a:lnTo>
                  <a:lnTo>
                    <a:pt x="3093" y="1107"/>
                  </a:lnTo>
                  <a:lnTo>
                    <a:pt x="2511" y="1278"/>
                  </a:lnTo>
                  <a:lnTo>
                    <a:pt x="2523" y="2020"/>
                  </a:lnTo>
                  <a:lnTo>
                    <a:pt x="2169" y="2305"/>
                  </a:lnTo>
                  <a:lnTo>
                    <a:pt x="1598" y="2431"/>
                  </a:lnTo>
                  <a:lnTo>
                    <a:pt x="1541" y="2853"/>
                  </a:lnTo>
                  <a:lnTo>
                    <a:pt x="982" y="2967"/>
                  </a:lnTo>
                  <a:lnTo>
                    <a:pt x="138" y="2625"/>
                  </a:lnTo>
                  <a:lnTo>
                    <a:pt x="69" y="3766"/>
                  </a:lnTo>
                  <a:lnTo>
                    <a:pt x="1" y="4439"/>
                  </a:lnTo>
                  <a:lnTo>
                    <a:pt x="354" y="4565"/>
                  </a:lnTo>
                  <a:lnTo>
                    <a:pt x="126" y="5067"/>
                  </a:lnTo>
                  <a:lnTo>
                    <a:pt x="514" y="5798"/>
                  </a:lnTo>
                  <a:lnTo>
                    <a:pt x="674" y="6368"/>
                  </a:lnTo>
                  <a:lnTo>
                    <a:pt x="1279" y="6528"/>
                  </a:lnTo>
                  <a:lnTo>
                    <a:pt x="1439" y="7099"/>
                  </a:lnTo>
                  <a:lnTo>
                    <a:pt x="879" y="7920"/>
                  </a:lnTo>
                  <a:lnTo>
                    <a:pt x="2249" y="8377"/>
                  </a:lnTo>
                  <a:lnTo>
                    <a:pt x="3002" y="8251"/>
                  </a:lnTo>
                  <a:lnTo>
                    <a:pt x="3481" y="8365"/>
                  </a:lnTo>
                  <a:lnTo>
                    <a:pt x="3607" y="8160"/>
                  </a:lnTo>
                  <a:lnTo>
                    <a:pt x="4143" y="8240"/>
                  </a:lnTo>
                  <a:lnTo>
                    <a:pt x="5091" y="7863"/>
                  </a:lnTo>
                  <a:lnTo>
                    <a:pt x="4976" y="7099"/>
                  </a:lnTo>
                  <a:lnTo>
                    <a:pt x="5307" y="6585"/>
                  </a:lnTo>
                  <a:lnTo>
                    <a:pt x="5878" y="6585"/>
                  </a:lnTo>
                  <a:lnTo>
                    <a:pt x="5901" y="6334"/>
                  </a:lnTo>
                  <a:lnTo>
                    <a:pt x="6471" y="6208"/>
                  </a:lnTo>
                  <a:lnTo>
                    <a:pt x="6768" y="6300"/>
                  </a:lnTo>
                  <a:lnTo>
                    <a:pt x="7019" y="6037"/>
                  </a:lnTo>
                  <a:lnTo>
                    <a:pt x="6859" y="5501"/>
                  </a:lnTo>
                  <a:lnTo>
                    <a:pt x="7076" y="4953"/>
                  </a:lnTo>
                  <a:lnTo>
                    <a:pt x="7498" y="4725"/>
                  </a:lnTo>
                  <a:lnTo>
                    <a:pt x="7076" y="4131"/>
                  </a:lnTo>
                  <a:lnTo>
                    <a:pt x="7795" y="4154"/>
                  </a:lnTo>
                  <a:lnTo>
                    <a:pt x="7932" y="3823"/>
                  </a:lnTo>
                  <a:lnTo>
                    <a:pt x="7818" y="3469"/>
                  </a:lnTo>
                  <a:lnTo>
                    <a:pt x="8103" y="3081"/>
                  </a:lnTo>
                  <a:lnTo>
                    <a:pt x="7898" y="2625"/>
                  </a:lnTo>
                  <a:lnTo>
                    <a:pt x="7624" y="2226"/>
                  </a:lnTo>
                  <a:lnTo>
                    <a:pt x="7966" y="1826"/>
                  </a:lnTo>
                  <a:lnTo>
                    <a:pt x="8731" y="1643"/>
                  </a:lnTo>
                  <a:lnTo>
                    <a:pt x="9553" y="1529"/>
                  </a:lnTo>
                  <a:lnTo>
                    <a:pt x="9895" y="1358"/>
                  </a:lnTo>
                  <a:lnTo>
                    <a:pt x="10294" y="125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36" name="Google Shape;207;p29">
              <a:extLst>
                <a:ext uri="{FF2B5EF4-FFF2-40B4-BE49-F238E27FC236}">
                  <a16:creationId xmlns:a16="http://schemas.microsoft.com/office/drawing/2014/main" id="{E3DA973E-14F9-4F21-B09D-3F79F0449FFB}"/>
                </a:ext>
              </a:extLst>
            </p:cNvPr>
            <p:cNvSpPr/>
            <p:nvPr/>
          </p:nvSpPr>
          <p:spPr>
            <a:xfrm>
              <a:off x="3951650" y="3212825"/>
              <a:ext cx="249075" cy="306150"/>
            </a:xfrm>
            <a:custGeom>
              <a:avLst/>
              <a:gdLst/>
              <a:ahLst/>
              <a:cxnLst/>
              <a:rect l="l" t="t" r="r" b="b"/>
              <a:pathLst>
                <a:path w="9963" h="12246" extrusionOk="0">
                  <a:moveTo>
                    <a:pt x="3857" y="1313"/>
                  </a:moveTo>
                  <a:lnTo>
                    <a:pt x="1484" y="1301"/>
                  </a:lnTo>
                  <a:lnTo>
                    <a:pt x="1221" y="1404"/>
                  </a:lnTo>
                  <a:lnTo>
                    <a:pt x="970" y="1381"/>
                  </a:lnTo>
                  <a:lnTo>
                    <a:pt x="651" y="1518"/>
                  </a:lnTo>
                  <a:lnTo>
                    <a:pt x="571" y="1689"/>
                  </a:lnTo>
                  <a:lnTo>
                    <a:pt x="970" y="2260"/>
                  </a:lnTo>
                  <a:lnTo>
                    <a:pt x="1130" y="2865"/>
                  </a:lnTo>
                  <a:lnTo>
                    <a:pt x="1358" y="3744"/>
                  </a:lnTo>
                  <a:lnTo>
                    <a:pt x="1119" y="4109"/>
                  </a:lnTo>
                  <a:lnTo>
                    <a:pt x="1073" y="4291"/>
                  </a:lnTo>
                  <a:lnTo>
                    <a:pt x="1256" y="4839"/>
                  </a:lnTo>
                  <a:lnTo>
                    <a:pt x="1472" y="5387"/>
                  </a:lnTo>
                  <a:lnTo>
                    <a:pt x="1701" y="5706"/>
                  </a:lnTo>
                  <a:lnTo>
                    <a:pt x="1746" y="6220"/>
                  </a:lnTo>
                  <a:lnTo>
                    <a:pt x="1644" y="6905"/>
                  </a:lnTo>
                  <a:lnTo>
                    <a:pt x="1381" y="7304"/>
                  </a:lnTo>
                  <a:lnTo>
                    <a:pt x="913" y="7909"/>
                  </a:lnTo>
                  <a:lnTo>
                    <a:pt x="731" y="8274"/>
                  </a:lnTo>
                  <a:lnTo>
                    <a:pt x="457" y="9084"/>
                  </a:lnTo>
                  <a:lnTo>
                    <a:pt x="411" y="9472"/>
                  </a:lnTo>
                  <a:lnTo>
                    <a:pt x="126" y="10317"/>
                  </a:lnTo>
                  <a:lnTo>
                    <a:pt x="0" y="11104"/>
                  </a:lnTo>
                  <a:lnTo>
                    <a:pt x="69" y="11675"/>
                  </a:lnTo>
                  <a:lnTo>
                    <a:pt x="457" y="11504"/>
                  </a:lnTo>
                  <a:lnTo>
                    <a:pt x="925" y="11355"/>
                  </a:lnTo>
                  <a:lnTo>
                    <a:pt x="1438" y="11367"/>
                  </a:lnTo>
                  <a:lnTo>
                    <a:pt x="1895" y="11789"/>
                  </a:lnTo>
                  <a:lnTo>
                    <a:pt x="2032" y="11732"/>
                  </a:lnTo>
                  <a:lnTo>
                    <a:pt x="5238" y="11686"/>
                  </a:lnTo>
                  <a:lnTo>
                    <a:pt x="5763" y="12109"/>
                  </a:lnTo>
                  <a:lnTo>
                    <a:pt x="7681" y="12246"/>
                  </a:lnTo>
                  <a:lnTo>
                    <a:pt x="9141" y="11880"/>
                  </a:lnTo>
                  <a:lnTo>
                    <a:pt x="8651" y="11310"/>
                  </a:lnTo>
                  <a:lnTo>
                    <a:pt x="8137" y="10568"/>
                  </a:lnTo>
                  <a:lnTo>
                    <a:pt x="8251" y="7681"/>
                  </a:lnTo>
                  <a:lnTo>
                    <a:pt x="9906" y="7692"/>
                  </a:lnTo>
                  <a:lnTo>
                    <a:pt x="9826" y="7373"/>
                  </a:lnTo>
                  <a:lnTo>
                    <a:pt x="9963" y="7030"/>
                  </a:lnTo>
                  <a:lnTo>
                    <a:pt x="9826" y="6608"/>
                  </a:lnTo>
                  <a:lnTo>
                    <a:pt x="9929" y="6174"/>
                  </a:lnTo>
                  <a:lnTo>
                    <a:pt x="9860" y="5889"/>
                  </a:lnTo>
                  <a:lnTo>
                    <a:pt x="9484" y="5832"/>
                  </a:lnTo>
                  <a:lnTo>
                    <a:pt x="8993" y="5980"/>
                  </a:lnTo>
                  <a:lnTo>
                    <a:pt x="8651" y="5946"/>
                  </a:lnTo>
                  <a:lnTo>
                    <a:pt x="8445" y="6037"/>
                  </a:lnTo>
                  <a:lnTo>
                    <a:pt x="8514" y="4953"/>
                  </a:lnTo>
                  <a:lnTo>
                    <a:pt x="8251" y="4622"/>
                  </a:lnTo>
                  <a:lnTo>
                    <a:pt x="8206" y="4052"/>
                  </a:lnTo>
                  <a:lnTo>
                    <a:pt x="8331" y="3515"/>
                  </a:lnTo>
                  <a:lnTo>
                    <a:pt x="8160" y="3173"/>
                  </a:lnTo>
                  <a:lnTo>
                    <a:pt x="8160" y="2602"/>
                  </a:lnTo>
                  <a:lnTo>
                    <a:pt x="7190" y="2602"/>
                  </a:lnTo>
                  <a:lnTo>
                    <a:pt x="7258" y="2271"/>
                  </a:lnTo>
                  <a:lnTo>
                    <a:pt x="6847" y="2271"/>
                  </a:lnTo>
                  <a:lnTo>
                    <a:pt x="6802" y="2431"/>
                  </a:lnTo>
                  <a:lnTo>
                    <a:pt x="6323" y="2465"/>
                  </a:lnTo>
                  <a:lnTo>
                    <a:pt x="6106" y="3002"/>
                  </a:lnTo>
                  <a:lnTo>
                    <a:pt x="5980" y="3230"/>
                  </a:lnTo>
                  <a:lnTo>
                    <a:pt x="5546" y="3093"/>
                  </a:lnTo>
                  <a:lnTo>
                    <a:pt x="5284" y="3230"/>
                  </a:lnTo>
                  <a:lnTo>
                    <a:pt x="4748" y="3298"/>
                  </a:lnTo>
                  <a:lnTo>
                    <a:pt x="4451" y="2831"/>
                  </a:lnTo>
                  <a:lnTo>
                    <a:pt x="4268" y="2522"/>
                  </a:lnTo>
                  <a:lnTo>
                    <a:pt x="4040" y="1986"/>
                  </a:lnTo>
                  <a:close/>
                  <a:moveTo>
                    <a:pt x="742" y="1130"/>
                  </a:moveTo>
                  <a:lnTo>
                    <a:pt x="776" y="742"/>
                  </a:lnTo>
                  <a:lnTo>
                    <a:pt x="902" y="503"/>
                  </a:lnTo>
                  <a:lnTo>
                    <a:pt x="1187" y="320"/>
                  </a:lnTo>
                  <a:lnTo>
                    <a:pt x="902" y="0"/>
                  </a:lnTo>
                  <a:lnTo>
                    <a:pt x="651" y="160"/>
                  </a:lnTo>
                  <a:lnTo>
                    <a:pt x="331" y="548"/>
                  </a:lnTo>
                  <a:lnTo>
                    <a:pt x="537" y="123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37" name="Google Shape;208;p29">
              <a:extLst>
                <a:ext uri="{FF2B5EF4-FFF2-40B4-BE49-F238E27FC236}">
                  <a16:creationId xmlns:a16="http://schemas.microsoft.com/office/drawing/2014/main" id="{FD17274D-F3AA-4502-8A07-6E95AEF8E7A0}"/>
                </a:ext>
              </a:extLst>
            </p:cNvPr>
            <p:cNvSpPr/>
            <p:nvPr/>
          </p:nvSpPr>
          <p:spPr>
            <a:xfrm>
              <a:off x="4073750" y="2143225"/>
              <a:ext cx="34275" cy="68200"/>
            </a:xfrm>
            <a:custGeom>
              <a:avLst/>
              <a:gdLst/>
              <a:ahLst/>
              <a:cxnLst/>
              <a:rect l="l" t="t" r="r" b="b"/>
              <a:pathLst>
                <a:path w="1371" h="2728" extrusionOk="0">
                  <a:moveTo>
                    <a:pt x="286" y="0"/>
                  </a:moveTo>
                  <a:lnTo>
                    <a:pt x="1" y="445"/>
                  </a:lnTo>
                  <a:lnTo>
                    <a:pt x="69" y="719"/>
                  </a:lnTo>
                  <a:lnTo>
                    <a:pt x="69" y="719"/>
                  </a:lnTo>
                  <a:lnTo>
                    <a:pt x="217" y="856"/>
                  </a:lnTo>
                  <a:lnTo>
                    <a:pt x="138" y="1130"/>
                  </a:lnTo>
                  <a:lnTo>
                    <a:pt x="126" y="1746"/>
                  </a:lnTo>
                  <a:lnTo>
                    <a:pt x="229" y="2168"/>
                  </a:lnTo>
                  <a:lnTo>
                    <a:pt x="651" y="2477"/>
                  </a:lnTo>
                  <a:lnTo>
                    <a:pt x="685" y="2671"/>
                  </a:lnTo>
                  <a:lnTo>
                    <a:pt x="822" y="2728"/>
                  </a:lnTo>
                  <a:lnTo>
                    <a:pt x="1130" y="2294"/>
                  </a:lnTo>
                  <a:lnTo>
                    <a:pt x="1142" y="1997"/>
                  </a:lnTo>
                  <a:lnTo>
                    <a:pt x="1370" y="1872"/>
                  </a:lnTo>
                  <a:lnTo>
                    <a:pt x="1370" y="1643"/>
                  </a:lnTo>
                  <a:lnTo>
                    <a:pt x="1039" y="1415"/>
                  </a:lnTo>
                  <a:lnTo>
                    <a:pt x="914" y="1039"/>
                  </a:lnTo>
                  <a:lnTo>
                    <a:pt x="971" y="742"/>
                  </a:lnTo>
                  <a:lnTo>
                    <a:pt x="971" y="742"/>
                  </a:lnTo>
                  <a:lnTo>
                    <a:pt x="902" y="411"/>
                  </a:lnTo>
                  <a:lnTo>
                    <a:pt x="708" y="331"/>
                  </a:lnTo>
                  <a:lnTo>
                    <a:pt x="526" y="103"/>
                  </a:lnTo>
                  <a:lnTo>
                    <a:pt x="343" y="17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38" name="Google Shape;209;p29">
              <a:extLst>
                <a:ext uri="{FF2B5EF4-FFF2-40B4-BE49-F238E27FC236}">
                  <a16:creationId xmlns:a16="http://schemas.microsoft.com/office/drawing/2014/main" id="{103B7AFF-DD86-4823-930B-0E1679840893}"/>
                </a:ext>
              </a:extLst>
            </p:cNvPr>
            <p:cNvSpPr/>
            <p:nvPr/>
          </p:nvSpPr>
          <p:spPr>
            <a:xfrm>
              <a:off x="4728800" y="2520950"/>
              <a:ext cx="92750" cy="80775"/>
            </a:xfrm>
            <a:custGeom>
              <a:avLst/>
              <a:gdLst/>
              <a:ahLst/>
              <a:cxnLst/>
              <a:rect l="l" t="t" r="r" b="b"/>
              <a:pathLst>
                <a:path w="3710" h="3231" extrusionOk="0">
                  <a:moveTo>
                    <a:pt x="3527" y="320"/>
                  </a:moveTo>
                  <a:lnTo>
                    <a:pt x="3345" y="1"/>
                  </a:lnTo>
                  <a:lnTo>
                    <a:pt x="2911" y="560"/>
                  </a:lnTo>
                  <a:lnTo>
                    <a:pt x="2386" y="1142"/>
                  </a:lnTo>
                  <a:lnTo>
                    <a:pt x="1918" y="1758"/>
                  </a:lnTo>
                  <a:lnTo>
                    <a:pt x="1439" y="1724"/>
                  </a:lnTo>
                  <a:lnTo>
                    <a:pt x="788" y="1701"/>
                  </a:lnTo>
                  <a:lnTo>
                    <a:pt x="184" y="1838"/>
                  </a:lnTo>
                  <a:lnTo>
                    <a:pt x="149" y="1599"/>
                  </a:lnTo>
                  <a:lnTo>
                    <a:pt x="1" y="1644"/>
                  </a:lnTo>
                  <a:lnTo>
                    <a:pt x="58" y="1861"/>
                  </a:lnTo>
                  <a:lnTo>
                    <a:pt x="435" y="2774"/>
                  </a:lnTo>
                  <a:lnTo>
                    <a:pt x="2831" y="3230"/>
                  </a:lnTo>
                  <a:lnTo>
                    <a:pt x="2968" y="3036"/>
                  </a:lnTo>
                  <a:lnTo>
                    <a:pt x="2957" y="2671"/>
                  </a:lnTo>
                  <a:lnTo>
                    <a:pt x="3151" y="2295"/>
                  </a:lnTo>
                  <a:lnTo>
                    <a:pt x="3117" y="1930"/>
                  </a:lnTo>
                  <a:lnTo>
                    <a:pt x="3459" y="1747"/>
                  </a:lnTo>
                  <a:lnTo>
                    <a:pt x="3299" y="1621"/>
                  </a:lnTo>
                  <a:lnTo>
                    <a:pt x="3311" y="1028"/>
                  </a:lnTo>
                  <a:lnTo>
                    <a:pt x="3710" y="102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39" name="Google Shape;210;p29">
              <a:extLst>
                <a:ext uri="{FF2B5EF4-FFF2-40B4-BE49-F238E27FC236}">
                  <a16:creationId xmlns:a16="http://schemas.microsoft.com/office/drawing/2014/main" id="{4BDA0556-8577-4E6B-B688-4ABAC4E0620B}"/>
                </a:ext>
              </a:extLst>
            </p:cNvPr>
            <p:cNvSpPr/>
            <p:nvPr/>
          </p:nvSpPr>
          <p:spPr>
            <a:xfrm>
              <a:off x="2369900" y="3607675"/>
              <a:ext cx="310150" cy="748675"/>
            </a:xfrm>
            <a:custGeom>
              <a:avLst/>
              <a:gdLst/>
              <a:ahLst/>
              <a:cxnLst/>
              <a:rect l="l" t="t" r="r" b="b"/>
              <a:pathLst>
                <a:path w="12406" h="29947" extrusionOk="0">
                  <a:moveTo>
                    <a:pt x="10283" y="29901"/>
                  </a:moveTo>
                  <a:lnTo>
                    <a:pt x="10409" y="29467"/>
                  </a:lnTo>
                  <a:lnTo>
                    <a:pt x="9370" y="29262"/>
                  </a:lnTo>
                  <a:lnTo>
                    <a:pt x="8263" y="28748"/>
                  </a:lnTo>
                  <a:lnTo>
                    <a:pt x="7659" y="28086"/>
                  </a:lnTo>
                  <a:lnTo>
                    <a:pt x="7225" y="27687"/>
                  </a:lnTo>
                  <a:lnTo>
                    <a:pt x="8069" y="29615"/>
                  </a:lnTo>
                  <a:lnTo>
                    <a:pt x="8777" y="29615"/>
                  </a:lnTo>
                  <a:lnTo>
                    <a:pt x="9199" y="29638"/>
                  </a:lnTo>
                  <a:lnTo>
                    <a:pt x="9667" y="29946"/>
                  </a:lnTo>
                  <a:close/>
                  <a:moveTo>
                    <a:pt x="3094" y="218"/>
                  </a:moveTo>
                  <a:lnTo>
                    <a:pt x="2032" y="1"/>
                  </a:lnTo>
                  <a:lnTo>
                    <a:pt x="1462" y="811"/>
                  </a:lnTo>
                  <a:lnTo>
                    <a:pt x="1587" y="1039"/>
                  </a:lnTo>
                  <a:lnTo>
                    <a:pt x="1427" y="1987"/>
                  </a:lnTo>
                  <a:lnTo>
                    <a:pt x="629" y="2443"/>
                  </a:lnTo>
                  <a:lnTo>
                    <a:pt x="857" y="3949"/>
                  </a:lnTo>
                  <a:lnTo>
                    <a:pt x="731" y="4235"/>
                  </a:lnTo>
                  <a:lnTo>
                    <a:pt x="1017" y="4589"/>
                  </a:lnTo>
                  <a:lnTo>
                    <a:pt x="560" y="5159"/>
                  </a:lnTo>
                  <a:lnTo>
                    <a:pt x="195" y="6004"/>
                  </a:lnTo>
                  <a:lnTo>
                    <a:pt x="58" y="6837"/>
                  </a:lnTo>
                  <a:lnTo>
                    <a:pt x="309" y="7715"/>
                  </a:lnTo>
                  <a:lnTo>
                    <a:pt x="1" y="8640"/>
                  </a:lnTo>
                  <a:lnTo>
                    <a:pt x="708" y="10203"/>
                  </a:lnTo>
                  <a:lnTo>
                    <a:pt x="937" y="10374"/>
                  </a:lnTo>
                  <a:lnTo>
                    <a:pt x="1119" y="11208"/>
                  </a:lnTo>
                  <a:lnTo>
                    <a:pt x="891" y="12098"/>
                  </a:lnTo>
                  <a:lnTo>
                    <a:pt x="1085" y="12862"/>
                  </a:lnTo>
                  <a:lnTo>
                    <a:pt x="674" y="13479"/>
                  </a:lnTo>
                  <a:lnTo>
                    <a:pt x="891" y="14323"/>
                  </a:lnTo>
                  <a:lnTo>
                    <a:pt x="1359" y="15225"/>
                  </a:lnTo>
                  <a:lnTo>
                    <a:pt x="1005" y="15567"/>
                  </a:lnTo>
                  <a:lnTo>
                    <a:pt x="1051" y="16377"/>
                  </a:lnTo>
                  <a:lnTo>
                    <a:pt x="1142" y="17290"/>
                  </a:lnTo>
                  <a:lnTo>
                    <a:pt x="1621" y="18374"/>
                  </a:lnTo>
                  <a:lnTo>
                    <a:pt x="1393" y="18546"/>
                  </a:lnTo>
                  <a:lnTo>
                    <a:pt x="1907" y="19561"/>
                  </a:lnTo>
                  <a:lnTo>
                    <a:pt x="2340" y="19881"/>
                  </a:lnTo>
                  <a:lnTo>
                    <a:pt x="2226" y="20257"/>
                  </a:lnTo>
                  <a:lnTo>
                    <a:pt x="2626" y="20440"/>
                  </a:lnTo>
                  <a:lnTo>
                    <a:pt x="2820" y="20771"/>
                  </a:lnTo>
                  <a:lnTo>
                    <a:pt x="2557" y="20931"/>
                  </a:lnTo>
                  <a:lnTo>
                    <a:pt x="2820" y="21456"/>
                  </a:lnTo>
                  <a:lnTo>
                    <a:pt x="2968" y="22620"/>
                  </a:lnTo>
                  <a:lnTo>
                    <a:pt x="2877" y="23384"/>
                  </a:lnTo>
                  <a:lnTo>
                    <a:pt x="3128" y="23841"/>
                  </a:lnTo>
                  <a:lnTo>
                    <a:pt x="3116" y="24389"/>
                  </a:lnTo>
                  <a:lnTo>
                    <a:pt x="2728" y="24777"/>
                  </a:lnTo>
                  <a:lnTo>
                    <a:pt x="3174" y="25724"/>
                  </a:lnTo>
                  <a:lnTo>
                    <a:pt x="3539" y="26032"/>
                  </a:lnTo>
                  <a:lnTo>
                    <a:pt x="3984" y="25975"/>
                  </a:lnTo>
                  <a:lnTo>
                    <a:pt x="4246" y="26637"/>
                  </a:lnTo>
                  <a:lnTo>
                    <a:pt x="4737" y="27150"/>
                  </a:lnTo>
                  <a:lnTo>
                    <a:pt x="6449" y="27265"/>
                  </a:lnTo>
                  <a:lnTo>
                    <a:pt x="7134" y="27390"/>
                  </a:lnTo>
                  <a:lnTo>
                    <a:pt x="7453" y="27447"/>
                  </a:lnTo>
                  <a:lnTo>
                    <a:pt x="6780" y="26934"/>
                  </a:lnTo>
                  <a:lnTo>
                    <a:pt x="6198" y="26032"/>
                  </a:lnTo>
                  <a:lnTo>
                    <a:pt x="6323" y="25621"/>
                  </a:lnTo>
                  <a:lnTo>
                    <a:pt x="6825" y="25267"/>
                  </a:lnTo>
                  <a:lnTo>
                    <a:pt x="6894" y="24240"/>
                  </a:lnTo>
                  <a:lnTo>
                    <a:pt x="7567" y="23738"/>
                  </a:lnTo>
                  <a:lnTo>
                    <a:pt x="7533" y="22939"/>
                  </a:lnTo>
                  <a:lnTo>
                    <a:pt x="6791" y="22757"/>
                  </a:lnTo>
                  <a:lnTo>
                    <a:pt x="5878" y="22106"/>
                  </a:lnTo>
                  <a:lnTo>
                    <a:pt x="5867" y="21444"/>
                  </a:lnTo>
                  <a:lnTo>
                    <a:pt x="6278" y="20999"/>
                  </a:lnTo>
                  <a:lnTo>
                    <a:pt x="6951" y="20988"/>
                  </a:lnTo>
                  <a:lnTo>
                    <a:pt x="6985" y="20508"/>
                  </a:lnTo>
                  <a:lnTo>
                    <a:pt x="6814" y="19641"/>
                  </a:lnTo>
                  <a:lnTo>
                    <a:pt x="7225" y="19082"/>
                  </a:lnTo>
                  <a:lnTo>
                    <a:pt x="7807" y="18819"/>
                  </a:lnTo>
                  <a:lnTo>
                    <a:pt x="7453" y="18363"/>
                  </a:lnTo>
                  <a:lnTo>
                    <a:pt x="7134" y="18648"/>
                  </a:lnTo>
                  <a:lnTo>
                    <a:pt x="6563" y="18374"/>
                  </a:lnTo>
                  <a:lnTo>
                    <a:pt x="6209" y="17484"/>
                  </a:lnTo>
                  <a:lnTo>
                    <a:pt x="6426" y="17256"/>
                  </a:lnTo>
                  <a:lnTo>
                    <a:pt x="7225" y="17587"/>
                  </a:lnTo>
                  <a:lnTo>
                    <a:pt x="7932" y="17461"/>
                  </a:lnTo>
                  <a:lnTo>
                    <a:pt x="8298" y="17142"/>
                  </a:lnTo>
                  <a:lnTo>
                    <a:pt x="8035" y="16708"/>
                  </a:lnTo>
                  <a:lnTo>
                    <a:pt x="8024" y="16024"/>
                  </a:lnTo>
                  <a:lnTo>
                    <a:pt x="7738" y="15476"/>
                  </a:lnTo>
                  <a:lnTo>
                    <a:pt x="8560" y="15567"/>
                  </a:lnTo>
                  <a:lnTo>
                    <a:pt x="10021" y="15373"/>
                  </a:lnTo>
                  <a:lnTo>
                    <a:pt x="11002" y="14894"/>
                  </a:lnTo>
                  <a:lnTo>
                    <a:pt x="11470" y="13707"/>
                  </a:lnTo>
                  <a:lnTo>
                    <a:pt x="11436" y="13250"/>
                  </a:lnTo>
                  <a:lnTo>
                    <a:pt x="10877" y="12851"/>
                  </a:lnTo>
                  <a:lnTo>
                    <a:pt x="10865" y="12212"/>
                  </a:lnTo>
                  <a:lnTo>
                    <a:pt x="9747" y="11424"/>
                  </a:lnTo>
                  <a:lnTo>
                    <a:pt x="9701" y="10957"/>
                  </a:lnTo>
                  <a:lnTo>
                    <a:pt x="9644" y="10352"/>
                  </a:lnTo>
                  <a:lnTo>
                    <a:pt x="9781" y="10158"/>
                  </a:lnTo>
                  <a:lnTo>
                    <a:pt x="9621" y="9256"/>
                  </a:lnTo>
                  <a:lnTo>
                    <a:pt x="9667" y="8332"/>
                  </a:lnTo>
                  <a:lnTo>
                    <a:pt x="9736" y="7601"/>
                  </a:lnTo>
                  <a:lnTo>
                    <a:pt x="10580" y="6380"/>
                  </a:lnTo>
                  <a:lnTo>
                    <a:pt x="11333" y="5490"/>
                  </a:lnTo>
                  <a:lnTo>
                    <a:pt x="11801" y="5125"/>
                  </a:lnTo>
                  <a:lnTo>
                    <a:pt x="12406" y="4623"/>
                  </a:lnTo>
                  <a:lnTo>
                    <a:pt x="12326" y="3892"/>
                  </a:lnTo>
                  <a:lnTo>
                    <a:pt x="11892" y="3367"/>
                  </a:lnTo>
                  <a:lnTo>
                    <a:pt x="11516" y="3539"/>
                  </a:lnTo>
                  <a:lnTo>
                    <a:pt x="11470" y="4349"/>
                  </a:lnTo>
                  <a:lnTo>
                    <a:pt x="10865" y="5034"/>
                  </a:lnTo>
                  <a:lnTo>
                    <a:pt x="10261" y="5193"/>
                  </a:lnTo>
                  <a:lnTo>
                    <a:pt x="9382" y="5045"/>
                  </a:lnTo>
                  <a:lnTo>
                    <a:pt x="8560" y="4794"/>
                  </a:lnTo>
                  <a:lnTo>
                    <a:pt x="9165" y="3424"/>
                  </a:lnTo>
                  <a:lnTo>
                    <a:pt x="9005" y="3025"/>
                  </a:lnTo>
                  <a:lnTo>
                    <a:pt x="8161" y="2671"/>
                  </a:lnTo>
                  <a:lnTo>
                    <a:pt x="7134" y="1998"/>
                  </a:lnTo>
                  <a:lnTo>
                    <a:pt x="6483" y="1850"/>
                  </a:lnTo>
                  <a:lnTo>
                    <a:pt x="4885" y="366"/>
                  </a:lnTo>
                  <a:lnTo>
                    <a:pt x="4737" y="183"/>
                  </a:lnTo>
                  <a:lnTo>
                    <a:pt x="3847" y="138"/>
                  </a:lnTo>
                  <a:lnTo>
                    <a:pt x="3619" y="86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40" name="Google Shape;211;p29">
              <a:extLst>
                <a:ext uri="{FF2B5EF4-FFF2-40B4-BE49-F238E27FC236}">
                  <a16:creationId xmlns:a16="http://schemas.microsoft.com/office/drawing/2014/main" id="{00FF938C-F903-4E77-A579-78D8FE9271C5}"/>
                </a:ext>
              </a:extLst>
            </p:cNvPr>
            <p:cNvSpPr/>
            <p:nvPr/>
          </p:nvSpPr>
          <p:spPr>
            <a:xfrm>
              <a:off x="4521975" y="2175175"/>
              <a:ext cx="63650" cy="56500"/>
            </a:xfrm>
            <a:custGeom>
              <a:avLst/>
              <a:gdLst/>
              <a:ahLst/>
              <a:cxnLst/>
              <a:rect l="l" t="t" r="r" b="b"/>
              <a:pathLst>
                <a:path w="2546" h="2260" extrusionOk="0">
                  <a:moveTo>
                    <a:pt x="2545" y="2237"/>
                  </a:moveTo>
                  <a:lnTo>
                    <a:pt x="2408" y="1609"/>
                  </a:lnTo>
                  <a:lnTo>
                    <a:pt x="2054" y="1450"/>
                  </a:lnTo>
                  <a:lnTo>
                    <a:pt x="1701" y="1210"/>
                  </a:lnTo>
                  <a:lnTo>
                    <a:pt x="1838" y="925"/>
                  </a:lnTo>
                  <a:lnTo>
                    <a:pt x="1404" y="605"/>
                  </a:lnTo>
                  <a:lnTo>
                    <a:pt x="1495" y="400"/>
                  </a:lnTo>
                  <a:lnTo>
                    <a:pt x="1187" y="240"/>
                  </a:lnTo>
                  <a:lnTo>
                    <a:pt x="982" y="0"/>
                  </a:lnTo>
                  <a:lnTo>
                    <a:pt x="0" y="137"/>
                  </a:lnTo>
                  <a:lnTo>
                    <a:pt x="183" y="457"/>
                  </a:lnTo>
                  <a:lnTo>
                    <a:pt x="183" y="890"/>
                  </a:lnTo>
                  <a:lnTo>
                    <a:pt x="788" y="1107"/>
                  </a:lnTo>
                  <a:lnTo>
                    <a:pt x="1130" y="1381"/>
                  </a:lnTo>
                  <a:lnTo>
                    <a:pt x="1267" y="1347"/>
                  </a:lnTo>
                  <a:lnTo>
                    <a:pt x="1529" y="1598"/>
                  </a:lnTo>
                  <a:lnTo>
                    <a:pt x="1849" y="1598"/>
                  </a:lnTo>
                  <a:lnTo>
                    <a:pt x="1883" y="1735"/>
                  </a:lnTo>
                  <a:lnTo>
                    <a:pt x="2283" y="226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41" name="Google Shape;212;p29">
              <a:extLst>
                <a:ext uri="{FF2B5EF4-FFF2-40B4-BE49-F238E27FC236}">
                  <a16:creationId xmlns:a16="http://schemas.microsoft.com/office/drawing/2014/main" id="{6E22A603-24A5-48E7-B60C-1A885A3CB6DF}"/>
                </a:ext>
              </a:extLst>
            </p:cNvPr>
            <p:cNvSpPr/>
            <p:nvPr/>
          </p:nvSpPr>
          <p:spPr>
            <a:xfrm>
              <a:off x="5901700" y="3354050"/>
              <a:ext cx="798875" cy="747525"/>
            </a:xfrm>
            <a:custGeom>
              <a:avLst/>
              <a:gdLst/>
              <a:ahLst/>
              <a:cxnLst/>
              <a:rect l="l" t="t" r="r" b="b"/>
              <a:pathLst>
                <a:path w="31955" h="29901" extrusionOk="0">
                  <a:moveTo>
                    <a:pt x="19778" y="27390"/>
                  </a:moveTo>
                  <a:lnTo>
                    <a:pt x="19344" y="27321"/>
                  </a:lnTo>
                  <a:lnTo>
                    <a:pt x="19082" y="27732"/>
                  </a:lnTo>
                  <a:lnTo>
                    <a:pt x="18990" y="28508"/>
                  </a:lnTo>
                  <a:lnTo>
                    <a:pt x="18694" y="29079"/>
                  </a:lnTo>
                  <a:lnTo>
                    <a:pt x="18625" y="29832"/>
                  </a:lnTo>
                  <a:lnTo>
                    <a:pt x="19047" y="29855"/>
                  </a:lnTo>
                  <a:lnTo>
                    <a:pt x="19162" y="29900"/>
                  </a:lnTo>
                  <a:lnTo>
                    <a:pt x="20109" y="29284"/>
                  </a:lnTo>
                  <a:lnTo>
                    <a:pt x="20189" y="29535"/>
                  </a:lnTo>
                  <a:lnTo>
                    <a:pt x="20759" y="28828"/>
                  </a:lnTo>
                  <a:lnTo>
                    <a:pt x="21216" y="28519"/>
                  </a:lnTo>
                  <a:lnTo>
                    <a:pt x="21855" y="27481"/>
                  </a:lnTo>
                  <a:lnTo>
                    <a:pt x="21455" y="27401"/>
                  </a:lnTo>
                  <a:lnTo>
                    <a:pt x="20771" y="27572"/>
                  </a:lnTo>
                  <a:lnTo>
                    <a:pt x="20291" y="27709"/>
                  </a:lnTo>
                  <a:close/>
                  <a:moveTo>
                    <a:pt x="26922" y="2808"/>
                  </a:moveTo>
                  <a:lnTo>
                    <a:pt x="26990" y="2488"/>
                  </a:lnTo>
                  <a:lnTo>
                    <a:pt x="27013" y="1975"/>
                  </a:lnTo>
                  <a:lnTo>
                    <a:pt x="26785" y="1518"/>
                  </a:lnTo>
                  <a:lnTo>
                    <a:pt x="26796" y="1130"/>
                  </a:lnTo>
                  <a:lnTo>
                    <a:pt x="26614" y="1016"/>
                  </a:lnTo>
                  <a:lnTo>
                    <a:pt x="26625" y="457"/>
                  </a:lnTo>
                  <a:lnTo>
                    <a:pt x="26454" y="0"/>
                  </a:lnTo>
                  <a:lnTo>
                    <a:pt x="26123" y="343"/>
                  </a:lnTo>
                  <a:lnTo>
                    <a:pt x="26066" y="594"/>
                  </a:lnTo>
                  <a:lnTo>
                    <a:pt x="25849" y="1096"/>
                  </a:lnTo>
                  <a:lnTo>
                    <a:pt x="25598" y="1587"/>
                  </a:lnTo>
                  <a:lnTo>
                    <a:pt x="25678" y="1883"/>
                  </a:lnTo>
                  <a:lnTo>
                    <a:pt x="25507" y="2066"/>
                  </a:lnTo>
                  <a:lnTo>
                    <a:pt x="25290" y="2751"/>
                  </a:lnTo>
                  <a:lnTo>
                    <a:pt x="25313" y="3276"/>
                  </a:lnTo>
                  <a:lnTo>
                    <a:pt x="25210" y="3538"/>
                  </a:lnTo>
                  <a:lnTo>
                    <a:pt x="25256" y="3983"/>
                  </a:lnTo>
                  <a:lnTo>
                    <a:pt x="24879" y="4691"/>
                  </a:lnTo>
                  <a:lnTo>
                    <a:pt x="24697" y="5193"/>
                  </a:lnTo>
                  <a:lnTo>
                    <a:pt x="24457" y="5604"/>
                  </a:lnTo>
                  <a:lnTo>
                    <a:pt x="24206" y="6094"/>
                  </a:lnTo>
                  <a:lnTo>
                    <a:pt x="23624" y="6391"/>
                  </a:lnTo>
                  <a:lnTo>
                    <a:pt x="22928" y="6094"/>
                  </a:lnTo>
                  <a:lnTo>
                    <a:pt x="22859" y="5809"/>
                  </a:lnTo>
                  <a:lnTo>
                    <a:pt x="22494" y="5581"/>
                  </a:lnTo>
                  <a:lnTo>
                    <a:pt x="22266" y="5581"/>
                  </a:lnTo>
                  <a:lnTo>
                    <a:pt x="21798" y="5033"/>
                  </a:lnTo>
                  <a:lnTo>
                    <a:pt x="21444" y="4725"/>
                  </a:lnTo>
                  <a:lnTo>
                    <a:pt x="20885" y="4440"/>
                  </a:lnTo>
                  <a:lnTo>
                    <a:pt x="20326" y="3938"/>
                  </a:lnTo>
                  <a:lnTo>
                    <a:pt x="20314" y="3675"/>
                  </a:lnTo>
                  <a:lnTo>
                    <a:pt x="20668" y="3241"/>
                  </a:lnTo>
                  <a:lnTo>
                    <a:pt x="20976" y="2785"/>
                  </a:lnTo>
                  <a:lnTo>
                    <a:pt x="20930" y="2408"/>
                  </a:lnTo>
                  <a:lnTo>
                    <a:pt x="21204" y="2386"/>
                  </a:lnTo>
                  <a:lnTo>
                    <a:pt x="21558" y="2020"/>
                  </a:lnTo>
                  <a:lnTo>
                    <a:pt x="21843" y="1541"/>
                  </a:lnTo>
                  <a:lnTo>
                    <a:pt x="21524" y="1085"/>
                  </a:lnTo>
                  <a:lnTo>
                    <a:pt x="21319" y="1256"/>
                  </a:lnTo>
                  <a:lnTo>
                    <a:pt x="21033" y="1187"/>
                  </a:lnTo>
                  <a:lnTo>
                    <a:pt x="20531" y="1438"/>
                  </a:lnTo>
                  <a:lnTo>
                    <a:pt x="20075" y="1153"/>
                  </a:lnTo>
                  <a:lnTo>
                    <a:pt x="19835" y="1256"/>
                  </a:lnTo>
                  <a:lnTo>
                    <a:pt x="19184" y="1027"/>
                  </a:lnTo>
                  <a:lnTo>
                    <a:pt x="18808" y="639"/>
                  </a:lnTo>
                  <a:lnTo>
                    <a:pt x="18306" y="423"/>
                  </a:lnTo>
                  <a:lnTo>
                    <a:pt x="17861" y="560"/>
                  </a:lnTo>
                  <a:lnTo>
                    <a:pt x="18420" y="856"/>
                  </a:lnTo>
                  <a:lnTo>
                    <a:pt x="18374" y="1313"/>
                  </a:lnTo>
                  <a:lnTo>
                    <a:pt x="17689" y="1484"/>
                  </a:lnTo>
                  <a:lnTo>
                    <a:pt x="17290" y="1381"/>
                  </a:lnTo>
                  <a:lnTo>
                    <a:pt x="16776" y="1701"/>
                  </a:lnTo>
                  <a:lnTo>
                    <a:pt x="16366" y="2226"/>
                  </a:lnTo>
                  <a:lnTo>
                    <a:pt x="16446" y="2443"/>
                  </a:lnTo>
                  <a:lnTo>
                    <a:pt x="16069" y="2682"/>
                  </a:lnTo>
                  <a:lnTo>
                    <a:pt x="15578" y="3413"/>
                  </a:lnTo>
                  <a:lnTo>
                    <a:pt x="15669" y="3903"/>
                  </a:lnTo>
                  <a:lnTo>
                    <a:pt x="15179" y="3823"/>
                  </a:lnTo>
                  <a:lnTo>
                    <a:pt x="14677" y="3823"/>
                  </a:lnTo>
                  <a:lnTo>
                    <a:pt x="14323" y="3276"/>
                  </a:lnTo>
                  <a:lnTo>
                    <a:pt x="13798" y="2865"/>
                  </a:lnTo>
                  <a:lnTo>
                    <a:pt x="13398" y="2979"/>
                  </a:lnTo>
                  <a:lnTo>
                    <a:pt x="13022" y="3105"/>
                  </a:lnTo>
                  <a:lnTo>
                    <a:pt x="12988" y="3333"/>
                  </a:lnTo>
                  <a:lnTo>
                    <a:pt x="12645" y="3241"/>
                  </a:lnTo>
                  <a:lnTo>
                    <a:pt x="12600" y="3493"/>
                  </a:lnTo>
                  <a:lnTo>
                    <a:pt x="12166" y="3652"/>
                  </a:lnTo>
                  <a:lnTo>
                    <a:pt x="11926" y="4006"/>
                  </a:lnTo>
                  <a:lnTo>
                    <a:pt x="11424" y="4451"/>
                  </a:lnTo>
                  <a:lnTo>
                    <a:pt x="11230" y="5136"/>
                  </a:lnTo>
                  <a:lnTo>
                    <a:pt x="10899" y="4953"/>
                  </a:lnTo>
                  <a:lnTo>
                    <a:pt x="10591" y="5387"/>
                  </a:lnTo>
                  <a:lnTo>
                    <a:pt x="10796" y="5821"/>
                  </a:lnTo>
                  <a:lnTo>
                    <a:pt x="10431" y="5992"/>
                  </a:lnTo>
                  <a:lnTo>
                    <a:pt x="10226" y="5204"/>
                  </a:lnTo>
                  <a:lnTo>
                    <a:pt x="9541" y="5980"/>
                  </a:lnTo>
                  <a:lnTo>
                    <a:pt x="9427" y="6471"/>
                  </a:lnTo>
                  <a:lnTo>
                    <a:pt x="9336" y="6836"/>
                  </a:lnTo>
                  <a:lnTo>
                    <a:pt x="8788" y="7304"/>
                  </a:lnTo>
                  <a:lnTo>
                    <a:pt x="8503" y="7783"/>
                  </a:lnTo>
                  <a:lnTo>
                    <a:pt x="8000" y="8183"/>
                  </a:lnTo>
                  <a:lnTo>
                    <a:pt x="7133" y="8457"/>
                  </a:lnTo>
                  <a:lnTo>
                    <a:pt x="6688" y="8434"/>
                  </a:lnTo>
                  <a:lnTo>
                    <a:pt x="6483" y="8514"/>
                  </a:lnTo>
                  <a:lnTo>
                    <a:pt x="6323" y="8719"/>
                  </a:lnTo>
                  <a:lnTo>
                    <a:pt x="5821" y="8811"/>
                  </a:lnTo>
                  <a:lnTo>
                    <a:pt x="5147" y="9153"/>
                  </a:lnTo>
                  <a:lnTo>
                    <a:pt x="4953" y="9039"/>
                  </a:lnTo>
                  <a:lnTo>
                    <a:pt x="4577" y="9119"/>
                  </a:lnTo>
                  <a:lnTo>
                    <a:pt x="3926" y="9438"/>
                  </a:lnTo>
                  <a:lnTo>
                    <a:pt x="3470" y="9826"/>
                  </a:lnTo>
                  <a:lnTo>
                    <a:pt x="2785" y="10123"/>
                  </a:lnTo>
                  <a:lnTo>
                    <a:pt x="2340" y="10751"/>
                  </a:lnTo>
                  <a:lnTo>
                    <a:pt x="2397" y="10066"/>
                  </a:lnTo>
                  <a:lnTo>
                    <a:pt x="1963" y="10728"/>
                  </a:lnTo>
                  <a:lnTo>
                    <a:pt x="1941" y="11253"/>
                  </a:lnTo>
                  <a:lnTo>
                    <a:pt x="1758" y="11709"/>
                  </a:lnTo>
                  <a:lnTo>
                    <a:pt x="1541" y="11926"/>
                  </a:lnTo>
                  <a:lnTo>
                    <a:pt x="1359" y="12451"/>
                  </a:lnTo>
                  <a:lnTo>
                    <a:pt x="1484" y="12725"/>
                  </a:lnTo>
                  <a:lnTo>
                    <a:pt x="1507" y="13010"/>
                  </a:lnTo>
                  <a:lnTo>
                    <a:pt x="1735" y="13729"/>
                  </a:lnTo>
                  <a:lnTo>
                    <a:pt x="1632" y="14197"/>
                  </a:lnTo>
                  <a:lnTo>
                    <a:pt x="1484" y="13832"/>
                  </a:lnTo>
                  <a:lnTo>
                    <a:pt x="1165" y="13581"/>
                  </a:lnTo>
                  <a:lnTo>
                    <a:pt x="1222" y="14425"/>
                  </a:lnTo>
                  <a:lnTo>
                    <a:pt x="971" y="14026"/>
                  </a:lnTo>
                  <a:lnTo>
                    <a:pt x="993" y="14425"/>
                  </a:lnTo>
                  <a:lnTo>
                    <a:pt x="1244" y="15133"/>
                  </a:lnTo>
                  <a:lnTo>
                    <a:pt x="1165" y="15852"/>
                  </a:lnTo>
                  <a:lnTo>
                    <a:pt x="1404" y="16206"/>
                  </a:lnTo>
                  <a:lnTo>
                    <a:pt x="1347" y="16480"/>
                  </a:lnTo>
                  <a:lnTo>
                    <a:pt x="1473" y="17062"/>
                  </a:lnTo>
                  <a:lnTo>
                    <a:pt x="1290" y="17575"/>
                  </a:lnTo>
                  <a:lnTo>
                    <a:pt x="1244" y="18089"/>
                  </a:lnTo>
                  <a:lnTo>
                    <a:pt x="1347" y="19013"/>
                  </a:lnTo>
                  <a:lnTo>
                    <a:pt x="1244" y="19549"/>
                  </a:lnTo>
                  <a:lnTo>
                    <a:pt x="936" y="20177"/>
                  </a:lnTo>
                  <a:lnTo>
                    <a:pt x="845" y="20497"/>
                  </a:lnTo>
                  <a:lnTo>
                    <a:pt x="628" y="20713"/>
                  </a:lnTo>
                  <a:lnTo>
                    <a:pt x="217" y="20828"/>
                  </a:lnTo>
                  <a:lnTo>
                    <a:pt x="1" y="21353"/>
                  </a:lnTo>
                  <a:lnTo>
                    <a:pt x="343" y="21524"/>
                  </a:lnTo>
                  <a:lnTo>
                    <a:pt x="914" y="22117"/>
                  </a:lnTo>
                  <a:lnTo>
                    <a:pt x="1427" y="22117"/>
                  </a:lnTo>
                  <a:lnTo>
                    <a:pt x="1975" y="22151"/>
                  </a:lnTo>
                  <a:lnTo>
                    <a:pt x="2443" y="21855"/>
                  </a:lnTo>
                  <a:lnTo>
                    <a:pt x="2933" y="21604"/>
                  </a:lnTo>
                  <a:lnTo>
                    <a:pt x="3127" y="21638"/>
                  </a:lnTo>
                  <a:lnTo>
                    <a:pt x="3767" y="21159"/>
                  </a:lnTo>
                  <a:lnTo>
                    <a:pt x="4314" y="21113"/>
                  </a:lnTo>
                  <a:lnTo>
                    <a:pt x="4896" y="21010"/>
                  </a:lnTo>
                  <a:lnTo>
                    <a:pt x="5501" y="21181"/>
                  </a:lnTo>
                  <a:lnTo>
                    <a:pt x="6015" y="21102"/>
                  </a:lnTo>
                  <a:lnTo>
                    <a:pt x="6665" y="21067"/>
                  </a:lnTo>
                  <a:lnTo>
                    <a:pt x="7099" y="20702"/>
                  </a:lnTo>
                  <a:lnTo>
                    <a:pt x="7418" y="20234"/>
                  </a:lnTo>
                  <a:lnTo>
                    <a:pt x="8160" y="20017"/>
                  </a:lnTo>
                  <a:lnTo>
                    <a:pt x="9153" y="19561"/>
                  </a:lnTo>
                  <a:lnTo>
                    <a:pt x="9861" y="19618"/>
                  </a:lnTo>
                  <a:lnTo>
                    <a:pt x="10842" y="19310"/>
                  </a:lnTo>
                  <a:lnTo>
                    <a:pt x="11961" y="18990"/>
                  </a:lnTo>
                  <a:lnTo>
                    <a:pt x="13353" y="18899"/>
                  </a:lnTo>
                  <a:lnTo>
                    <a:pt x="13923" y="19344"/>
                  </a:lnTo>
                  <a:lnTo>
                    <a:pt x="14460" y="19378"/>
                  </a:lnTo>
                  <a:lnTo>
                    <a:pt x="15213" y="19915"/>
                  </a:lnTo>
                  <a:lnTo>
                    <a:pt x="14985" y="20131"/>
                  </a:lnTo>
                  <a:lnTo>
                    <a:pt x="15236" y="20474"/>
                  </a:lnTo>
                  <a:lnTo>
                    <a:pt x="15430" y="21124"/>
                  </a:lnTo>
                  <a:lnTo>
                    <a:pt x="15202" y="21615"/>
                  </a:lnTo>
                  <a:lnTo>
                    <a:pt x="15612" y="21980"/>
                  </a:lnTo>
                  <a:lnTo>
                    <a:pt x="16229" y="21250"/>
                  </a:lnTo>
                  <a:lnTo>
                    <a:pt x="16834" y="20953"/>
                  </a:lnTo>
                  <a:lnTo>
                    <a:pt x="17792" y="20166"/>
                  </a:lnTo>
                  <a:lnTo>
                    <a:pt x="17564" y="20839"/>
                  </a:lnTo>
                  <a:lnTo>
                    <a:pt x="17085" y="21296"/>
                  </a:lnTo>
                  <a:lnTo>
                    <a:pt x="16719" y="21832"/>
                  </a:lnTo>
                  <a:lnTo>
                    <a:pt x="16092" y="22323"/>
                  </a:lnTo>
                  <a:lnTo>
                    <a:pt x="16834" y="22151"/>
                  </a:lnTo>
                  <a:lnTo>
                    <a:pt x="17507" y="21524"/>
                  </a:lnTo>
                  <a:lnTo>
                    <a:pt x="17381" y="22208"/>
                  </a:lnTo>
                  <a:lnTo>
                    <a:pt x="16925" y="22654"/>
                  </a:lnTo>
                  <a:lnTo>
                    <a:pt x="17598" y="22768"/>
                  </a:lnTo>
                  <a:lnTo>
                    <a:pt x="17781" y="23144"/>
                  </a:lnTo>
                  <a:lnTo>
                    <a:pt x="17724" y="23612"/>
                  </a:lnTo>
                  <a:lnTo>
                    <a:pt x="17507" y="24308"/>
                  </a:lnTo>
                  <a:lnTo>
                    <a:pt x="17712" y="24879"/>
                  </a:lnTo>
                  <a:lnTo>
                    <a:pt x="18283" y="25153"/>
                  </a:lnTo>
                  <a:lnTo>
                    <a:pt x="18682" y="25210"/>
                  </a:lnTo>
                  <a:lnTo>
                    <a:pt x="19025" y="25347"/>
                  </a:lnTo>
                  <a:lnTo>
                    <a:pt x="19515" y="25609"/>
                  </a:lnTo>
                  <a:lnTo>
                    <a:pt x="20542" y="24936"/>
                  </a:lnTo>
                  <a:lnTo>
                    <a:pt x="21045" y="24765"/>
                  </a:lnTo>
                  <a:lnTo>
                    <a:pt x="20657" y="25244"/>
                  </a:lnTo>
                  <a:lnTo>
                    <a:pt x="21033" y="25404"/>
                  </a:lnTo>
                  <a:lnTo>
                    <a:pt x="21421" y="25803"/>
                  </a:lnTo>
                  <a:lnTo>
                    <a:pt x="22083" y="25415"/>
                  </a:lnTo>
                  <a:lnTo>
                    <a:pt x="22631" y="25062"/>
                  </a:lnTo>
                  <a:lnTo>
                    <a:pt x="23532" y="24674"/>
                  </a:lnTo>
                  <a:lnTo>
                    <a:pt x="24388" y="24651"/>
                  </a:lnTo>
                  <a:lnTo>
                    <a:pt x="24982" y="24320"/>
                  </a:lnTo>
                  <a:lnTo>
                    <a:pt x="25107" y="24034"/>
                  </a:lnTo>
                  <a:lnTo>
                    <a:pt x="25541" y="23395"/>
                  </a:lnTo>
                  <a:lnTo>
                    <a:pt x="26100" y="22711"/>
                  </a:lnTo>
                  <a:lnTo>
                    <a:pt x="26614" y="22254"/>
                  </a:lnTo>
                  <a:lnTo>
                    <a:pt x="27241" y="21455"/>
                  </a:lnTo>
                  <a:lnTo>
                    <a:pt x="27709" y="21010"/>
                  </a:lnTo>
                  <a:lnTo>
                    <a:pt x="28337" y="20303"/>
                  </a:lnTo>
                  <a:lnTo>
                    <a:pt x="29102" y="19858"/>
                  </a:lnTo>
                  <a:lnTo>
                    <a:pt x="29821" y="19024"/>
                  </a:lnTo>
                  <a:lnTo>
                    <a:pt x="30266" y="18385"/>
                  </a:lnTo>
                  <a:lnTo>
                    <a:pt x="30460" y="17872"/>
                  </a:lnTo>
                  <a:lnTo>
                    <a:pt x="31007" y="17062"/>
                  </a:lnTo>
                  <a:lnTo>
                    <a:pt x="31304" y="16651"/>
                  </a:lnTo>
                  <a:lnTo>
                    <a:pt x="31658" y="15829"/>
                  </a:lnTo>
                  <a:lnTo>
                    <a:pt x="31555" y="15064"/>
                  </a:lnTo>
                  <a:lnTo>
                    <a:pt x="31806" y="14505"/>
                  </a:lnTo>
                  <a:lnTo>
                    <a:pt x="31955" y="13980"/>
                  </a:lnTo>
                  <a:lnTo>
                    <a:pt x="31955" y="13250"/>
                  </a:lnTo>
                  <a:lnTo>
                    <a:pt x="31555" y="12520"/>
                  </a:lnTo>
                  <a:lnTo>
                    <a:pt x="31293" y="12166"/>
                  </a:lnTo>
                  <a:lnTo>
                    <a:pt x="30871" y="11607"/>
                  </a:lnTo>
                  <a:lnTo>
                    <a:pt x="30973" y="10659"/>
                  </a:lnTo>
                  <a:lnTo>
                    <a:pt x="30756" y="10796"/>
                  </a:lnTo>
                  <a:lnTo>
                    <a:pt x="30528" y="10397"/>
                  </a:lnTo>
                  <a:lnTo>
                    <a:pt x="30174" y="10602"/>
                  </a:lnTo>
                  <a:lnTo>
                    <a:pt x="30095" y="9609"/>
                  </a:lnTo>
                  <a:lnTo>
                    <a:pt x="29775" y="9039"/>
                  </a:lnTo>
                  <a:lnTo>
                    <a:pt x="29923" y="8833"/>
                  </a:lnTo>
                  <a:lnTo>
                    <a:pt x="29478" y="8434"/>
                  </a:lnTo>
                  <a:lnTo>
                    <a:pt x="29022" y="8000"/>
                  </a:lnTo>
                  <a:lnTo>
                    <a:pt x="28269" y="7532"/>
                  </a:lnTo>
                  <a:lnTo>
                    <a:pt x="28132" y="6916"/>
                  </a:lnTo>
                  <a:lnTo>
                    <a:pt x="28326" y="6448"/>
                  </a:lnTo>
                  <a:lnTo>
                    <a:pt x="28269" y="5661"/>
                  </a:lnTo>
                  <a:lnTo>
                    <a:pt x="28075" y="5558"/>
                  </a:lnTo>
                  <a:lnTo>
                    <a:pt x="28052" y="5102"/>
                  </a:lnTo>
                  <a:lnTo>
                    <a:pt x="28017" y="4326"/>
                  </a:lnTo>
                  <a:lnTo>
                    <a:pt x="28177" y="3926"/>
                  </a:lnTo>
                  <a:lnTo>
                    <a:pt x="27846" y="3561"/>
                  </a:lnTo>
                  <a:lnTo>
                    <a:pt x="27652" y="3184"/>
                  </a:lnTo>
                  <a:lnTo>
                    <a:pt x="27093" y="3527"/>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42" name="Google Shape;213;p29">
              <a:extLst>
                <a:ext uri="{FF2B5EF4-FFF2-40B4-BE49-F238E27FC236}">
                  <a16:creationId xmlns:a16="http://schemas.microsoft.com/office/drawing/2014/main" id="{57D11D00-89E2-4068-80F7-C8E9702BC172}"/>
                </a:ext>
              </a:extLst>
            </p:cNvPr>
            <p:cNvSpPr/>
            <p:nvPr/>
          </p:nvSpPr>
          <p:spPr>
            <a:xfrm>
              <a:off x="3889450" y="2003125"/>
              <a:ext cx="130975" cy="57950"/>
            </a:xfrm>
            <a:custGeom>
              <a:avLst/>
              <a:gdLst/>
              <a:ahLst/>
              <a:cxnLst/>
              <a:rect l="l" t="t" r="r" b="b"/>
              <a:pathLst>
                <a:path w="5239" h="2318" extrusionOk="0">
                  <a:moveTo>
                    <a:pt x="5193" y="400"/>
                  </a:moveTo>
                  <a:lnTo>
                    <a:pt x="4862" y="229"/>
                  </a:lnTo>
                  <a:lnTo>
                    <a:pt x="4531" y="275"/>
                  </a:lnTo>
                  <a:lnTo>
                    <a:pt x="3960" y="1"/>
                  </a:lnTo>
                  <a:lnTo>
                    <a:pt x="3721" y="69"/>
                  </a:lnTo>
                  <a:lnTo>
                    <a:pt x="3344" y="434"/>
                  </a:lnTo>
                  <a:lnTo>
                    <a:pt x="2808" y="149"/>
                  </a:lnTo>
                  <a:lnTo>
                    <a:pt x="2591" y="560"/>
                  </a:lnTo>
                  <a:lnTo>
                    <a:pt x="2351" y="674"/>
                  </a:lnTo>
                  <a:lnTo>
                    <a:pt x="2488" y="1245"/>
                  </a:lnTo>
                  <a:lnTo>
                    <a:pt x="2431" y="1404"/>
                  </a:lnTo>
                  <a:lnTo>
                    <a:pt x="2191" y="1210"/>
                  </a:lnTo>
                  <a:lnTo>
                    <a:pt x="1849" y="1188"/>
                  </a:lnTo>
                  <a:lnTo>
                    <a:pt x="1358" y="1359"/>
                  </a:lnTo>
                  <a:lnTo>
                    <a:pt x="731" y="1313"/>
                  </a:lnTo>
                  <a:lnTo>
                    <a:pt x="651" y="1541"/>
                  </a:lnTo>
                  <a:lnTo>
                    <a:pt x="286" y="1302"/>
                  </a:lnTo>
                  <a:lnTo>
                    <a:pt x="69" y="1347"/>
                  </a:lnTo>
                  <a:lnTo>
                    <a:pt x="92" y="1496"/>
                  </a:lnTo>
                  <a:lnTo>
                    <a:pt x="0" y="1724"/>
                  </a:lnTo>
                  <a:lnTo>
                    <a:pt x="320" y="1884"/>
                  </a:lnTo>
                  <a:lnTo>
                    <a:pt x="696" y="1918"/>
                  </a:lnTo>
                  <a:lnTo>
                    <a:pt x="1130" y="2044"/>
                  </a:lnTo>
                  <a:lnTo>
                    <a:pt x="1210" y="1872"/>
                  </a:lnTo>
                  <a:lnTo>
                    <a:pt x="1895" y="1713"/>
                  </a:lnTo>
                  <a:lnTo>
                    <a:pt x="2077" y="2032"/>
                  </a:lnTo>
                  <a:lnTo>
                    <a:pt x="3104" y="2260"/>
                  </a:lnTo>
                  <a:lnTo>
                    <a:pt x="3698" y="2317"/>
                  </a:lnTo>
                  <a:lnTo>
                    <a:pt x="4040" y="2112"/>
                  </a:lnTo>
                  <a:lnTo>
                    <a:pt x="4656" y="2101"/>
                  </a:lnTo>
                  <a:lnTo>
                    <a:pt x="4782" y="1941"/>
                  </a:lnTo>
                  <a:lnTo>
                    <a:pt x="4976" y="1370"/>
                  </a:lnTo>
                  <a:lnTo>
                    <a:pt x="4816" y="1188"/>
                  </a:lnTo>
                  <a:lnTo>
                    <a:pt x="5216" y="1188"/>
                  </a:lnTo>
                  <a:lnTo>
                    <a:pt x="5239" y="811"/>
                  </a:lnTo>
                  <a:lnTo>
                    <a:pt x="5147" y="51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43" name="Google Shape;214;p29">
              <a:extLst>
                <a:ext uri="{FF2B5EF4-FFF2-40B4-BE49-F238E27FC236}">
                  <a16:creationId xmlns:a16="http://schemas.microsoft.com/office/drawing/2014/main" id="{DF025407-6A39-462D-A238-3603A6409BEB}"/>
                </a:ext>
              </a:extLst>
            </p:cNvPr>
            <p:cNvSpPr/>
            <p:nvPr/>
          </p:nvSpPr>
          <p:spPr>
            <a:xfrm>
              <a:off x="4546500" y="2161475"/>
              <a:ext cx="104725" cy="81050"/>
            </a:xfrm>
            <a:custGeom>
              <a:avLst/>
              <a:gdLst/>
              <a:ahLst/>
              <a:cxnLst/>
              <a:rect l="l" t="t" r="r" b="b"/>
              <a:pathLst>
                <a:path w="4189" h="3242" extrusionOk="0">
                  <a:moveTo>
                    <a:pt x="286" y="1895"/>
                  </a:moveTo>
                  <a:lnTo>
                    <a:pt x="149" y="1929"/>
                  </a:lnTo>
                  <a:lnTo>
                    <a:pt x="320" y="2272"/>
                  </a:lnTo>
                  <a:lnTo>
                    <a:pt x="777" y="2682"/>
                  </a:lnTo>
                  <a:lnTo>
                    <a:pt x="1302" y="2808"/>
                  </a:lnTo>
                  <a:lnTo>
                    <a:pt x="902" y="2283"/>
                  </a:lnTo>
                  <a:lnTo>
                    <a:pt x="879" y="2135"/>
                  </a:lnTo>
                  <a:lnTo>
                    <a:pt x="548" y="2135"/>
                  </a:lnTo>
                  <a:close/>
                  <a:moveTo>
                    <a:pt x="1769" y="571"/>
                  </a:moveTo>
                  <a:lnTo>
                    <a:pt x="1165" y="23"/>
                  </a:lnTo>
                  <a:lnTo>
                    <a:pt x="948" y="1"/>
                  </a:lnTo>
                  <a:lnTo>
                    <a:pt x="788" y="126"/>
                  </a:lnTo>
                  <a:lnTo>
                    <a:pt x="1245" y="617"/>
                  </a:lnTo>
                  <a:lnTo>
                    <a:pt x="1165" y="708"/>
                  </a:lnTo>
                  <a:lnTo>
                    <a:pt x="765" y="651"/>
                  </a:lnTo>
                  <a:lnTo>
                    <a:pt x="160" y="400"/>
                  </a:lnTo>
                  <a:lnTo>
                    <a:pt x="1" y="537"/>
                  </a:lnTo>
                  <a:lnTo>
                    <a:pt x="206" y="788"/>
                  </a:lnTo>
                  <a:lnTo>
                    <a:pt x="514" y="936"/>
                  </a:lnTo>
                  <a:lnTo>
                    <a:pt x="423" y="1153"/>
                  </a:lnTo>
                  <a:lnTo>
                    <a:pt x="857" y="1473"/>
                  </a:lnTo>
                  <a:lnTo>
                    <a:pt x="720" y="1758"/>
                  </a:lnTo>
                  <a:lnTo>
                    <a:pt x="1073" y="1998"/>
                  </a:lnTo>
                  <a:lnTo>
                    <a:pt x="1427" y="2157"/>
                  </a:lnTo>
                  <a:lnTo>
                    <a:pt x="1564" y="2785"/>
                  </a:lnTo>
                  <a:lnTo>
                    <a:pt x="2317" y="2112"/>
                  </a:lnTo>
                  <a:lnTo>
                    <a:pt x="2591" y="2043"/>
                  </a:lnTo>
                  <a:lnTo>
                    <a:pt x="2854" y="2306"/>
                  </a:lnTo>
                  <a:lnTo>
                    <a:pt x="2682" y="2751"/>
                  </a:lnTo>
                  <a:lnTo>
                    <a:pt x="3230" y="3242"/>
                  </a:lnTo>
                  <a:lnTo>
                    <a:pt x="3413" y="3196"/>
                  </a:lnTo>
                  <a:lnTo>
                    <a:pt x="3299" y="2739"/>
                  </a:lnTo>
                  <a:lnTo>
                    <a:pt x="3538" y="2523"/>
                  </a:lnTo>
                  <a:lnTo>
                    <a:pt x="3595" y="2214"/>
                  </a:lnTo>
                  <a:lnTo>
                    <a:pt x="3584" y="1496"/>
                  </a:lnTo>
                  <a:lnTo>
                    <a:pt x="4189" y="1427"/>
                  </a:lnTo>
                  <a:lnTo>
                    <a:pt x="3904" y="1187"/>
                  </a:lnTo>
                  <a:lnTo>
                    <a:pt x="3538" y="1153"/>
                  </a:lnTo>
                  <a:lnTo>
                    <a:pt x="3048" y="514"/>
                  </a:lnTo>
                  <a:lnTo>
                    <a:pt x="2557" y="58"/>
                  </a:lnTo>
                  <a:lnTo>
                    <a:pt x="2557" y="58"/>
                  </a:lnTo>
                  <a:lnTo>
                    <a:pt x="2192" y="411"/>
                  </a:lnTo>
                  <a:lnTo>
                    <a:pt x="2112" y="62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44" name="Google Shape;215;p29">
              <a:extLst>
                <a:ext uri="{FF2B5EF4-FFF2-40B4-BE49-F238E27FC236}">
                  <a16:creationId xmlns:a16="http://schemas.microsoft.com/office/drawing/2014/main" id="{4A483402-7EE4-4493-BC2E-26E48B06E5C3}"/>
                </a:ext>
              </a:extLst>
            </p:cNvPr>
            <p:cNvSpPr/>
            <p:nvPr/>
          </p:nvSpPr>
          <p:spPr>
            <a:xfrm>
              <a:off x="4302575" y="3165450"/>
              <a:ext cx="34825" cy="48250"/>
            </a:xfrm>
            <a:custGeom>
              <a:avLst/>
              <a:gdLst/>
              <a:ahLst/>
              <a:cxnLst/>
              <a:rect l="l" t="t" r="r" b="b"/>
              <a:pathLst>
                <a:path w="1393" h="1930" extrusionOk="0">
                  <a:moveTo>
                    <a:pt x="1221" y="412"/>
                  </a:moveTo>
                  <a:lnTo>
                    <a:pt x="1176" y="58"/>
                  </a:lnTo>
                  <a:lnTo>
                    <a:pt x="1176" y="58"/>
                  </a:lnTo>
                  <a:lnTo>
                    <a:pt x="742" y="1"/>
                  </a:lnTo>
                  <a:lnTo>
                    <a:pt x="502" y="514"/>
                  </a:lnTo>
                  <a:lnTo>
                    <a:pt x="0" y="446"/>
                  </a:lnTo>
                  <a:lnTo>
                    <a:pt x="206" y="857"/>
                  </a:lnTo>
                  <a:lnTo>
                    <a:pt x="217" y="1017"/>
                  </a:lnTo>
                  <a:lnTo>
                    <a:pt x="502" y="1884"/>
                  </a:lnTo>
                  <a:lnTo>
                    <a:pt x="491" y="1930"/>
                  </a:lnTo>
                  <a:lnTo>
                    <a:pt x="571" y="1907"/>
                  </a:lnTo>
                  <a:lnTo>
                    <a:pt x="879" y="1587"/>
                  </a:lnTo>
                  <a:lnTo>
                    <a:pt x="1187" y="1108"/>
                  </a:lnTo>
                  <a:lnTo>
                    <a:pt x="1392" y="914"/>
                  </a:lnTo>
                  <a:lnTo>
                    <a:pt x="1392" y="629"/>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45" name="Google Shape;216;p29">
              <a:extLst>
                <a:ext uri="{FF2B5EF4-FFF2-40B4-BE49-F238E27FC236}">
                  <a16:creationId xmlns:a16="http://schemas.microsoft.com/office/drawing/2014/main" id="{59CE6B48-7507-4A11-971D-1E37B3250C02}"/>
                </a:ext>
              </a:extLst>
            </p:cNvPr>
            <p:cNvSpPr/>
            <p:nvPr/>
          </p:nvSpPr>
          <p:spPr>
            <a:xfrm>
              <a:off x="3764775" y="1949775"/>
              <a:ext cx="63350" cy="42825"/>
            </a:xfrm>
            <a:custGeom>
              <a:avLst/>
              <a:gdLst/>
              <a:ahLst/>
              <a:cxnLst/>
              <a:rect l="l" t="t" r="r" b="b"/>
              <a:pathLst>
                <a:path w="2534" h="1713" extrusionOk="0">
                  <a:moveTo>
                    <a:pt x="1689" y="1"/>
                  </a:moveTo>
                  <a:lnTo>
                    <a:pt x="1062" y="183"/>
                  </a:lnTo>
                  <a:lnTo>
                    <a:pt x="548" y="115"/>
                  </a:lnTo>
                  <a:lnTo>
                    <a:pt x="548" y="115"/>
                  </a:lnTo>
                  <a:lnTo>
                    <a:pt x="0" y="286"/>
                  </a:lnTo>
                  <a:lnTo>
                    <a:pt x="103" y="594"/>
                  </a:lnTo>
                  <a:lnTo>
                    <a:pt x="422" y="606"/>
                  </a:lnTo>
                  <a:lnTo>
                    <a:pt x="765" y="948"/>
                  </a:lnTo>
                  <a:lnTo>
                    <a:pt x="1244" y="1370"/>
                  </a:lnTo>
                  <a:lnTo>
                    <a:pt x="1598" y="1302"/>
                  </a:lnTo>
                  <a:lnTo>
                    <a:pt x="2226" y="1712"/>
                  </a:lnTo>
                  <a:lnTo>
                    <a:pt x="2283" y="1210"/>
                  </a:lnTo>
                  <a:lnTo>
                    <a:pt x="2477" y="1176"/>
                  </a:lnTo>
                  <a:lnTo>
                    <a:pt x="2534" y="583"/>
                  </a:lnTo>
                  <a:lnTo>
                    <a:pt x="2134" y="377"/>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46" name="Google Shape;217;p29">
              <a:extLst>
                <a:ext uri="{FF2B5EF4-FFF2-40B4-BE49-F238E27FC236}">
                  <a16:creationId xmlns:a16="http://schemas.microsoft.com/office/drawing/2014/main" id="{CBF0A930-BDF8-4624-A983-5D61151E3199}"/>
                </a:ext>
              </a:extLst>
            </p:cNvPr>
            <p:cNvSpPr/>
            <p:nvPr/>
          </p:nvSpPr>
          <p:spPr>
            <a:xfrm>
              <a:off x="3736525" y="2834500"/>
              <a:ext cx="60500" cy="138400"/>
            </a:xfrm>
            <a:custGeom>
              <a:avLst/>
              <a:gdLst/>
              <a:ahLst/>
              <a:cxnLst/>
              <a:rect l="l" t="t" r="r" b="b"/>
              <a:pathLst>
                <a:path w="2420" h="5536" extrusionOk="0">
                  <a:moveTo>
                    <a:pt x="2271" y="526"/>
                  </a:moveTo>
                  <a:lnTo>
                    <a:pt x="1667" y="1"/>
                  </a:lnTo>
                  <a:lnTo>
                    <a:pt x="1381" y="1"/>
                  </a:lnTo>
                  <a:lnTo>
                    <a:pt x="1107" y="275"/>
                  </a:lnTo>
                  <a:lnTo>
                    <a:pt x="936" y="537"/>
                  </a:lnTo>
                  <a:lnTo>
                    <a:pt x="548" y="628"/>
                  </a:lnTo>
                  <a:lnTo>
                    <a:pt x="377" y="1028"/>
                  </a:lnTo>
                  <a:lnTo>
                    <a:pt x="103" y="1131"/>
                  </a:lnTo>
                  <a:lnTo>
                    <a:pt x="0" y="1599"/>
                  </a:lnTo>
                  <a:lnTo>
                    <a:pt x="251" y="1872"/>
                  </a:lnTo>
                  <a:lnTo>
                    <a:pt x="537" y="2192"/>
                  </a:lnTo>
                  <a:lnTo>
                    <a:pt x="560" y="2637"/>
                  </a:lnTo>
                  <a:lnTo>
                    <a:pt x="719" y="2820"/>
                  </a:lnTo>
                  <a:lnTo>
                    <a:pt x="697" y="4908"/>
                  </a:lnTo>
                  <a:lnTo>
                    <a:pt x="891" y="5536"/>
                  </a:lnTo>
                  <a:lnTo>
                    <a:pt x="1552" y="5422"/>
                  </a:lnTo>
                  <a:lnTo>
                    <a:pt x="1587" y="3961"/>
                  </a:lnTo>
                  <a:lnTo>
                    <a:pt x="1575" y="3379"/>
                  </a:lnTo>
                  <a:lnTo>
                    <a:pt x="1712" y="2808"/>
                  </a:lnTo>
                  <a:lnTo>
                    <a:pt x="1963" y="2534"/>
                  </a:lnTo>
                  <a:lnTo>
                    <a:pt x="2351" y="1964"/>
                  </a:lnTo>
                  <a:lnTo>
                    <a:pt x="2260" y="1724"/>
                  </a:lnTo>
                  <a:lnTo>
                    <a:pt x="2420" y="1370"/>
                  </a:lnTo>
                  <a:lnTo>
                    <a:pt x="2249" y="82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47" name="Google Shape;218;p29">
              <a:extLst>
                <a:ext uri="{FF2B5EF4-FFF2-40B4-BE49-F238E27FC236}">
                  <a16:creationId xmlns:a16="http://schemas.microsoft.com/office/drawing/2014/main" id="{E413212F-25E4-464F-944C-3535B085B5D7}"/>
                </a:ext>
              </a:extLst>
            </p:cNvPr>
            <p:cNvSpPr/>
            <p:nvPr/>
          </p:nvSpPr>
          <p:spPr>
            <a:xfrm>
              <a:off x="3612125" y="2769175"/>
              <a:ext cx="152375" cy="124975"/>
            </a:xfrm>
            <a:custGeom>
              <a:avLst/>
              <a:gdLst/>
              <a:ahLst/>
              <a:cxnLst/>
              <a:rect l="l" t="t" r="r" b="b"/>
              <a:pathLst>
                <a:path w="6095" h="4999" extrusionOk="0">
                  <a:moveTo>
                    <a:pt x="4668" y="172"/>
                  </a:moveTo>
                  <a:lnTo>
                    <a:pt x="4155" y="172"/>
                  </a:lnTo>
                  <a:lnTo>
                    <a:pt x="3961" y="0"/>
                  </a:lnTo>
                  <a:lnTo>
                    <a:pt x="3527" y="126"/>
                  </a:lnTo>
                  <a:lnTo>
                    <a:pt x="2785" y="503"/>
                  </a:lnTo>
                  <a:lnTo>
                    <a:pt x="2625" y="788"/>
                  </a:lnTo>
                  <a:lnTo>
                    <a:pt x="2021" y="1199"/>
                  </a:lnTo>
                  <a:lnTo>
                    <a:pt x="1906" y="1427"/>
                  </a:lnTo>
                  <a:lnTo>
                    <a:pt x="1576" y="1610"/>
                  </a:lnTo>
                  <a:lnTo>
                    <a:pt x="1188" y="1484"/>
                  </a:lnTo>
                  <a:lnTo>
                    <a:pt x="959" y="1712"/>
                  </a:lnTo>
                  <a:lnTo>
                    <a:pt x="845" y="2340"/>
                  </a:lnTo>
                  <a:lnTo>
                    <a:pt x="206" y="3082"/>
                  </a:lnTo>
                  <a:lnTo>
                    <a:pt x="229" y="3401"/>
                  </a:lnTo>
                  <a:lnTo>
                    <a:pt x="1" y="3778"/>
                  </a:lnTo>
                  <a:lnTo>
                    <a:pt x="58" y="4314"/>
                  </a:lnTo>
                  <a:lnTo>
                    <a:pt x="423" y="4508"/>
                  </a:lnTo>
                  <a:lnTo>
                    <a:pt x="560" y="4805"/>
                  </a:lnTo>
                  <a:lnTo>
                    <a:pt x="914" y="4999"/>
                  </a:lnTo>
                  <a:lnTo>
                    <a:pt x="1188" y="4771"/>
                  </a:lnTo>
                  <a:lnTo>
                    <a:pt x="1576" y="4736"/>
                  </a:lnTo>
                  <a:lnTo>
                    <a:pt x="2112" y="4965"/>
                  </a:lnTo>
                  <a:lnTo>
                    <a:pt x="1998" y="4280"/>
                  </a:lnTo>
                  <a:lnTo>
                    <a:pt x="2032" y="3766"/>
                  </a:lnTo>
                  <a:lnTo>
                    <a:pt x="3413" y="3721"/>
                  </a:lnTo>
                  <a:lnTo>
                    <a:pt x="3755" y="3801"/>
                  </a:lnTo>
                  <a:lnTo>
                    <a:pt x="4018" y="3652"/>
                  </a:lnTo>
                  <a:lnTo>
                    <a:pt x="4383" y="3721"/>
                  </a:lnTo>
                  <a:lnTo>
                    <a:pt x="5079" y="3744"/>
                  </a:lnTo>
                  <a:lnTo>
                    <a:pt x="5353" y="3641"/>
                  </a:lnTo>
                  <a:lnTo>
                    <a:pt x="5524" y="3241"/>
                  </a:lnTo>
                  <a:lnTo>
                    <a:pt x="5912" y="3150"/>
                  </a:lnTo>
                  <a:lnTo>
                    <a:pt x="6083" y="2888"/>
                  </a:lnTo>
                  <a:lnTo>
                    <a:pt x="6095" y="2260"/>
                  </a:lnTo>
                  <a:lnTo>
                    <a:pt x="5182" y="2055"/>
                  </a:lnTo>
                  <a:lnTo>
                    <a:pt x="5159" y="1610"/>
                  </a:lnTo>
                  <a:lnTo>
                    <a:pt x="4714" y="1028"/>
                  </a:lnTo>
                  <a:lnTo>
                    <a:pt x="4600" y="617"/>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48" name="Google Shape;219;p29">
              <a:extLst>
                <a:ext uri="{FF2B5EF4-FFF2-40B4-BE49-F238E27FC236}">
                  <a16:creationId xmlns:a16="http://schemas.microsoft.com/office/drawing/2014/main" id="{FE59651F-A649-4A9E-AC77-1C4908F8E4A1}"/>
                </a:ext>
              </a:extLst>
            </p:cNvPr>
            <p:cNvSpPr/>
            <p:nvPr/>
          </p:nvSpPr>
          <p:spPr>
            <a:xfrm>
              <a:off x="5438375" y="2512125"/>
              <a:ext cx="102725" cy="130975"/>
            </a:xfrm>
            <a:custGeom>
              <a:avLst/>
              <a:gdLst/>
              <a:ahLst/>
              <a:cxnLst/>
              <a:rect l="l" t="t" r="r" b="b"/>
              <a:pathLst>
                <a:path w="4109" h="5239" extrusionOk="0">
                  <a:moveTo>
                    <a:pt x="4040" y="3994"/>
                  </a:moveTo>
                  <a:lnTo>
                    <a:pt x="3401" y="2545"/>
                  </a:lnTo>
                  <a:lnTo>
                    <a:pt x="3184" y="2568"/>
                  </a:lnTo>
                  <a:lnTo>
                    <a:pt x="3161" y="3138"/>
                  </a:lnTo>
                  <a:lnTo>
                    <a:pt x="2659" y="2671"/>
                  </a:lnTo>
                  <a:lnTo>
                    <a:pt x="2819" y="2146"/>
                  </a:lnTo>
                  <a:lnTo>
                    <a:pt x="3161" y="2100"/>
                  </a:lnTo>
                  <a:lnTo>
                    <a:pt x="3390" y="1335"/>
                  </a:lnTo>
                  <a:lnTo>
                    <a:pt x="2899" y="1176"/>
                  </a:lnTo>
                  <a:lnTo>
                    <a:pt x="2191" y="1198"/>
                  </a:lnTo>
                  <a:lnTo>
                    <a:pt x="1415" y="1073"/>
                  </a:lnTo>
                  <a:lnTo>
                    <a:pt x="1244" y="445"/>
                  </a:lnTo>
                  <a:lnTo>
                    <a:pt x="856" y="388"/>
                  </a:lnTo>
                  <a:lnTo>
                    <a:pt x="171" y="0"/>
                  </a:lnTo>
                  <a:lnTo>
                    <a:pt x="0" y="616"/>
                  </a:lnTo>
                  <a:lnTo>
                    <a:pt x="662" y="1096"/>
                  </a:lnTo>
                  <a:lnTo>
                    <a:pt x="217" y="1438"/>
                  </a:lnTo>
                  <a:lnTo>
                    <a:pt x="103" y="1769"/>
                  </a:lnTo>
                  <a:lnTo>
                    <a:pt x="628" y="2009"/>
                  </a:lnTo>
                  <a:lnTo>
                    <a:pt x="571" y="2556"/>
                  </a:lnTo>
                  <a:lnTo>
                    <a:pt x="947" y="3241"/>
                  </a:lnTo>
                  <a:lnTo>
                    <a:pt x="1176" y="3983"/>
                  </a:lnTo>
                  <a:lnTo>
                    <a:pt x="1484" y="4063"/>
                  </a:lnTo>
                  <a:lnTo>
                    <a:pt x="1735" y="4166"/>
                  </a:lnTo>
                  <a:lnTo>
                    <a:pt x="1815" y="3994"/>
                  </a:lnTo>
                  <a:lnTo>
                    <a:pt x="2168" y="4177"/>
                  </a:lnTo>
                  <a:lnTo>
                    <a:pt x="2362" y="3675"/>
                  </a:lnTo>
                  <a:lnTo>
                    <a:pt x="2226" y="3310"/>
                  </a:lnTo>
                  <a:lnTo>
                    <a:pt x="2956" y="3332"/>
                  </a:lnTo>
                  <a:lnTo>
                    <a:pt x="3355" y="3869"/>
                  </a:lnTo>
                  <a:lnTo>
                    <a:pt x="3572" y="4302"/>
                  </a:lnTo>
                  <a:lnTo>
                    <a:pt x="3686" y="4759"/>
                  </a:lnTo>
                  <a:lnTo>
                    <a:pt x="3972" y="5238"/>
                  </a:lnTo>
                  <a:lnTo>
                    <a:pt x="3812" y="4508"/>
                  </a:lnTo>
                  <a:lnTo>
                    <a:pt x="4109" y="464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49" name="Google Shape;220;p29">
              <a:extLst>
                <a:ext uri="{FF2B5EF4-FFF2-40B4-BE49-F238E27FC236}">
                  <a16:creationId xmlns:a16="http://schemas.microsoft.com/office/drawing/2014/main" id="{CED595B1-0350-48BB-9885-C2429D9832E4}"/>
                </a:ext>
              </a:extLst>
            </p:cNvPr>
            <p:cNvSpPr/>
            <p:nvPr/>
          </p:nvSpPr>
          <p:spPr>
            <a:xfrm>
              <a:off x="4126250" y="2109550"/>
              <a:ext cx="111850" cy="65925"/>
            </a:xfrm>
            <a:custGeom>
              <a:avLst/>
              <a:gdLst/>
              <a:ahLst/>
              <a:cxnLst/>
              <a:rect l="l" t="t" r="r" b="b"/>
              <a:pathLst>
                <a:path w="4474" h="2637" extrusionOk="0">
                  <a:moveTo>
                    <a:pt x="4474" y="468"/>
                  </a:moveTo>
                  <a:lnTo>
                    <a:pt x="4040" y="366"/>
                  </a:lnTo>
                  <a:lnTo>
                    <a:pt x="3470" y="58"/>
                  </a:lnTo>
                  <a:lnTo>
                    <a:pt x="2648" y="252"/>
                  </a:lnTo>
                  <a:lnTo>
                    <a:pt x="2317" y="480"/>
                  </a:lnTo>
                  <a:lnTo>
                    <a:pt x="1256" y="434"/>
                  </a:lnTo>
                  <a:lnTo>
                    <a:pt x="685" y="297"/>
                  </a:lnTo>
                  <a:lnTo>
                    <a:pt x="411" y="366"/>
                  </a:lnTo>
                  <a:lnTo>
                    <a:pt x="149" y="0"/>
                  </a:lnTo>
                  <a:lnTo>
                    <a:pt x="0" y="194"/>
                  </a:lnTo>
                  <a:lnTo>
                    <a:pt x="92" y="525"/>
                  </a:lnTo>
                  <a:lnTo>
                    <a:pt x="491" y="891"/>
                  </a:lnTo>
                  <a:lnTo>
                    <a:pt x="251" y="1165"/>
                  </a:lnTo>
                  <a:lnTo>
                    <a:pt x="149" y="1450"/>
                  </a:lnTo>
                  <a:lnTo>
                    <a:pt x="240" y="1553"/>
                  </a:lnTo>
                  <a:lnTo>
                    <a:pt x="137" y="1678"/>
                  </a:lnTo>
                  <a:lnTo>
                    <a:pt x="537" y="1963"/>
                  </a:lnTo>
                  <a:lnTo>
                    <a:pt x="651" y="2545"/>
                  </a:lnTo>
                  <a:lnTo>
                    <a:pt x="1187" y="2580"/>
                  </a:lnTo>
                  <a:lnTo>
                    <a:pt x="1746" y="2329"/>
                  </a:lnTo>
                  <a:lnTo>
                    <a:pt x="2306" y="2637"/>
                  </a:lnTo>
                  <a:lnTo>
                    <a:pt x="2956" y="2545"/>
                  </a:lnTo>
                  <a:lnTo>
                    <a:pt x="2922" y="2123"/>
                  </a:lnTo>
                  <a:lnTo>
                    <a:pt x="3630" y="1838"/>
                  </a:lnTo>
                  <a:lnTo>
                    <a:pt x="4269" y="1952"/>
                  </a:lnTo>
                  <a:lnTo>
                    <a:pt x="3972" y="1450"/>
                  </a:lnTo>
                  <a:lnTo>
                    <a:pt x="4154" y="82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50" name="Google Shape;221;p29">
              <a:extLst>
                <a:ext uri="{FF2B5EF4-FFF2-40B4-BE49-F238E27FC236}">
                  <a16:creationId xmlns:a16="http://schemas.microsoft.com/office/drawing/2014/main" id="{39FE108D-D93C-493B-9515-57C53A94DCE5}"/>
                </a:ext>
              </a:extLst>
            </p:cNvPr>
            <p:cNvSpPr/>
            <p:nvPr/>
          </p:nvSpPr>
          <p:spPr>
            <a:xfrm>
              <a:off x="4004425" y="2087575"/>
              <a:ext cx="71075" cy="56800"/>
            </a:xfrm>
            <a:custGeom>
              <a:avLst/>
              <a:gdLst/>
              <a:ahLst/>
              <a:cxnLst/>
              <a:rect l="l" t="t" r="r" b="b"/>
              <a:pathLst>
                <a:path w="2843" h="2272" extrusionOk="0">
                  <a:moveTo>
                    <a:pt x="879" y="1"/>
                  </a:moveTo>
                  <a:lnTo>
                    <a:pt x="548" y="24"/>
                  </a:lnTo>
                  <a:lnTo>
                    <a:pt x="400" y="206"/>
                  </a:lnTo>
                  <a:lnTo>
                    <a:pt x="137" y="1"/>
                  </a:lnTo>
                  <a:lnTo>
                    <a:pt x="0" y="366"/>
                  </a:lnTo>
                  <a:lnTo>
                    <a:pt x="388" y="777"/>
                  </a:lnTo>
                  <a:lnTo>
                    <a:pt x="571" y="1051"/>
                  </a:lnTo>
                  <a:lnTo>
                    <a:pt x="925" y="1370"/>
                  </a:lnTo>
                  <a:lnTo>
                    <a:pt x="1210" y="1576"/>
                  </a:lnTo>
                  <a:lnTo>
                    <a:pt x="1530" y="1929"/>
                  </a:lnTo>
                  <a:lnTo>
                    <a:pt x="2203" y="2272"/>
                  </a:lnTo>
                  <a:lnTo>
                    <a:pt x="2260" y="1781"/>
                  </a:lnTo>
                  <a:lnTo>
                    <a:pt x="2477" y="1587"/>
                  </a:lnTo>
                  <a:lnTo>
                    <a:pt x="2602" y="1496"/>
                  </a:lnTo>
                  <a:lnTo>
                    <a:pt x="2774" y="1462"/>
                  </a:lnTo>
                  <a:lnTo>
                    <a:pt x="2842" y="1051"/>
                  </a:lnTo>
                  <a:lnTo>
                    <a:pt x="2454" y="720"/>
                  </a:lnTo>
                  <a:lnTo>
                    <a:pt x="2602" y="332"/>
                  </a:lnTo>
                  <a:lnTo>
                    <a:pt x="2340" y="332"/>
                  </a:lnTo>
                  <a:lnTo>
                    <a:pt x="2340" y="332"/>
                  </a:lnTo>
                  <a:lnTo>
                    <a:pt x="1998" y="138"/>
                  </a:lnTo>
                  <a:lnTo>
                    <a:pt x="1507" y="149"/>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51" name="Google Shape;222;p29">
              <a:extLst>
                <a:ext uri="{FF2B5EF4-FFF2-40B4-BE49-F238E27FC236}">
                  <a16:creationId xmlns:a16="http://schemas.microsoft.com/office/drawing/2014/main" id="{FCAEB99B-818D-4792-92EF-00FC5B56D962}"/>
                </a:ext>
              </a:extLst>
            </p:cNvPr>
            <p:cNvSpPr/>
            <p:nvPr/>
          </p:nvSpPr>
          <p:spPr>
            <a:xfrm>
              <a:off x="4117700" y="1848775"/>
              <a:ext cx="158350" cy="104450"/>
            </a:xfrm>
            <a:custGeom>
              <a:avLst/>
              <a:gdLst/>
              <a:ahLst/>
              <a:cxnLst/>
              <a:rect l="l" t="t" r="r" b="b"/>
              <a:pathLst>
                <a:path w="6334" h="4178" extrusionOk="0">
                  <a:moveTo>
                    <a:pt x="3561" y="218"/>
                  </a:moveTo>
                  <a:lnTo>
                    <a:pt x="2819" y="1"/>
                  </a:lnTo>
                  <a:lnTo>
                    <a:pt x="2168" y="332"/>
                  </a:lnTo>
                  <a:lnTo>
                    <a:pt x="1792" y="469"/>
                  </a:lnTo>
                  <a:lnTo>
                    <a:pt x="1917" y="845"/>
                  </a:lnTo>
                  <a:lnTo>
                    <a:pt x="1427" y="1131"/>
                  </a:lnTo>
                  <a:lnTo>
                    <a:pt x="1347" y="1610"/>
                  </a:lnTo>
                  <a:lnTo>
                    <a:pt x="662" y="1929"/>
                  </a:lnTo>
                  <a:lnTo>
                    <a:pt x="11" y="1929"/>
                  </a:lnTo>
                  <a:lnTo>
                    <a:pt x="91" y="2306"/>
                  </a:lnTo>
                  <a:lnTo>
                    <a:pt x="342" y="2637"/>
                  </a:lnTo>
                  <a:lnTo>
                    <a:pt x="377" y="2979"/>
                  </a:lnTo>
                  <a:lnTo>
                    <a:pt x="0" y="3151"/>
                  </a:lnTo>
                  <a:lnTo>
                    <a:pt x="263" y="3561"/>
                  </a:lnTo>
                  <a:lnTo>
                    <a:pt x="342" y="3949"/>
                  </a:lnTo>
                  <a:lnTo>
                    <a:pt x="651" y="3904"/>
                  </a:lnTo>
                  <a:lnTo>
                    <a:pt x="993" y="3675"/>
                  </a:lnTo>
                  <a:lnTo>
                    <a:pt x="1518" y="3653"/>
                  </a:lnTo>
                  <a:lnTo>
                    <a:pt x="2237" y="3721"/>
                  </a:lnTo>
                  <a:lnTo>
                    <a:pt x="3036" y="3938"/>
                  </a:lnTo>
                  <a:lnTo>
                    <a:pt x="3572" y="3949"/>
                  </a:lnTo>
                  <a:lnTo>
                    <a:pt x="3857" y="4075"/>
                  </a:lnTo>
                  <a:lnTo>
                    <a:pt x="4086" y="3927"/>
                  </a:lnTo>
                  <a:lnTo>
                    <a:pt x="4302" y="4132"/>
                  </a:lnTo>
                  <a:lnTo>
                    <a:pt x="4919" y="4098"/>
                  </a:lnTo>
                  <a:lnTo>
                    <a:pt x="5204" y="4178"/>
                  </a:lnTo>
                  <a:lnTo>
                    <a:pt x="5170" y="3733"/>
                  </a:lnTo>
                  <a:lnTo>
                    <a:pt x="5341" y="3539"/>
                  </a:lnTo>
                  <a:lnTo>
                    <a:pt x="5934" y="3493"/>
                  </a:lnTo>
                  <a:lnTo>
                    <a:pt x="5934" y="3493"/>
                  </a:lnTo>
                  <a:lnTo>
                    <a:pt x="5649" y="2934"/>
                  </a:lnTo>
                  <a:lnTo>
                    <a:pt x="5432" y="2648"/>
                  </a:lnTo>
                  <a:lnTo>
                    <a:pt x="5546" y="2569"/>
                  </a:lnTo>
                  <a:lnTo>
                    <a:pt x="6106" y="2591"/>
                  </a:lnTo>
                  <a:lnTo>
                    <a:pt x="6334" y="2409"/>
                  </a:lnTo>
                  <a:lnTo>
                    <a:pt x="6083" y="2180"/>
                  </a:lnTo>
                  <a:lnTo>
                    <a:pt x="5603" y="2021"/>
                  </a:lnTo>
                  <a:lnTo>
                    <a:pt x="5615" y="1861"/>
                  </a:lnTo>
                  <a:lnTo>
                    <a:pt x="5295" y="1713"/>
                  </a:lnTo>
                  <a:lnTo>
                    <a:pt x="4770" y="1153"/>
                  </a:lnTo>
                  <a:lnTo>
                    <a:pt x="4862" y="925"/>
                  </a:lnTo>
                  <a:lnTo>
                    <a:pt x="4713" y="514"/>
                  </a:lnTo>
                  <a:lnTo>
                    <a:pt x="4029" y="309"/>
                  </a:lnTo>
                  <a:lnTo>
                    <a:pt x="3698" y="41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52" name="Google Shape;223;p29">
              <a:extLst>
                <a:ext uri="{FF2B5EF4-FFF2-40B4-BE49-F238E27FC236}">
                  <a16:creationId xmlns:a16="http://schemas.microsoft.com/office/drawing/2014/main" id="{F7D36611-0E20-4DCF-895C-8D3415F68AA6}"/>
                </a:ext>
              </a:extLst>
            </p:cNvPr>
            <p:cNvSpPr/>
            <p:nvPr/>
          </p:nvSpPr>
          <p:spPr>
            <a:xfrm>
              <a:off x="1953075" y="2692425"/>
              <a:ext cx="29125" cy="59375"/>
            </a:xfrm>
            <a:custGeom>
              <a:avLst/>
              <a:gdLst/>
              <a:ahLst/>
              <a:cxnLst/>
              <a:rect l="l" t="t" r="r" b="b"/>
              <a:pathLst>
                <a:path w="1165" h="2375" extrusionOk="0">
                  <a:moveTo>
                    <a:pt x="229" y="2374"/>
                  </a:moveTo>
                  <a:lnTo>
                    <a:pt x="434" y="2055"/>
                  </a:lnTo>
                  <a:lnTo>
                    <a:pt x="571" y="2032"/>
                  </a:lnTo>
                  <a:lnTo>
                    <a:pt x="765" y="1792"/>
                  </a:lnTo>
                  <a:lnTo>
                    <a:pt x="902" y="1336"/>
                  </a:lnTo>
                  <a:lnTo>
                    <a:pt x="857" y="1244"/>
                  </a:lnTo>
                  <a:lnTo>
                    <a:pt x="982" y="914"/>
                  </a:lnTo>
                  <a:lnTo>
                    <a:pt x="937" y="777"/>
                  </a:lnTo>
                  <a:lnTo>
                    <a:pt x="1119" y="389"/>
                  </a:lnTo>
                  <a:lnTo>
                    <a:pt x="1165" y="138"/>
                  </a:lnTo>
                  <a:lnTo>
                    <a:pt x="1005" y="138"/>
                  </a:lnTo>
                  <a:lnTo>
                    <a:pt x="1016" y="1"/>
                  </a:lnTo>
                  <a:lnTo>
                    <a:pt x="879" y="1"/>
                  </a:lnTo>
                  <a:lnTo>
                    <a:pt x="514" y="560"/>
                  </a:lnTo>
                  <a:lnTo>
                    <a:pt x="389" y="446"/>
                  </a:lnTo>
                  <a:lnTo>
                    <a:pt x="286" y="491"/>
                  </a:lnTo>
                  <a:lnTo>
                    <a:pt x="275" y="628"/>
                  </a:lnTo>
                  <a:lnTo>
                    <a:pt x="172" y="1347"/>
                  </a:lnTo>
                  <a:lnTo>
                    <a:pt x="1" y="237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53" name="Google Shape;224;p29">
              <a:extLst>
                <a:ext uri="{FF2B5EF4-FFF2-40B4-BE49-F238E27FC236}">
                  <a16:creationId xmlns:a16="http://schemas.microsoft.com/office/drawing/2014/main" id="{F950CCF7-055D-4925-BC5D-E5D45889B974}"/>
                </a:ext>
              </a:extLst>
            </p:cNvPr>
            <p:cNvSpPr/>
            <p:nvPr/>
          </p:nvSpPr>
          <p:spPr>
            <a:xfrm>
              <a:off x="2335100" y="3333800"/>
              <a:ext cx="250800" cy="297300"/>
            </a:xfrm>
            <a:custGeom>
              <a:avLst/>
              <a:gdLst/>
              <a:ahLst/>
              <a:cxnLst/>
              <a:rect l="l" t="t" r="r" b="b"/>
              <a:pathLst>
                <a:path w="10032" h="11892" extrusionOk="0">
                  <a:moveTo>
                    <a:pt x="9655" y="9438"/>
                  </a:moveTo>
                  <a:lnTo>
                    <a:pt x="9884" y="9255"/>
                  </a:lnTo>
                  <a:lnTo>
                    <a:pt x="9769" y="8742"/>
                  </a:lnTo>
                  <a:lnTo>
                    <a:pt x="9963" y="8342"/>
                  </a:lnTo>
                  <a:lnTo>
                    <a:pt x="10032" y="7635"/>
                  </a:lnTo>
                  <a:lnTo>
                    <a:pt x="9804" y="7064"/>
                  </a:lnTo>
                  <a:lnTo>
                    <a:pt x="9347" y="6813"/>
                  </a:lnTo>
                  <a:lnTo>
                    <a:pt x="9233" y="6448"/>
                  </a:lnTo>
                  <a:lnTo>
                    <a:pt x="9313" y="5934"/>
                  </a:lnTo>
                  <a:lnTo>
                    <a:pt x="7795" y="5889"/>
                  </a:lnTo>
                  <a:lnTo>
                    <a:pt x="7407" y="4839"/>
                  </a:lnTo>
                  <a:lnTo>
                    <a:pt x="7635" y="4816"/>
                  </a:lnTo>
                  <a:lnTo>
                    <a:pt x="7590" y="4417"/>
                  </a:lnTo>
                  <a:lnTo>
                    <a:pt x="7419" y="4166"/>
                  </a:lnTo>
                  <a:lnTo>
                    <a:pt x="7350" y="3641"/>
                  </a:lnTo>
                  <a:lnTo>
                    <a:pt x="6882" y="3367"/>
                  </a:lnTo>
                  <a:lnTo>
                    <a:pt x="6380" y="3378"/>
                  </a:lnTo>
                  <a:lnTo>
                    <a:pt x="6026" y="3104"/>
                  </a:lnTo>
                  <a:lnTo>
                    <a:pt x="5479" y="2933"/>
                  </a:lnTo>
                  <a:lnTo>
                    <a:pt x="5136" y="2591"/>
                  </a:lnTo>
                  <a:lnTo>
                    <a:pt x="4235" y="2454"/>
                  </a:lnTo>
                  <a:lnTo>
                    <a:pt x="3322" y="1643"/>
                  </a:lnTo>
                  <a:lnTo>
                    <a:pt x="3367" y="1027"/>
                  </a:lnTo>
                  <a:lnTo>
                    <a:pt x="3242" y="673"/>
                  </a:lnTo>
                  <a:lnTo>
                    <a:pt x="3299" y="0"/>
                  </a:lnTo>
                  <a:lnTo>
                    <a:pt x="2260" y="160"/>
                  </a:lnTo>
                  <a:lnTo>
                    <a:pt x="1861" y="479"/>
                  </a:lnTo>
                  <a:lnTo>
                    <a:pt x="1176" y="856"/>
                  </a:lnTo>
                  <a:lnTo>
                    <a:pt x="1016" y="1130"/>
                  </a:lnTo>
                  <a:lnTo>
                    <a:pt x="605" y="1153"/>
                  </a:lnTo>
                  <a:lnTo>
                    <a:pt x="1" y="1073"/>
                  </a:lnTo>
                  <a:lnTo>
                    <a:pt x="788" y="2534"/>
                  </a:lnTo>
                  <a:lnTo>
                    <a:pt x="628" y="2842"/>
                  </a:lnTo>
                  <a:lnTo>
                    <a:pt x="640" y="3481"/>
                  </a:lnTo>
                  <a:lnTo>
                    <a:pt x="685" y="4245"/>
                  </a:lnTo>
                  <a:lnTo>
                    <a:pt x="411" y="4702"/>
                  </a:lnTo>
                  <a:lnTo>
                    <a:pt x="583" y="5044"/>
                  </a:lnTo>
                  <a:lnTo>
                    <a:pt x="434" y="5352"/>
                  </a:lnTo>
                  <a:lnTo>
                    <a:pt x="834" y="6106"/>
                  </a:lnTo>
                  <a:lnTo>
                    <a:pt x="434" y="7087"/>
                  </a:lnTo>
                  <a:lnTo>
                    <a:pt x="868" y="7703"/>
                  </a:lnTo>
                  <a:lnTo>
                    <a:pt x="1039" y="8354"/>
                  </a:lnTo>
                  <a:lnTo>
                    <a:pt x="1496" y="8742"/>
                  </a:lnTo>
                  <a:lnTo>
                    <a:pt x="1347" y="9632"/>
                  </a:lnTo>
                  <a:lnTo>
                    <a:pt x="1872" y="10636"/>
                  </a:lnTo>
                  <a:lnTo>
                    <a:pt x="2317" y="11892"/>
                  </a:lnTo>
                  <a:lnTo>
                    <a:pt x="2854" y="11766"/>
                  </a:lnTo>
                  <a:lnTo>
                    <a:pt x="3424" y="10956"/>
                  </a:lnTo>
                  <a:lnTo>
                    <a:pt x="4486" y="11173"/>
                  </a:lnTo>
                  <a:lnTo>
                    <a:pt x="5011" y="11823"/>
                  </a:lnTo>
                  <a:lnTo>
                    <a:pt x="5239" y="11093"/>
                  </a:lnTo>
                  <a:lnTo>
                    <a:pt x="6140" y="11138"/>
                  </a:lnTo>
                  <a:lnTo>
                    <a:pt x="6277" y="11321"/>
                  </a:lnTo>
                  <a:lnTo>
                    <a:pt x="6494" y="10237"/>
                  </a:lnTo>
                  <a:lnTo>
                    <a:pt x="6460" y="9758"/>
                  </a:lnTo>
                  <a:lnTo>
                    <a:pt x="6768" y="8959"/>
                  </a:lnTo>
                  <a:lnTo>
                    <a:pt x="8115" y="8685"/>
                  </a:lnTo>
                  <a:lnTo>
                    <a:pt x="8845" y="8696"/>
                  </a:lnTo>
                  <a:lnTo>
                    <a:pt x="9621" y="916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54" name="Google Shape;225;p29">
              <a:extLst>
                <a:ext uri="{FF2B5EF4-FFF2-40B4-BE49-F238E27FC236}">
                  <a16:creationId xmlns:a16="http://schemas.microsoft.com/office/drawing/2014/main" id="{ED336299-D2CC-43EF-BE24-D695A2C773B3}"/>
                </a:ext>
              </a:extLst>
            </p:cNvPr>
            <p:cNvSpPr/>
            <p:nvPr/>
          </p:nvSpPr>
          <p:spPr>
            <a:xfrm>
              <a:off x="2242375" y="2993125"/>
              <a:ext cx="784625" cy="885325"/>
            </a:xfrm>
            <a:custGeom>
              <a:avLst/>
              <a:gdLst/>
              <a:ahLst/>
              <a:cxnLst/>
              <a:rect l="l" t="t" r="r" b="b"/>
              <a:pathLst>
                <a:path w="31385" h="35413" extrusionOk="0">
                  <a:moveTo>
                    <a:pt x="13844" y="3037"/>
                  </a:moveTo>
                  <a:lnTo>
                    <a:pt x="13638" y="3071"/>
                  </a:lnTo>
                  <a:lnTo>
                    <a:pt x="13193" y="3002"/>
                  </a:lnTo>
                  <a:lnTo>
                    <a:pt x="12942" y="3242"/>
                  </a:lnTo>
                  <a:lnTo>
                    <a:pt x="12566" y="3402"/>
                  </a:lnTo>
                  <a:lnTo>
                    <a:pt x="12326" y="3425"/>
                  </a:lnTo>
                  <a:lnTo>
                    <a:pt x="12223" y="3607"/>
                  </a:lnTo>
                  <a:lnTo>
                    <a:pt x="11835" y="3573"/>
                  </a:lnTo>
                  <a:lnTo>
                    <a:pt x="11344" y="3139"/>
                  </a:lnTo>
                  <a:lnTo>
                    <a:pt x="11299" y="2729"/>
                  </a:lnTo>
                  <a:lnTo>
                    <a:pt x="11093" y="2261"/>
                  </a:lnTo>
                  <a:lnTo>
                    <a:pt x="11242" y="1485"/>
                  </a:lnTo>
                  <a:lnTo>
                    <a:pt x="11470" y="1176"/>
                  </a:lnTo>
                  <a:lnTo>
                    <a:pt x="11299" y="743"/>
                  </a:lnTo>
                  <a:lnTo>
                    <a:pt x="11025" y="617"/>
                  </a:lnTo>
                  <a:lnTo>
                    <a:pt x="11139" y="218"/>
                  </a:lnTo>
                  <a:lnTo>
                    <a:pt x="10956" y="1"/>
                  </a:lnTo>
                  <a:lnTo>
                    <a:pt x="10546" y="47"/>
                  </a:lnTo>
                  <a:lnTo>
                    <a:pt x="10648" y="298"/>
                  </a:lnTo>
                  <a:lnTo>
                    <a:pt x="10340" y="640"/>
                  </a:lnTo>
                  <a:lnTo>
                    <a:pt x="9427" y="982"/>
                  </a:lnTo>
                  <a:lnTo>
                    <a:pt x="8857" y="1131"/>
                  </a:lnTo>
                  <a:lnTo>
                    <a:pt x="8617" y="1348"/>
                  </a:lnTo>
                  <a:lnTo>
                    <a:pt x="7989" y="1119"/>
                  </a:lnTo>
                  <a:lnTo>
                    <a:pt x="7384" y="1005"/>
                  </a:lnTo>
                  <a:lnTo>
                    <a:pt x="7247" y="1085"/>
                  </a:lnTo>
                  <a:lnTo>
                    <a:pt x="7590" y="1313"/>
                  </a:lnTo>
                  <a:lnTo>
                    <a:pt x="7544" y="1930"/>
                  </a:lnTo>
                  <a:lnTo>
                    <a:pt x="7647" y="2500"/>
                  </a:lnTo>
                  <a:lnTo>
                    <a:pt x="8332" y="2569"/>
                  </a:lnTo>
                  <a:lnTo>
                    <a:pt x="8377" y="2774"/>
                  </a:lnTo>
                  <a:lnTo>
                    <a:pt x="7784" y="3025"/>
                  </a:lnTo>
                  <a:lnTo>
                    <a:pt x="7693" y="3413"/>
                  </a:lnTo>
                  <a:lnTo>
                    <a:pt x="7362" y="3550"/>
                  </a:lnTo>
                  <a:lnTo>
                    <a:pt x="6757" y="3767"/>
                  </a:lnTo>
                  <a:lnTo>
                    <a:pt x="6608" y="4041"/>
                  </a:lnTo>
                  <a:lnTo>
                    <a:pt x="5981" y="4109"/>
                  </a:lnTo>
                  <a:lnTo>
                    <a:pt x="5547" y="3630"/>
                  </a:lnTo>
                  <a:lnTo>
                    <a:pt x="5387" y="3744"/>
                  </a:lnTo>
                  <a:lnTo>
                    <a:pt x="5250" y="3196"/>
                  </a:lnTo>
                  <a:lnTo>
                    <a:pt x="5022" y="2911"/>
                  </a:lnTo>
                  <a:lnTo>
                    <a:pt x="4748" y="3231"/>
                  </a:lnTo>
                  <a:lnTo>
                    <a:pt x="3196" y="3208"/>
                  </a:lnTo>
                  <a:lnTo>
                    <a:pt x="3196" y="3767"/>
                  </a:lnTo>
                  <a:lnTo>
                    <a:pt x="3664" y="3870"/>
                  </a:lnTo>
                  <a:lnTo>
                    <a:pt x="3641" y="4212"/>
                  </a:lnTo>
                  <a:lnTo>
                    <a:pt x="3481" y="4121"/>
                  </a:lnTo>
                  <a:lnTo>
                    <a:pt x="3025" y="4269"/>
                  </a:lnTo>
                  <a:lnTo>
                    <a:pt x="3025" y="4920"/>
                  </a:lnTo>
                  <a:lnTo>
                    <a:pt x="3379" y="5262"/>
                  </a:lnTo>
                  <a:lnTo>
                    <a:pt x="3504" y="5776"/>
                  </a:lnTo>
                  <a:lnTo>
                    <a:pt x="3493" y="6175"/>
                  </a:lnTo>
                  <a:lnTo>
                    <a:pt x="3185" y="8663"/>
                  </a:lnTo>
                  <a:lnTo>
                    <a:pt x="2454" y="8617"/>
                  </a:lnTo>
                  <a:lnTo>
                    <a:pt x="2352" y="8766"/>
                  </a:lnTo>
                  <a:lnTo>
                    <a:pt x="1701" y="8937"/>
                  </a:lnTo>
                  <a:lnTo>
                    <a:pt x="811" y="9542"/>
                  </a:lnTo>
                  <a:lnTo>
                    <a:pt x="754" y="9975"/>
                  </a:lnTo>
                  <a:lnTo>
                    <a:pt x="571" y="10283"/>
                  </a:lnTo>
                  <a:lnTo>
                    <a:pt x="674" y="10774"/>
                  </a:lnTo>
                  <a:lnTo>
                    <a:pt x="195" y="11048"/>
                  </a:lnTo>
                  <a:lnTo>
                    <a:pt x="218" y="11425"/>
                  </a:lnTo>
                  <a:lnTo>
                    <a:pt x="1" y="11584"/>
                  </a:lnTo>
                  <a:lnTo>
                    <a:pt x="366" y="12417"/>
                  </a:lnTo>
                  <a:lnTo>
                    <a:pt x="845" y="12954"/>
                  </a:lnTo>
                  <a:lnTo>
                    <a:pt x="697" y="13353"/>
                  </a:lnTo>
                  <a:lnTo>
                    <a:pt x="1222" y="13399"/>
                  </a:lnTo>
                  <a:lnTo>
                    <a:pt x="1553" y="13878"/>
                  </a:lnTo>
                  <a:lnTo>
                    <a:pt x="2249" y="13912"/>
                  </a:lnTo>
                  <a:lnTo>
                    <a:pt x="2877" y="13365"/>
                  </a:lnTo>
                  <a:lnTo>
                    <a:pt x="2911" y="14757"/>
                  </a:lnTo>
                  <a:lnTo>
                    <a:pt x="3276" y="14848"/>
                  </a:lnTo>
                  <a:lnTo>
                    <a:pt x="3710" y="14700"/>
                  </a:lnTo>
                  <a:lnTo>
                    <a:pt x="4303" y="14780"/>
                  </a:lnTo>
                  <a:lnTo>
                    <a:pt x="4725" y="14757"/>
                  </a:lnTo>
                  <a:lnTo>
                    <a:pt x="4874" y="14483"/>
                  </a:lnTo>
                  <a:lnTo>
                    <a:pt x="5558" y="14106"/>
                  </a:lnTo>
                  <a:lnTo>
                    <a:pt x="5958" y="13787"/>
                  </a:lnTo>
                  <a:lnTo>
                    <a:pt x="7008" y="13627"/>
                  </a:lnTo>
                  <a:lnTo>
                    <a:pt x="6951" y="14300"/>
                  </a:lnTo>
                  <a:lnTo>
                    <a:pt x="7076" y="14654"/>
                  </a:lnTo>
                  <a:lnTo>
                    <a:pt x="7031" y="15270"/>
                  </a:lnTo>
                  <a:lnTo>
                    <a:pt x="7944" y="16081"/>
                  </a:lnTo>
                  <a:lnTo>
                    <a:pt x="8845" y="16218"/>
                  </a:lnTo>
                  <a:lnTo>
                    <a:pt x="9188" y="16560"/>
                  </a:lnTo>
                  <a:lnTo>
                    <a:pt x="9724" y="16731"/>
                  </a:lnTo>
                  <a:lnTo>
                    <a:pt x="10089" y="17005"/>
                  </a:lnTo>
                  <a:lnTo>
                    <a:pt x="10580" y="16994"/>
                  </a:lnTo>
                  <a:lnTo>
                    <a:pt x="11059" y="17268"/>
                  </a:lnTo>
                  <a:lnTo>
                    <a:pt x="11128" y="17793"/>
                  </a:lnTo>
                  <a:lnTo>
                    <a:pt x="11299" y="18044"/>
                  </a:lnTo>
                  <a:lnTo>
                    <a:pt x="11344" y="18443"/>
                  </a:lnTo>
                  <a:lnTo>
                    <a:pt x="11116" y="18466"/>
                  </a:lnTo>
                  <a:lnTo>
                    <a:pt x="11493" y="19516"/>
                  </a:lnTo>
                  <a:lnTo>
                    <a:pt x="13022" y="19561"/>
                  </a:lnTo>
                  <a:lnTo>
                    <a:pt x="12942" y="20075"/>
                  </a:lnTo>
                  <a:lnTo>
                    <a:pt x="13056" y="20440"/>
                  </a:lnTo>
                  <a:lnTo>
                    <a:pt x="13513" y="20691"/>
                  </a:lnTo>
                  <a:lnTo>
                    <a:pt x="13741" y="21262"/>
                  </a:lnTo>
                  <a:lnTo>
                    <a:pt x="13661" y="21969"/>
                  </a:lnTo>
                  <a:lnTo>
                    <a:pt x="13478" y="22369"/>
                  </a:lnTo>
                  <a:lnTo>
                    <a:pt x="13593" y="22882"/>
                  </a:lnTo>
                  <a:lnTo>
                    <a:pt x="13364" y="23065"/>
                  </a:lnTo>
                  <a:lnTo>
                    <a:pt x="13638" y="23579"/>
                  </a:lnTo>
                  <a:lnTo>
                    <a:pt x="13695" y="24811"/>
                  </a:lnTo>
                  <a:lnTo>
                    <a:pt x="14551" y="24982"/>
                  </a:lnTo>
                  <a:lnTo>
                    <a:pt x="14848" y="24811"/>
                  </a:lnTo>
                  <a:lnTo>
                    <a:pt x="15407" y="25051"/>
                  </a:lnTo>
                  <a:lnTo>
                    <a:pt x="15578" y="25325"/>
                  </a:lnTo>
                  <a:lnTo>
                    <a:pt x="15715" y="26146"/>
                  </a:lnTo>
                  <a:lnTo>
                    <a:pt x="15852" y="26511"/>
                  </a:lnTo>
                  <a:lnTo>
                    <a:pt x="16138" y="26546"/>
                  </a:lnTo>
                  <a:lnTo>
                    <a:pt x="16423" y="26397"/>
                  </a:lnTo>
                  <a:lnTo>
                    <a:pt x="16720" y="26569"/>
                  </a:lnTo>
                  <a:lnTo>
                    <a:pt x="16765" y="27059"/>
                  </a:lnTo>
                  <a:lnTo>
                    <a:pt x="16720" y="27607"/>
                  </a:lnTo>
                  <a:lnTo>
                    <a:pt x="16617" y="28121"/>
                  </a:lnTo>
                  <a:lnTo>
                    <a:pt x="16993" y="27949"/>
                  </a:lnTo>
                  <a:lnTo>
                    <a:pt x="17427" y="28474"/>
                  </a:lnTo>
                  <a:lnTo>
                    <a:pt x="17507" y="29205"/>
                  </a:lnTo>
                  <a:lnTo>
                    <a:pt x="16902" y="29707"/>
                  </a:lnTo>
                  <a:lnTo>
                    <a:pt x="16434" y="30072"/>
                  </a:lnTo>
                  <a:lnTo>
                    <a:pt x="15681" y="30962"/>
                  </a:lnTo>
                  <a:lnTo>
                    <a:pt x="14837" y="32183"/>
                  </a:lnTo>
                  <a:lnTo>
                    <a:pt x="15316" y="32081"/>
                  </a:lnTo>
                  <a:lnTo>
                    <a:pt x="16206" y="32788"/>
                  </a:lnTo>
                  <a:lnTo>
                    <a:pt x="16480" y="32754"/>
                  </a:lnTo>
                  <a:lnTo>
                    <a:pt x="17359" y="33336"/>
                  </a:lnTo>
                  <a:lnTo>
                    <a:pt x="18043" y="33838"/>
                  </a:lnTo>
                  <a:lnTo>
                    <a:pt x="18591" y="34454"/>
                  </a:lnTo>
                  <a:lnTo>
                    <a:pt x="18317" y="34877"/>
                  </a:lnTo>
                  <a:lnTo>
                    <a:pt x="18614" y="35413"/>
                  </a:lnTo>
                  <a:lnTo>
                    <a:pt x="19025" y="34877"/>
                  </a:lnTo>
                  <a:lnTo>
                    <a:pt x="19242" y="34021"/>
                  </a:lnTo>
                  <a:lnTo>
                    <a:pt x="19698" y="33598"/>
                  </a:lnTo>
                  <a:lnTo>
                    <a:pt x="20257" y="32879"/>
                  </a:lnTo>
                  <a:lnTo>
                    <a:pt x="20896" y="31282"/>
                  </a:lnTo>
                  <a:lnTo>
                    <a:pt x="21387" y="30791"/>
                  </a:lnTo>
                  <a:lnTo>
                    <a:pt x="21501" y="30346"/>
                  </a:lnTo>
                  <a:lnTo>
                    <a:pt x="21536" y="29433"/>
                  </a:lnTo>
                  <a:lnTo>
                    <a:pt x="21353" y="28931"/>
                  </a:lnTo>
                  <a:lnTo>
                    <a:pt x="21399" y="28246"/>
                  </a:lnTo>
                  <a:lnTo>
                    <a:pt x="21981" y="27345"/>
                  </a:lnTo>
                  <a:lnTo>
                    <a:pt x="22836" y="26626"/>
                  </a:lnTo>
                  <a:lnTo>
                    <a:pt x="23692" y="26363"/>
                  </a:lnTo>
                  <a:lnTo>
                    <a:pt x="24206" y="25952"/>
                  </a:lnTo>
                  <a:lnTo>
                    <a:pt x="25416" y="25610"/>
                  </a:lnTo>
                  <a:lnTo>
                    <a:pt x="26260" y="25610"/>
                  </a:lnTo>
                  <a:lnTo>
                    <a:pt x="26420" y="25062"/>
                  </a:lnTo>
                  <a:lnTo>
                    <a:pt x="27013" y="24663"/>
                  </a:lnTo>
                  <a:lnTo>
                    <a:pt x="27105" y="23738"/>
                  </a:lnTo>
                  <a:lnTo>
                    <a:pt x="27835" y="22551"/>
                  </a:lnTo>
                  <a:lnTo>
                    <a:pt x="27904" y="21342"/>
                  </a:lnTo>
                  <a:lnTo>
                    <a:pt x="28132" y="20977"/>
                  </a:lnTo>
                  <a:lnTo>
                    <a:pt x="28177" y="20383"/>
                  </a:lnTo>
                  <a:lnTo>
                    <a:pt x="28326" y="18979"/>
                  </a:lnTo>
                  <a:lnTo>
                    <a:pt x="28189" y="17279"/>
                  </a:lnTo>
                  <a:lnTo>
                    <a:pt x="28383" y="16606"/>
                  </a:lnTo>
                  <a:lnTo>
                    <a:pt x="28588" y="16594"/>
                  </a:lnTo>
                  <a:lnTo>
                    <a:pt x="29147" y="15807"/>
                  </a:lnTo>
                  <a:lnTo>
                    <a:pt x="29615" y="14780"/>
                  </a:lnTo>
                  <a:lnTo>
                    <a:pt x="30711" y="13524"/>
                  </a:lnTo>
                  <a:lnTo>
                    <a:pt x="31099" y="12931"/>
                  </a:lnTo>
                  <a:lnTo>
                    <a:pt x="31384" y="11425"/>
                  </a:lnTo>
                  <a:lnTo>
                    <a:pt x="31236" y="10877"/>
                  </a:lnTo>
                  <a:lnTo>
                    <a:pt x="30951" y="9713"/>
                  </a:lnTo>
                  <a:lnTo>
                    <a:pt x="30654" y="9427"/>
                  </a:lnTo>
                  <a:lnTo>
                    <a:pt x="29969" y="9405"/>
                  </a:lnTo>
                  <a:lnTo>
                    <a:pt x="29353" y="9131"/>
                  </a:lnTo>
                  <a:lnTo>
                    <a:pt x="28314" y="8115"/>
                  </a:lnTo>
                  <a:lnTo>
                    <a:pt x="27116" y="7362"/>
                  </a:lnTo>
                  <a:lnTo>
                    <a:pt x="25918" y="7407"/>
                  </a:lnTo>
                  <a:lnTo>
                    <a:pt x="24366" y="6917"/>
                  </a:lnTo>
                  <a:lnTo>
                    <a:pt x="23441" y="7202"/>
                  </a:lnTo>
                  <a:lnTo>
                    <a:pt x="23555" y="6711"/>
                  </a:lnTo>
                  <a:lnTo>
                    <a:pt x="23167" y="6164"/>
                  </a:lnTo>
                  <a:lnTo>
                    <a:pt x="21821" y="5627"/>
                  </a:lnTo>
                  <a:lnTo>
                    <a:pt x="20817" y="5296"/>
                  </a:lnTo>
                  <a:lnTo>
                    <a:pt x="20212" y="5878"/>
                  </a:lnTo>
                  <a:lnTo>
                    <a:pt x="20166" y="4977"/>
                  </a:lnTo>
                  <a:lnTo>
                    <a:pt x="18762" y="4840"/>
                  </a:lnTo>
                  <a:lnTo>
                    <a:pt x="18511" y="4554"/>
                  </a:lnTo>
                  <a:lnTo>
                    <a:pt x="19116" y="3813"/>
                  </a:lnTo>
                  <a:lnTo>
                    <a:pt x="19105" y="3185"/>
                  </a:lnTo>
                  <a:lnTo>
                    <a:pt x="18671" y="3037"/>
                  </a:lnTo>
                  <a:lnTo>
                    <a:pt x="18249" y="1439"/>
                  </a:lnTo>
                  <a:lnTo>
                    <a:pt x="18055" y="948"/>
                  </a:lnTo>
                  <a:lnTo>
                    <a:pt x="17792" y="982"/>
                  </a:lnTo>
                  <a:lnTo>
                    <a:pt x="17290" y="1816"/>
                  </a:lnTo>
                  <a:lnTo>
                    <a:pt x="17028" y="2489"/>
                  </a:lnTo>
                  <a:lnTo>
                    <a:pt x="16731" y="2831"/>
                  </a:lnTo>
                  <a:lnTo>
                    <a:pt x="16343" y="2900"/>
                  </a:lnTo>
                  <a:lnTo>
                    <a:pt x="16229" y="2637"/>
                  </a:lnTo>
                  <a:lnTo>
                    <a:pt x="16058" y="2603"/>
                  </a:lnTo>
                  <a:lnTo>
                    <a:pt x="15807" y="2854"/>
                  </a:lnTo>
                  <a:lnTo>
                    <a:pt x="15464" y="2671"/>
                  </a:lnTo>
                  <a:lnTo>
                    <a:pt x="15008" y="2466"/>
                  </a:lnTo>
                  <a:lnTo>
                    <a:pt x="14620" y="2569"/>
                  </a:lnTo>
                  <a:lnTo>
                    <a:pt x="14289" y="2489"/>
                  </a:lnTo>
                  <a:lnTo>
                    <a:pt x="14220" y="2740"/>
                  </a:lnTo>
                  <a:lnTo>
                    <a:pt x="14346" y="2923"/>
                  </a:lnTo>
                  <a:lnTo>
                    <a:pt x="14277" y="3117"/>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80709C"/>
                </a:solidFill>
                <a:latin typeface="Calibri"/>
                <a:ea typeface="Calibri"/>
                <a:cs typeface="Calibri"/>
                <a:sym typeface="Calibri"/>
              </a:endParaRPr>
            </a:p>
          </p:txBody>
        </p:sp>
        <p:sp>
          <p:nvSpPr>
            <p:cNvPr id="55" name="Google Shape;226;p29">
              <a:extLst>
                <a:ext uri="{FF2B5EF4-FFF2-40B4-BE49-F238E27FC236}">
                  <a16:creationId xmlns:a16="http://schemas.microsoft.com/office/drawing/2014/main" id="{56925694-771A-4865-9B80-6E889E3F257F}"/>
                </a:ext>
              </a:extLst>
            </p:cNvPr>
            <p:cNvSpPr/>
            <p:nvPr/>
          </p:nvSpPr>
          <p:spPr>
            <a:xfrm>
              <a:off x="6007825" y="2988575"/>
              <a:ext cx="23725" cy="32825"/>
            </a:xfrm>
            <a:custGeom>
              <a:avLst/>
              <a:gdLst/>
              <a:ahLst/>
              <a:cxnLst/>
              <a:rect l="l" t="t" r="r" b="b"/>
              <a:pathLst>
                <a:path w="949" h="1313" extrusionOk="0">
                  <a:moveTo>
                    <a:pt x="1" y="845"/>
                  </a:moveTo>
                  <a:lnTo>
                    <a:pt x="377" y="1313"/>
                  </a:lnTo>
                  <a:lnTo>
                    <a:pt x="537" y="993"/>
                  </a:lnTo>
                  <a:lnTo>
                    <a:pt x="925" y="1027"/>
                  </a:lnTo>
                  <a:lnTo>
                    <a:pt x="937" y="434"/>
                  </a:lnTo>
                  <a:lnTo>
                    <a:pt x="948" y="0"/>
                  </a:lnTo>
                  <a:lnTo>
                    <a:pt x="298" y="49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56" name="Google Shape;227;p29">
              <a:extLst>
                <a:ext uri="{FF2B5EF4-FFF2-40B4-BE49-F238E27FC236}">
                  <a16:creationId xmlns:a16="http://schemas.microsoft.com/office/drawing/2014/main" id="{FB0BA47D-84F6-4C52-9551-FCD9F113C4CA}"/>
                </a:ext>
              </a:extLst>
            </p:cNvPr>
            <p:cNvSpPr/>
            <p:nvPr/>
          </p:nvSpPr>
          <p:spPr>
            <a:xfrm>
              <a:off x="5443775" y="2469900"/>
              <a:ext cx="64800" cy="36250"/>
            </a:xfrm>
            <a:custGeom>
              <a:avLst/>
              <a:gdLst/>
              <a:ahLst/>
              <a:cxnLst/>
              <a:rect l="l" t="t" r="r" b="b"/>
              <a:pathLst>
                <a:path w="2592" h="1450" extrusionOk="0">
                  <a:moveTo>
                    <a:pt x="2146" y="491"/>
                  </a:moveTo>
                  <a:lnTo>
                    <a:pt x="1758" y="228"/>
                  </a:lnTo>
                  <a:lnTo>
                    <a:pt x="1348" y="217"/>
                  </a:lnTo>
                  <a:lnTo>
                    <a:pt x="743" y="0"/>
                  </a:lnTo>
                  <a:lnTo>
                    <a:pt x="378" y="228"/>
                  </a:lnTo>
                  <a:lnTo>
                    <a:pt x="1" y="913"/>
                  </a:lnTo>
                  <a:lnTo>
                    <a:pt x="47" y="1084"/>
                  </a:lnTo>
                  <a:lnTo>
                    <a:pt x="834" y="1449"/>
                  </a:lnTo>
                  <a:lnTo>
                    <a:pt x="1291" y="1301"/>
                  </a:lnTo>
                  <a:lnTo>
                    <a:pt x="1964" y="1358"/>
                  </a:lnTo>
                  <a:lnTo>
                    <a:pt x="2592" y="1335"/>
                  </a:lnTo>
                  <a:lnTo>
                    <a:pt x="2534" y="776"/>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57" name="Google Shape;228;p29">
              <a:extLst>
                <a:ext uri="{FF2B5EF4-FFF2-40B4-BE49-F238E27FC236}">
                  <a16:creationId xmlns:a16="http://schemas.microsoft.com/office/drawing/2014/main" id="{B7F6B897-1E34-441F-9DAF-B473C143EA83}"/>
                </a:ext>
              </a:extLst>
            </p:cNvPr>
            <p:cNvSpPr/>
            <p:nvPr/>
          </p:nvSpPr>
          <p:spPr>
            <a:xfrm>
              <a:off x="4109700" y="3512675"/>
              <a:ext cx="189175" cy="208300"/>
            </a:xfrm>
            <a:custGeom>
              <a:avLst/>
              <a:gdLst/>
              <a:ahLst/>
              <a:cxnLst/>
              <a:rect l="l" t="t" r="r" b="b"/>
              <a:pathLst>
                <a:path w="7567" h="8332" extrusionOk="0">
                  <a:moveTo>
                    <a:pt x="4440" y="80"/>
                  </a:moveTo>
                  <a:lnTo>
                    <a:pt x="4292" y="1"/>
                  </a:lnTo>
                  <a:lnTo>
                    <a:pt x="3835" y="217"/>
                  </a:lnTo>
                  <a:lnTo>
                    <a:pt x="3607" y="217"/>
                  </a:lnTo>
                  <a:lnTo>
                    <a:pt x="3082" y="571"/>
                  </a:lnTo>
                  <a:lnTo>
                    <a:pt x="2797" y="206"/>
                  </a:lnTo>
                  <a:lnTo>
                    <a:pt x="1575" y="514"/>
                  </a:lnTo>
                  <a:lnTo>
                    <a:pt x="982" y="548"/>
                  </a:lnTo>
                  <a:lnTo>
                    <a:pt x="856" y="3789"/>
                  </a:lnTo>
                  <a:lnTo>
                    <a:pt x="92" y="3812"/>
                  </a:lnTo>
                  <a:lnTo>
                    <a:pt x="1" y="6448"/>
                  </a:lnTo>
                  <a:lnTo>
                    <a:pt x="206" y="6597"/>
                  </a:lnTo>
                  <a:lnTo>
                    <a:pt x="628" y="7464"/>
                  </a:lnTo>
                  <a:lnTo>
                    <a:pt x="525" y="8012"/>
                  </a:lnTo>
                  <a:lnTo>
                    <a:pt x="685" y="8331"/>
                  </a:lnTo>
                  <a:lnTo>
                    <a:pt x="1256" y="8240"/>
                  </a:lnTo>
                  <a:lnTo>
                    <a:pt x="1655" y="7841"/>
                  </a:lnTo>
                  <a:lnTo>
                    <a:pt x="2043" y="7567"/>
                  </a:lnTo>
                  <a:lnTo>
                    <a:pt x="2260" y="7122"/>
                  </a:lnTo>
                  <a:lnTo>
                    <a:pt x="2637" y="6905"/>
                  </a:lnTo>
                  <a:lnTo>
                    <a:pt x="2968" y="7019"/>
                  </a:lnTo>
                  <a:lnTo>
                    <a:pt x="3321" y="7282"/>
                  </a:lnTo>
                  <a:lnTo>
                    <a:pt x="3949" y="7327"/>
                  </a:lnTo>
                  <a:lnTo>
                    <a:pt x="4463" y="7110"/>
                  </a:lnTo>
                  <a:lnTo>
                    <a:pt x="4554" y="6825"/>
                  </a:lnTo>
                  <a:lnTo>
                    <a:pt x="4725" y="6391"/>
                  </a:lnTo>
                  <a:lnTo>
                    <a:pt x="5147" y="6323"/>
                  </a:lnTo>
                  <a:lnTo>
                    <a:pt x="5398" y="5981"/>
                  </a:lnTo>
                  <a:lnTo>
                    <a:pt x="5684" y="5364"/>
                  </a:lnTo>
                  <a:lnTo>
                    <a:pt x="6426" y="4702"/>
                  </a:lnTo>
                  <a:lnTo>
                    <a:pt x="7567" y="4029"/>
                  </a:lnTo>
                  <a:lnTo>
                    <a:pt x="7076" y="3618"/>
                  </a:lnTo>
                  <a:lnTo>
                    <a:pt x="6483" y="3481"/>
                  </a:lnTo>
                  <a:lnTo>
                    <a:pt x="6266" y="2899"/>
                  </a:lnTo>
                  <a:lnTo>
                    <a:pt x="6277" y="2580"/>
                  </a:lnTo>
                  <a:lnTo>
                    <a:pt x="5946" y="2488"/>
                  </a:lnTo>
                  <a:lnTo>
                    <a:pt x="5090" y="1484"/>
                  </a:lnTo>
                  <a:lnTo>
                    <a:pt x="4862" y="959"/>
                  </a:lnTo>
                  <a:lnTo>
                    <a:pt x="4714" y="799"/>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58" name="Google Shape;229;p29">
              <a:extLst>
                <a:ext uri="{FF2B5EF4-FFF2-40B4-BE49-F238E27FC236}">
                  <a16:creationId xmlns:a16="http://schemas.microsoft.com/office/drawing/2014/main" id="{7A85B67F-75AD-49FF-806E-FB5CCBD81B6C}"/>
                </a:ext>
              </a:extLst>
            </p:cNvPr>
            <p:cNvSpPr/>
            <p:nvPr/>
          </p:nvSpPr>
          <p:spPr>
            <a:xfrm>
              <a:off x="4010425" y="2859325"/>
              <a:ext cx="258775" cy="201175"/>
            </a:xfrm>
            <a:custGeom>
              <a:avLst/>
              <a:gdLst/>
              <a:ahLst/>
              <a:cxnLst/>
              <a:rect l="l" t="t" r="r" b="b"/>
              <a:pathLst>
                <a:path w="10351" h="8047" extrusionOk="0">
                  <a:moveTo>
                    <a:pt x="7521" y="2283"/>
                  </a:moveTo>
                  <a:lnTo>
                    <a:pt x="7452" y="2249"/>
                  </a:lnTo>
                  <a:lnTo>
                    <a:pt x="7167" y="1986"/>
                  </a:lnTo>
                  <a:lnTo>
                    <a:pt x="7121" y="1701"/>
                  </a:lnTo>
                  <a:lnTo>
                    <a:pt x="7235" y="1336"/>
                  </a:lnTo>
                  <a:lnTo>
                    <a:pt x="7235" y="959"/>
                  </a:lnTo>
                  <a:lnTo>
                    <a:pt x="6768" y="389"/>
                  </a:lnTo>
                  <a:lnTo>
                    <a:pt x="6665" y="1"/>
                  </a:lnTo>
                  <a:lnTo>
                    <a:pt x="6174" y="160"/>
                  </a:lnTo>
                  <a:lnTo>
                    <a:pt x="5775" y="514"/>
                  </a:lnTo>
                  <a:lnTo>
                    <a:pt x="5204" y="1519"/>
                  </a:lnTo>
                  <a:lnTo>
                    <a:pt x="4462" y="1929"/>
                  </a:lnTo>
                  <a:lnTo>
                    <a:pt x="3686" y="1872"/>
                  </a:lnTo>
                  <a:lnTo>
                    <a:pt x="3458" y="1964"/>
                  </a:lnTo>
                  <a:lnTo>
                    <a:pt x="3538" y="2283"/>
                  </a:lnTo>
                  <a:lnTo>
                    <a:pt x="3127" y="2603"/>
                  </a:lnTo>
                  <a:lnTo>
                    <a:pt x="2796" y="2956"/>
                  </a:lnTo>
                  <a:lnTo>
                    <a:pt x="1792" y="3299"/>
                  </a:lnTo>
                  <a:lnTo>
                    <a:pt x="1586" y="3105"/>
                  </a:lnTo>
                  <a:lnTo>
                    <a:pt x="1461" y="3071"/>
                  </a:lnTo>
                  <a:lnTo>
                    <a:pt x="1312" y="3310"/>
                  </a:lnTo>
                  <a:lnTo>
                    <a:pt x="651" y="3367"/>
                  </a:lnTo>
                  <a:lnTo>
                    <a:pt x="263" y="4303"/>
                  </a:lnTo>
                  <a:lnTo>
                    <a:pt x="57" y="4451"/>
                  </a:lnTo>
                  <a:lnTo>
                    <a:pt x="0" y="5170"/>
                  </a:lnTo>
                  <a:lnTo>
                    <a:pt x="91" y="5558"/>
                  </a:lnTo>
                  <a:lnTo>
                    <a:pt x="34" y="5821"/>
                  </a:lnTo>
                  <a:lnTo>
                    <a:pt x="400" y="6300"/>
                  </a:lnTo>
                  <a:lnTo>
                    <a:pt x="479" y="6620"/>
                  </a:lnTo>
                  <a:lnTo>
                    <a:pt x="776" y="7076"/>
                  </a:lnTo>
                  <a:lnTo>
                    <a:pt x="1141" y="7384"/>
                  </a:lnTo>
                  <a:lnTo>
                    <a:pt x="1187" y="7795"/>
                  </a:lnTo>
                  <a:lnTo>
                    <a:pt x="1278" y="8046"/>
                  </a:lnTo>
                  <a:lnTo>
                    <a:pt x="1689" y="7213"/>
                  </a:lnTo>
                  <a:lnTo>
                    <a:pt x="2157" y="6722"/>
                  </a:lnTo>
                  <a:lnTo>
                    <a:pt x="2705" y="6882"/>
                  </a:lnTo>
                  <a:lnTo>
                    <a:pt x="3218" y="6939"/>
                  </a:lnTo>
                  <a:lnTo>
                    <a:pt x="3287" y="6300"/>
                  </a:lnTo>
                  <a:lnTo>
                    <a:pt x="3595" y="5844"/>
                  </a:lnTo>
                  <a:lnTo>
                    <a:pt x="4029" y="5558"/>
                  </a:lnTo>
                  <a:lnTo>
                    <a:pt x="4679" y="5855"/>
                  </a:lnTo>
                  <a:lnTo>
                    <a:pt x="5193" y="6197"/>
                  </a:lnTo>
                  <a:lnTo>
                    <a:pt x="5786" y="6277"/>
                  </a:lnTo>
                  <a:lnTo>
                    <a:pt x="6379" y="6449"/>
                  </a:lnTo>
                  <a:lnTo>
                    <a:pt x="6608" y="5912"/>
                  </a:lnTo>
                  <a:lnTo>
                    <a:pt x="6722" y="5844"/>
                  </a:lnTo>
                  <a:lnTo>
                    <a:pt x="7098" y="5924"/>
                  </a:lnTo>
                  <a:lnTo>
                    <a:pt x="7977" y="5479"/>
                  </a:lnTo>
                  <a:lnTo>
                    <a:pt x="8297" y="5673"/>
                  </a:lnTo>
                  <a:lnTo>
                    <a:pt x="8548" y="5638"/>
                  </a:lnTo>
                  <a:lnTo>
                    <a:pt x="8673" y="5421"/>
                  </a:lnTo>
                  <a:lnTo>
                    <a:pt x="8959" y="5342"/>
                  </a:lnTo>
                  <a:lnTo>
                    <a:pt x="9575" y="5444"/>
                  </a:lnTo>
                  <a:lnTo>
                    <a:pt x="10088" y="5456"/>
                  </a:lnTo>
                  <a:lnTo>
                    <a:pt x="10351" y="5364"/>
                  </a:lnTo>
                  <a:lnTo>
                    <a:pt x="10214" y="5068"/>
                  </a:lnTo>
                  <a:lnTo>
                    <a:pt x="9621" y="4714"/>
                  </a:lnTo>
                  <a:lnTo>
                    <a:pt x="9404" y="4166"/>
                  </a:lnTo>
                  <a:lnTo>
                    <a:pt x="9061" y="3790"/>
                  </a:lnTo>
                  <a:lnTo>
                    <a:pt x="8525" y="3299"/>
                  </a:lnTo>
                  <a:lnTo>
                    <a:pt x="8502" y="3013"/>
                  </a:lnTo>
                  <a:lnTo>
                    <a:pt x="8068" y="264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59" name="Google Shape;230;p29">
              <a:extLst>
                <a:ext uri="{FF2B5EF4-FFF2-40B4-BE49-F238E27FC236}">
                  <a16:creationId xmlns:a16="http://schemas.microsoft.com/office/drawing/2014/main" id="{B07BBE1F-25F0-4C82-BAAC-85EC6E6C5C31}"/>
                </a:ext>
              </a:extLst>
            </p:cNvPr>
            <p:cNvSpPr/>
            <p:nvPr/>
          </p:nvSpPr>
          <p:spPr>
            <a:xfrm>
              <a:off x="1465200" y="1347225"/>
              <a:ext cx="1519000" cy="811125"/>
            </a:xfrm>
            <a:custGeom>
              <a:avLst/>
              <a:gdLst/>
              <a:ahLst/>
              <a:cxnLst/>
              <a:rect l="l" t="t" r="r" b="b"/>
              <a:pathLst>
                <a:path w="60760" h="32445" extrusionOk="0">
                  <a:moveTo>
                    <a:pt x="44931" y="28451"/>
                  </a:moveTo>
                  <a:lnTo>
                    <a:pt x="44828" y="28017"/>
                  </a:lnTo>
                  <a:lnTo>
                    <a:pt x="44474" y="28291"/>
                  </a:lnTo>
                  <a:lnTo>
                    <a:pt x="44543" y="28588"/>
                  </a:lnTo>
                  <a:lnTo>
                    <a:pt x="45342" y="28964"/>
                  </a:lnTo>
                  <a:lnTo>
                    <a:pt x="45615" y="28907"/>
                  </a:lnTo>
                  <a:lnTo>
                    <a:pt x="46083" y="28553"/>
                  </a:lnTo>
                  <a:lnTo>
                    <a:pt x="45410" y="28565"/>
                  </a:lnTo>
                  <a:close/>
                  <a:moveTo>
                    <a:pt x="46985" y="26180"/>
                  </a:moveTo>
                  <a:lnTo>
                    <a:pt x="47008" y="26020"/>
                  </a:lnTo>
                  <a:lnTo>
                    <a:pt x="46426" y="25655"/>
                  </a:lnTo>
                  <a:lnTo>
                    <a:pt x="45581" y="25426"/>
                  </a:lnTo>
                  <a:lnTo>
                    <a:pt x="45307" y="25506"/>
                  </a:lnTo>
                  <a:lnTo>
                    <a:pt x="45809" y="25917"/>
                  </a:lnTo>
                  <a:lnTo>
                    <a:pt x="46620" y="26191"/>
                  </a:lnTo>
                  <a:close/>
                  <a:moveTo>
                    <a:pt x="3425" y="26705"/>
                  </a:moveTo>
                  <a:lnTo>
                    <a:pt x="3459" y="26225"/>
                  </a:lnTo>
                  <a:lnTo>
                    <a:pt x="3002" y="25849"/>
                  </a:lnTo>
                  <a:lnTo>
                    <a:pt x="2945" y="25438"/>
                  </a:lnTo>
                  <a:lnTo>
                    <a:pt x="2934" y="25141"/>
                  </a:lnTo>
                  <a:lnTo>
                    <a:pt x="2340" y="25038"/>
                  </a:lnTo>
                  <a:lnTo>
                    <a:pt x="1998" y="24913"/>
                  </a:lnTo>
                  <a:lnTo>
                    <a:pt x="1416" y="24708"/>
                  </a:lnTo>
                  <a:lnTo>
                    <a:pt x="1222" y="24924"/>
                  </a:lnTo>
                  <a:lnTo>
                    <a:pt x="1131" y="25392"/>
                  </a:lnTo>
                  <a:lnTo>
                    <a:pt x="1747" y="25552"/>
                  </a:lnTo>
                  <a:lnTo>
                    <a:pt x="1690" y="25814"/>
                  </a:lnTo>
                  <a:lnTo>
                    <a:pt x="2101" y="26123"/>
                  </a:lnTo>
                  <a:lnTo>
                    <a:pt x="2101" y="26442"/>
                  </a:lnTo>
                  <a:lnTo>
                    <a:pt x="3002" y="26842"/>
                  </a:lnTo>
                  <a:close/>
                  <a:moveTo>
                    <a:pt x="51379" y="24787"/>
                  </a:moveTo>
                  <a:lnTo>
                    <a:pt x="51926" y="24240"/>
                  </a:lnTo>
                  <a:lnTo>
                    <a:pt x="52132" y="24000"/>
                  </a:lnTo>
                  <a:lnTo>
                    <a:pt x="51835" y="23954"/>
                  </a:lnTo>
                  <a:lnTo>
                    <a:pt x="51128" y="24262"/>
                  </a:lnTo>
                  <a:lnTo>
                    <a:pt x="50534" y="24765"/>
                  </a:lnTo>
                  <a:lnTo>
                    <a:pt x="49381" y="26168"/>
                  </a:lnTo>
                  <a:lnTo>
                    <a:pt x="48617" y="26693"/>
                  </a:lnTo>
                  <a:lnTo>
                    <a:pt x="48845" y="26933"/>
                  </a:lnTo>
                  <a:lnTo>
                    <a:pt x="48309" y="27252"/>
                  </a:lnTo>
                  <a:lnTo>
                    <a:pt x="48332" y="27515"/>
                  </a:lnTo>
                  <a:lnTo>
                    <a:pt x="49701" y="27538"/>
                  </a:lnTo>
                  <a:lnTo>
                    <a:pt x="50477" y="27492"/>
                  </a:lnTo>
                  <a:lnTo>
                    <a:pt x="51105" y="27709"/>
                  </a:lnTo>
                  <a:lnTo>
                    <a:pt x="50477" y="28120"/>
                  </a:lnTo>
                  <a:lnTo>
                    <a:pt x="50888" y="28143"/>
                  </a:lnTo>
                  <a:lnTo>
                    <a:pt x="51926" y="27378"/>
                  </a:lnTo>
                  <a:lnTo>
                    <a:pt x="52098" y="27492"/>
                  </a:lnTo>
                  <a:lnTo>
                    <a:pt x="51744" y="28222"/>
                  </a:lnTo>
                  <a:lnTo>
                    <a:pt x="52177" y="28394"/>
                  </a:lnTo>
                  <a:lnTo>
                    <a:pt x="52497" y="28359"/>
                  </a:lnTo>
                  <a:lnTo>
                    <a:pt x="52999" y="27572"/>
                  </a:lnTo>
                  <a:lnTo>
                    <a:pt x="52931" y="27024"/>
                  </a:lnTo>
                  <a:lnTo>
                    <a:pt x="52976" y="26545"/>
                  </a:lnTo>
                  <a:lnTo>
                    <a:pt x="52440" y="26705"/>
                  </a:lnTo>
                  <a:lnTo>
                    <a:pt x="52839" y="26054"/>
                  </a:lnTo>
                  <a:lnTo>
                    <a:pt x="52234" y="25780"/>
                  </a:lnTo>
                  <a:lnTo>
                    <a:pt x="51846" y="25997"/>
                  </a:lnTo>
                  <a:lnTo>
                    <a:pt x="51287" y="25757"/>
                  </a:lnTo>
                  <a:lnTo>
                    <a:pt x="51630" y="25449"/>
                  </a:lnTo>
                  <a:lnTo>
                    <a:pt x="51219" y="25267"/>
                  </a:lnTo>
                  <a:lnTo>
                    <a:pt x="50671" y="25552"/>
                  </a:lnTo>
                  <a:close/>
                  <a:moveTo>
                    <a:pt x="480" y="21763"/>
                  </a:moveTo>
                  <a:lnTo>
                    <a:pt x="206" y="22048"/>
                  </a:lnTo>
                  <a:lnTo>
                    <a:pt x="1" y="22414"/>
                  </a:lnTo>
                  <a:lnTo>
                    <a:pt x="138" y="22688"/>
                  </a:lnTo>
                  <a:lnTo>
                    <a:pt x="47" y="23087"/>
                  </a:lnTo>
                  <a:lnTo>
                    <a:pt x="149" y="23486"/>
                  </a:lnTo>
                  <a:lnTo>
                    <a:pt x="423" y="23486"/>
                  </a:lnTo>
                  <a:lnTo>
                    <a:pt x="389" y="22790"/>
                  </a:lnTo>
                  <a:lnTo>
                    <a:pt x="1405" y="21797"/>
                  </a:lnTo>
                  <a:lnTo>
                    <a:pt x="708" y="21877"/>
                  </a:lnTo>
                  <a:close/>
                  <a:moveTo>
                    <a:pt x="40548" y="15053"/>
                  </a:moveTo>
                  <a:lnTo>
                    <a:pt x="40491" y="14882"/>
                  </a:lnTo>
                  <a:lnTo>
                    <a:pt x="40240" y="14870"/>
                  </a:lnTo>
                  <a:lnTo>
                    <a:pt x="39852" y="15110"/>
                  </a:lnTo>
                  <a:lnTo>
                    <a:pt x="39795" y="15167"/>
                  </a:lnTo>
                  <a:lnTo>
                    <a:pt x="39807" y="15407"/>
                  </a:lnTo>
                  <a:lnTo>
                    <a:pt x="40046" y="15486"/>
                  </a:lnTo>
                  <a:close/>
                  <a:moveTo>
                    <a:pt x="39179" y="14596"/>
                  </a:moveTo>
                  <a:lnTo>
                    <a:pt x="39293" y="14437"/>
                  </a:lnTo>
                  <a:lnTo>
                    <a:pt x="38437" y="14425"/>
                  </a:lnTo>
                  <a:lnTo>
                    <a:pt x="37730" y="14813"/>
                  </a:lnTo>
                  <a:lnTo>
                    <a:pt x="37730" y="15030"/>
                  </a:lnTo>
                  <a:lnTo>
                    <a:pt x="38163" y="15053"/>
                  </a:lnTo>
                  <a:close/>
                  <a:moveTo>
                    <a:pt x="38734" y="12234"/>
                  </a:moveTo>
                  <a:lnTo>
                    <a:pt x="38346" y="12154"/>
                  </a:lnTo>
                  <a:lnTo>
                    <a:pt x="37638" y="12896"/>
                  </a:lnTo>
                  <a:lnTo>
                    <a:pt x="37125" y="13524"/>
                  </a:lnTo>
                  <a:lnTo>
                    <a:pt x="36303" y="13923"/>
                  </a:lnTo>
                  <a:lnTo>
                    <a:pt x="37205" y="13843"/>
                  </a:lnTo>
                  <a:lnTo>
                    <a:pt x="37091" y="14322"/>
                  </a:lnTo>
                  <a:lnTo>
                    <a:pt x="38266" y="13900"/>
                  </a:lnTo>
                  <a:lnTo>
                    <a:pt x="39145" y="13467"/>
                  </a:lnTo>
                  <a:lnTo>
                    <a:pt x="39259" y="13843"/>
                  </a:lnTo>
                  <a:lnTo>
                    <a:pt x="40103" y="14026"/>
                  </a:lnTo>
                  <a:lnTo>
                    <a:pt x="40799" y="13775"/>
                  </a:lnTo>
                  <a:lnTo>
                    <a:pt x="40526" y="13512"/>
                  </a:lnTo>
                  <a:lnTo>
                    <a:pt x="40046" y="13569"/>
                  </a:lnTo>
                  <a:lnTo>
                    <a:pt x="40229" y="13181"/>
                  </a:lnTo>
                  <a:lnTo>
                    <a:pt x="39704" y="12942"/>
                  </a:lnTo>
                  <a:lnTo>
                    <a:pt x="39213" y="12668"/>
                  </a:lnTo>
                  <a:lnTo>
                    <a:pt x="39008" y="12462"/>
                  </a:lnTo>
                  <a:lnTo>
                    <a:pt x="38608" y="12588"/>
                  </a:lnTo>
                  <a:close/>
                  <a:moveTo>
                    <a:pt x="45102" y="11059"/>
                  </a:moveTo>
                  <a:lnTo>
                    <a:pt x="45627" y="10819"/>
                  </a:lnTo>
                  <a:lnTo>
                    <a:pt x="45764" y="10716"/>
                  </a:lnTo>
                  <a:lnTo>
                    <a:pt x="45969" y="10385"/>
                  </a:lnTo>
                  <a:lnTo>
                    <a:pt x="45638" y="10180"/>
                  </a:lnTo>
                  <a:lnTo>
                    <a:pt x="45045" y="10271"/>
                  </a:lnTo>
                  <a:lnTo>
                    <a:pt x="44497" y="10716"/>
                  </a:lnTo>
                  <a:lnTo>
                    <a:pt x="44394" y="11093"/>
                  </a:lnTo>
                  <a:close/>
                  <a:moveTo>
                    <a:pt x="34568" y="9529"/>
                  </a:moveTo>
                  <a:lnTo>
                    <a:pt x="34454" y="9244"/>
                  </a:lnTo>
                  <a:lnTo>
                    <a:pt x="34409" y="9107"/>
                  </a:lnTo>
                  <a:lnTo>
                    <a:pt x="34180" y="8959"/>
                  </a:lnTo>
                  <a:lnTo>
                    <a:pt x="33758" y="8753"/>
                  </a:lnTo>
                  <a:lnTo>
                    <a:pt x="33062" y="9073"/>
                  </a:lnTo>
                  <a:lnTo>
                    <a:pt x="32343" y="9324"/>
                  </a:lnTo>
                  <a:lnTo>
                    <a:pt x="32845" y="9666"/>
                  </a:lnTo>
                  <a:lnTo>
                    <a:pt x="33382" y="9575"/>
                  </a:lnTo>
                  <a:lnTo>
                    <a:pt x="33975" y="9803"/>
                  </a:lnTo>
                  <a:close/>
                  <a:moveTo>
                    <a:pt x="37764" y="9233"/>
                  </a:moveTo>
                  <a:lnTo>
                    <a:pt x="36817" y="9096"/>
                  </a:lnTo>
                  <a:lnTo>
                    <a:pt x="37638" y="8719"/>
                  </a:lnTo>
                  <a:lnTo>
                    <a:pt x="37581" y="7863"/>
                  </a:lnTo>
                  <a:lnTo>
                    <a:pt x="37307" y="7532"/>
                  </a:lnTo>
                  <a:lnTo>
                    <a:pt x="36668" y="7418"/>
                  </a:lnTo>
                  <a:lnTo>
                    <a:pt x="35516" y="7966"/>
                  </a:lnTo>
                  <a:lnTo>
                    <a:pt x="34728" y="8788"/>
                  </a:lnTo>
                  <a:lnTo>
                    <a:pt x="35139" y="9096"/>
                  </a:lnTo>
                  <a:lnTo>
                    <a:pt x="35367" y="9564"/>
                  </a:lnTo>
                  <a:lnTo>
                    <a:pt x="34466" y="10351"/>
                  </a:lnTo>
                  <a:lnTo>
                    <a:pt x="34009" y="10317"/>
                  </a:lnTo>
                  <a:lnTo>
                    <a:pt x="33130" y="10944"/>
                  </a:lnTo>
                  <a:lnTo>
                    <a:pt x="33724" y="10203"/>
                  </a:lnTo>
                  <a:lnTo>
                    <a:pt x="33039" y="9952"/>
                  </a:lnTo>
                  <a:lnTo>
                    <a:pt x="32400" y="10077"/>
                  </a:lnTo>
                  <a:lnTo>
                    <a:pt x="32058" y="10556"/>
                  </a:lnTo>
                  <a:lnTo>
                    <a:pt x="31213" y="10545"/>
                  </a:lnTo>
                  <a:lnTo>
                    <a:pt x="30186" y="10659"/>
                  </a:lnTo>
                  <a:lnTo>
                    <a:pt x="29467" y="10317"/>
                  </a:lnTo>
                  <a:lnTo>
                    <a:pt x="28748" y="10374"/>
                  </a:lnTo>
                  <a:lnTo>
                    <a:pt x="28531" y="9963"/>
                  </a:lnTo>
                  <a:lnTo>
                    <a:pt x="28235" y="9780"/>
                  </a:lnTo>
                  <a:lnTo>
                    <a:pt x="27698" y="9849"/>
                  </a:lnTo>
                  <a:lnTo>
                    <a:pt x="26956" y="9895"/>
                  </a:lnTo>
                  <a:lnTo>
                    <a:pt x="26329" y="10146"/>
                  </a:lnTo>
                  <a:lnTo>
                    <a:pt x="26614" y="10477"/>
                  </a:lnTo>
                  <a:lnTo>
                    <a:pt x="25610" y="10876"/>
                  </a:lnTo>
                  <a:lnTo>
                    <a:pt x="25416" y="10408"/>
                  </a:lnTo>
                  <a:lnTo>
                    <a:pt x="24788" y="10545"/>
                  </a:lnTo>
                  <a:lnTo>
                    <a:pt x="23099" y="10636"/>
                  </a:lnTo>
                  <a:lnTo>
                    <a:pt x="22186" y="10465"/>
                  </a:lnTo>
                  <a:lnTo>
                    <a:pt x="23396" y="10089"/>
                  </a:lnTo>
                  <a:lnTo>
                    <a:pt x="22996" y="9689"/>
                  </a:lnTo>
                  <a:lnTo>
                    <a:pt x="22369" y="9746"/>
                  </a:lnTo>
                  <a:lnTo>
                    <a:pt x="21707" y="9609"/>
                  </a:lnTo>
                  <a:lnTo>
                    <a:pt x="20634" y="9335"/>
                  </a:lnTo>
                  <a:lnTo>
                    <a:pt x="20086" y="9004"/>
                  </a:lnTo>
                  <a:lnTo>
                    <a:pt x="19447" y="8959"/>
                  </a:lnTo>
                  <a:lnTo>
                    <a:pt x="18979" y="9187"/>
                  </a:lnTo>
                  <a:lnTo>
                    <a:pt x="18135" y="9324"/>
                  </a:lnTo>
                  <a:lnTo>
                    <a:pt x="18694" y="8730"/>
                  </a:lnTo>
                  <a:lnTo>
                    <a:pt x="17347" y="9244"/>
                  </a:lnTo>
                  <a:lnTo>
                    <a:pt x="17153" y="8582"/>
                  </a:lnTo>
                  <a:lnTo>
                    <a:pt x="16857" y="8491"/>
                  </a:lnTo>
                  <a:lnTo>
                    <a:pt x="16309" y="8845"/>
                  </a:lnTo>
                  <a:lnTo>
                    <a:pt x="15670" y="9016"/>
                  </a:lnTo>
                  <a:lnTo>
                    <a:pt x="15636" y="8708"/>
                  </a:lnTo>
                  <a:lnTo>
                    <a:pt x="14472" y="8902"/>
                  </a:lnTo>
                  <a:lnTo>
                    <a:pt x="13216" y="9233"/>
                  </a:lnTo>
                  <a:lnTo>
                    <a:pt x="12474" y="9153"/>
                  </a:lnTo>
                  <a:lnTo>
                    <a:pt x="11470" y="9381"/>
                  </a:lnTo>
                  <a:lnTo>
                    <a:pt x="10591" y="9701"/>
                  </a:lnTo>
                  <a:lnTo>
                    <a:pt x="10066" y="9632"/>
                  </a:lnTo>
                  <a:lnTo>
                    <a:pt x="9587" y="9267"/>
                  </a:lnTo>
                  <a:lnTo>
                    <a:pt x="8754" y="9073"/>
                  </a:lnTo>
                  <a:lnTo>
                    <a:pt x="8754" y="9073"/>
                  </a:lnTo>
                  <a:lnTo>
                    <a:pt x="5285" y="11960"/>
                  </a:lnTo>
                  <a:lnTo>
                    <a:pt x="229" y="16582"/>
                  </a:lnTo>
                  <a:lnTo>
                    <a:pt x="834" y="16593"/>
                  </a:lnTo>
                  <a:lnTo>
                    <a:pt x="1222" y="16822"/>
                  </a:lnTo>
                  <a:lnTo>
                    <a:pt x="1302" y="17198"/>
                  </a:lnTo>
                  <a:lnTo>
                    <a:pt x="1336" y="17746"/>
                  </a:lnTo>
                  <a:lnTo>
                    <a:pt x="2420" y="17278"/>
                  </a:lnTo>
                  <a:lnTo>
                    <a:pt x="3333" y="17004"/>
                  </a:lnTo>
                  <a:lnTo>
                    <a:pt x="3253" y="17438"/>
                  </a:lnTo>
                  <a:lnTo>
                    <a:pt x="3356" y="17780"/>
                  </a:lnTo>
                  <a:lnTo>
                    <a:pt x="3596" y="18168"/>
                  </a:lnTo>
                  <a:lnTo>
                    <a:pt x="3447" y="18762"/>
                  </a:lnTo>
                  <a:lnTo>
                    <a:pt x="3231" y="19732"/>
                  </a:lnTo>
                  <a:lnTo>
                    <a:pt x="3881" y="20280"/>
                  </a:lnTo>
                  <a:lnTo>
                    <a:pt x="3447" y="20805"/>
                  </a:lnTo>
                  <a:lnTo>
                    <a:pt x="2717" y="21215"/>
                  </a:lnTo>
                  <a:lnTo>
                    <a:pt x="2717" y="21215"/>
                  </a:lnTo>
                  <a:lnTo>
                    <a:pt x="2363" y="21660"/>
                  </a:lnTo>
                  <a:lnTo>
                    <a:pt x="2660" y="22288"/>
                  </a:lnTo>
                  <a:lnTo>
                    <a:pt x="2215" y="22984"/>
                  </a:lnTo>
                  <a:lnTo>
                    <a:pt x="2797" y="23361"/>
                  </a:lnTo>
                  <a:lnTo>
                    <a:pt x="2283" y="23886"/>
                  </a:lnTo>
                  <a:lnTo>
                    <a:pt x="2101" y="24673"/>
                  </a:lnTo>
                  <a:lnTo>
                    <a:pt x="3082" y="25027"/>
                  </a:lnTo>
                  <a:lnTo>
                    <a:pt x="3310" y="25415"/>
                  </a:lnTo>
                  <a:lnTo>
                    <a:pt x="4086" y="26282"/>
                  </a:lnTo>
                  <a:lnTo>
                    <a:pt x="4189" y="26282"/>
                  </a:lnTo>
                  <a:lnTo>
                    <a:pt x="6163" y="26282"/>
                  </a:lnTo>
                  <a:lnTo>
                    <a:pt x="8252" y="26282"/>
                  </a:lnTo>
                  <a:lnTo>
                    <a:pt x="8937" y="26282"/>
                  </a:lnTo>
                  <a:lnTo>
                    <a:pt x="11071" y="26282"/>
                  </a:lnTo>
                  <a:lnTo>
                    <a:pt x="13148" y="26282"/>
                  </a:lnTo>
                  <a:lnTo>
                    <a:pt x="15236" y="26282"/>
                  </a:lnTo>
                  <a:lnTo>
                    <a:pt x="17347" y="26282"/>
                  </a:lnTo>
                  <a:lnTo>
                    <a:pt x="19733" y="26282"/>
                  </a:lnTo>
                  <a:lnTo>
                    <a:pt x="22129" y="26282"/>
                  </a:lnTo>
                  <a:lnTo>
                    <a:pt x="23567" y="26282"/>
                  </a:lnTo>
                  <a:lnTo>
                    <a:pt x="23761" y="25940"/>
                  </a:lnTo>
                  <a:lnTo>
                    <a:pt x="23989" y="25940"/>
                  </a:lnTo>
                  <a:lnTo>
                    <a:pt x="23875" y="26419"/>
                  </a:lnTo>
                  <a:lnTo>
                    <a:pt x="24012" y="26568"/>
                  </a:lnTo>
                  <a:lnTo>
                    <a:pt x="24469" y="26625"/>
                  </a:lnTo>
                  <a:lnTo>
                    <a:pt x="25131" y="26762"/>
                  </a:lnTo>
                  <a:lnTo>
                    <a:pt x="25667" y="27036"/>
                  </a:lnTo>
                  <a:lnTo>
                    <a:pt x="26295" y="26921"/>
                  </a:lnTo>
                  <a:lnTo>
                    <a:pt x="27048" y="27150"/>
                  </a:lnTo>
                  <a:lnTo>
                    <a:pt x="27048" y="27150"/>
                  </a:lnTo>
                  <a:lnTo>
                    <a:pt x="27504" y="26807"/>
                  </a:lnTo>
                  <a:lnTo>
                    <a:pt x="27961" y="26670"/>
                  </a:lnTo>
                  <a:lnTo>
                    <a:pt x="28223" y="26454"/>
                  </a:lnTo>
                  <a:lnTo>
                    <a:pt x="28440" y="26339"/>
                  </a:lnTo>
                  <a:lnTo>
                    <a:pt x="29011" y="26511"/>
                  </a:lnTo>
                  <a:lnTo>
                    <a:pt x="29479" y="26533"/>
                  </a:lnTo>
                  <a:lnTo>
                    <a:pt x="29593" y="26648"/>
                  </a:lnTo>
                  <a:lnTo>
                    <a:pt x="29604" y="27150"/>
                  </a:lnTo>
                  <a:lnTo>
                    <a:pt x="30346" y="27298"/>
                  </a:lnTo>
                  <a:lnTo>
                    <a:pt x="30106" y="27538"/>
                  </a:lnTo>
                  <a:lnTo>
                    <a:pt x="30277" y="27812"/>
                  </a:lnTo>
                  <a:lnTo>
                    <a:pt x="30004" y="28131"/>
                  </a:lnTo>
                  <a:lnTo>
                    <a:pt x="30266" y="28245"/>
                  </a:lnTo>
                  <a:lnTo>
                    <a:pt x="29992" y="28553"/>
                  </a:lnTo>
                  <a:lnTo>
                    <a:pt x="29992" y="28553"/>
                  </a:lnTo>
                  <a:lnTo>
                    <a:pt x="30163" y="28576"/>
                  </a:lnTo>
                  <a:lnTo>
                    <a:pt x="30346" y="28451"/>
                  </a:lnTo>
                  <a:lnTo>
                    <a:pt x="30414" y="28645"/>
                  </a:lnTo>
                  <a:lnTo>
                    <a:pt x="30905" y="28747"/>
                  </a:lnTo>
                  <a:lnTo>
                    <a:pt x="31441" y="28759"/>
                  </a:lnTo>
                  <a:lnTo>
                    <a:pt x="31989" y="28850"/>
                  </a:lnTo>
                  <a:lnTo>
                    <a:pt x="32560" y="29021"/>
                  </a:lnTo>
                  <a:lnTo>
                    <a:pt x="32674" y="29307"/>
                  </a:lnTo>
                  <a:lnTo>
                    <a:pt x="32868" y="29980"/>
                  </a:lnTo>
                  <a:lnTo>
                    <a:pt x="32526" y="30265"/>
                  </a:lnTo>
                  <a:lnTo>
                    <a:pt x="31989" y="30151"/>
                  </a:lnTo>
                  <a:lnTo>
                    <a:pt x="31841" y="29603"/>
                  </a:lnTo>
                  <a:lnTo>
                    <a:pt x="31715" y="30163"/>
                  </a:lnTo>
                  <a:lnTo>
                    <a:pt x="31179" y="30642"/>
                  </a:lnTo>
                  <a:lnTo>
                    <a:pt x="31065" y="31064"/>
                  </a:lnTo>
                  <a:lnTo>
                    <a:pt x="30905" y="31304"/>
                  </a:lnTo>
                  <a:lnTo>
                    <a:pt x="30323" y="31589"/>
                  </a:lnTo>
                  <a:lnTo>
                    <a:pt x="30323" y="31589"/>
                  </a:lnTo>
                  <a:lnTo>
                    <a:pt x="29787" y="32068"/>
                  </a:lnTo>
                  <a:lnTo>
                    <a:pt x="29501" y="32388"/>
                  </a:lnTo>
                  <a:lnTo>
                    <a:pt x="29889" y="32445"/>
                  </a:lnTo>
                  <a:lnTo>
                    <a:pt x="30528" y="32160"/>
                  </a:lnTo>
                  <a:lnTo>
                    <a:pt x="30951" y="31909"/>
                  </a:lnTo>
                  <a:lnTo>
                    <a:pt x="31179" y="31874"/>
                  </a:lnTo>
                  <a:lnTo>
                    <a:pt x="31544" y="31954"/>
                  </a:lnTo>
                  <a:lnTo>
                    <a:pt x="31784" y="31829"/>
                  </a:lnTo>
                  <a:lnTo>
                    <a:pt x="32183" y="31715"/>
                  </a:lnTo>
                  <a:lnTo>
                    <a:pt x="32857" y="31600"/>
                  </a:lnTo>
                  <a:lnTo>
                    <a:pt x="32857" y="31600"/>
                  </a:lnTo>
                  <a:lnTo>
                    <a:pt x="32857" y="31600"/>
                  </a:lnTo>
                  <a:lnTo>
                    <a:pt x="32902" y="31338"/>
                  </a:lnTo>
                  <a:lnTo>
                    <a:pt x="32857" y="31361"/>
                  </a:lnTo>
                  <a:lnTo>
                    <a:pt x="32617" y="31395"/>
                  </a:lnTo>
                  <a:lnTo>
                    <a:pt x="32354" y="31315"/>
                  </a:lnTo>
                  <a:lnTo>
                    <a:pt x="32685" y="31018"/>
                  </a:lnTo>
                  <a:lnTo>
                    <a:pt x="32959" y="30916"/>
                  </a:lnTo>
                  <a:lnTo>
                    <a:pt x="33518" y="30790"/>
                  </a:lnTo>
                  <a:lnTo>
                    <a:pt x="34169" y="30665"/>
                  </a:lnTo>
                  <a:lnTo>
                    <a:pt x="34431" y="30824"/>
                  </a:lnTo>
                  <a:lnTo>
                    <a:pt x="34694" y="30630"/>
                  </a:lnTo>
                  <a:lnTo>
                    <a:pt x="34968" y="30516"/>
                  </a:lnTo>
                  <a:lnTo>
                    <a:pt x="35093" y="30573"/>
                  </a:lnTo>
                  <a:lnTo>
                    <a:pt x="35105" y="30585"/>
                  </a:lnTo>
                  <a:lnTo>
                    <a:pt x="36063" y="29991"/>
                  </a:lnTo>
                  <a:lnTo>
                    <a:pt x="36451" y="29820"/>
                  </a:lnTo>
                  <a:lnTo>
                    <a:pt x="37547" y="29820"/>
                  </a:lnTo>
                  <a:lnTo>
                    <a:pt x="38882" y="29820"/>
                  </a:lnTo>
                  <a:lnTo>
                    <a:pt x="39019" y="29592"/>
                  </a:lnTo>
                  <a:lnTo>
                    <a:pt x="39259" y="29546"/>
                  </a:lnTo>
                  <a:lnTo>
                    <a:pt x="39624" y="29421"/>
                  </a:lnTo>
                  <a:lnTo>
                    <a:pt x="40001" y="29021"/>
                  </a:lnTo>
                  <a:lnTo>
                    <a:pt x="40457" y="28325"/>
                  </a:lnTo>
                  <a:lnTo>
                    <a:pt x="41245" y="27652"/>
                  </a:lnTo>
                  <a:lnTo>
                    <a:pt x="41404" y="27892"/>
                  </a:lnTo>
                  <a:lnTo>
                    <a:pt x="41929" y="27732"/>
                  </a:lnTo>
                  <a:lnTo>
                    <a:pt x="42146" y="27994"/>
                  </a:lnTo>
                  <a:lnTo>
                    <a:pt x="41747" y="29204"/>
                  </a:lnTo>
                  <a:lnTo>
                    <a:pt x="42043" y="29706"/>
                  </a:lnTo>
                  <a:lnTo>
                    <a:pt x="42888" y="29592"/>
                  </a:lnTo>
                  <a:lnTo>
                    <a:pt x="44041" y="29558"/>
                  </a:lnTo>
                  <a:lnTo>
                    <a:pt x="42557" y="30288"/>
                  </a:lnTo>
                  <a:lnTo>
                    <a:pt x="42340" y="31030"/>
                  </a:lnTo>
                  <a:lnTo>
                    <a:pt x="42876" y="31098"/>
                  </a:lnTo>
                  <a:lnTo>
                    <a:pt x="43881" y="30459"/>
                  </a:lnTo>
                  <a:lnTo>
                    <a:pt x="44714" y="30117"/>
                  </a:lnTo>
                  <a:lnTo>
                    <a:pt x="46449" y="29592"/>
                  </a:lnTo>
                  <a:lnTo>
                    <a:pt x="47521" y="29010"/>
                  </a:lnTo>
                  <a:lnTo>
                    <a:pt x="47156" y="28690"/>
                  </a:lnTo>
                  <a:lnTo>
                    <a:pt x="47293" y="28051"/>
                  </a:lnTo>
                  <a:lnTo>
                    <a:pt x="46277" y="29044"/>
                  </a:lnTo>
                  <a:lnTo>
                    <a:pt x="45056" y="29158"/>
                  </a:lnTo>
                  <a:lnTo>
                    <a:pt x="44269" y="28725"/>
                  </a:lnTo>
                  <a:lnTo>
                    <a:pt x="44257" y="28063"/>
                  </a:lnTo>
                  <a:lnTo>
                    <a:pt x="44337" y="27093"/>
                  </a:lnTo>
                  <a:lnTo>
                    <a:pt x="45216" y="26511"/>
                  </a:lnTo>
                  <a:lnTo>
                    <a:pt x="44737" y="26066"/>
                  </a:lnTo>
                  <a:lnTo>
                    <a:pt x="43653" y="26145"/>
                  </a:lnTo>
                  <a:lnTo>
                    <a:pt x="41929" y="26887"/>
                  </a:lnTo>
                  <a:lnTo>
                    <a:pt x="40377" y="28063"/>
                  </a:lnTo>
                  <a:lnTo>
                    <a:pt x="39715" y="28200"/>
                  </a:lnTo>
                  <a:lnTo>
                    <a:pt x="40834" y="27389"/>
                  </a:lnTo>
                  <a:lnTo>
                    <a:pt x="42272" y="26203"/>
                  </a:lnTo>
                  <a:lnTo>
                    <a:pt x="43299" y="25826"/>
                  </a:lnTo>
                  <a:lnTo>
                    <a:pt x="44109" y="25198"/>
                  </a:lnTo>
                  <a:lnTo>
                    <a:pt x="44851" y="25118"/>
                  </a:lnTo>
                  <a:lnTo>
                    <a:pt x="45901" y="25141"/>
                  </a:lnTo>
                  <a:lnTo>
                    <a:pt x="47327" y="25324"/>
                  </a:lnTo>
                  <a:lnTo>
                    <a:pt x="48548" y="25175"/>
                  </a:lnTo>
                  <a:lnTo>
                    <a:pt x="49667" y="24456"/>
                  </a:lnTo>
                  <a:lnTo>
                    <a:pt x="50899" y="24137"/>
                  </a:lnTo>
                  <a:lnTo>
                    <a:pt x="51504" y="23840"/>
                  </a:lnTo>
                  <a:lnTo>
                    <a:pt x="52098" y="23509"/>
                  </a:lnTo>
                  <a:lnTo>
                    <a:pt x="52383" y="22539"/>
                  </a:lnTo>
                  <a:lnTo>
                    <a:pt x="52234" y="22208"/>
                  </a:lnTo>
                  <a:lnTo>
                    <a:pt x="51744" y="22094"/>
                  </a:lnTo>
                  <a:lnTo>
                    <a:pt x="51744" y="21375"/>
                  </a:lnTo>
                  <a:lnTo>
                    <a:pt x="51413" y="21101"/>
                  </a:lnTo>
                  <a:lnTo>
                    <a:pt x="50431" y="20873"/>
                  </a:lnTo>
                  <a:lnTo>
                    <a:pt x="50032" y="20382"/>
                  </a:lnTo>
                  <a:lnTo>
                    <a:pt x="49347" y="19903"/>
                  </a:lnTo>
                  <a:lnTo>
                    <a:pt x="49838" y="19378"/>
                  </a:lnTo>
                  <a:lnTo>
                    <a:pt x="49553" y="18362"/>
                  </a:lnTo>
                  <a:lnTo>
                    <a:pt x="49176" y="17290"/>
                  </a:lnTo>
                  <a:lnTo>
                    <a:pt x="49039" y="16548"/>
                  </a:lnTo>
                  <a:lnTo>
                    <a:pt x="48423" y="16936"/>
                  </a:lnTo>
                  <a:lnTo>
                    <a:pt x="47361" y="17860"/>
                  </a:lnTo>
                  <a:lnTo>
                    <a:pt x="46209" y="18317"/>
                  </a:lnTo>
                  <a:lnTo>
                    <a:pt x="45981" y="17837"/>
                  </a:lnTo>
                  <a:lnTo>
                    <a:pt x="45456" y="17689"/>
                  </a:lnTo>
                  <a:lnTo>
                    <a:pt x="45764" y="16651"/>
                  </a:lnTo>
                  <a:lnTo>
                    <a:pt x="46140" y="15954"/>
                  </a:lnTo>
                  <a:lnTo>
                    <a:pt x="45045" y="15874"/>
                  </a:lnTo>
                  <a:lnTo>
                    <a:pt x="45022" y="15566"/>
                  </a:lnTo>
                  <a:lnTo>
                    <a:pt x="44508" y="15098"/>
                  </a:lnTo>
                  <a:lnTo>
                    <a:pt x="44086" y="14813"/>
                  </a:lnTo>
                  <a:lnTo>
                    <a:pt x="43447" y="15019"/>
                  </a:lnTo>
                  <a:lnTo>
                    <a:pt x="42842" y="14950"/>
                  </a:lnTo>
                  <a:lnTo>
                    <a:pt x="41906" y="14722"/>
                  </a:lnTo>
                  <a:lnTo>
                    <a:pt x="41347" y="14904"/>
                  </a:lnTo>
                  <a:lnTo>
                    <a:pt x="40799" y="16194"/>
                  </a:lnTo>
                  <a:lnTo>
                    <a:pt x="40663" y="16947"/>
                  </a:lnTo>
                  <a:lnTo>
                    <a:pt x="39407" y="17815"/>
                  </a:lnTo>
                  <a:lnTo>
                    <a:pt x="39852" y="18465"/>
                  </a:lnTo>
                  <a:lnTo>
                    <a:pt x="39921" y="19173"/>
                  </a:lnTo>
                  <a:lnTo>
                    <a:pt x="39681" y="19743"/>
                  </a:lnTo>
                  <a:lnTo>
                    <a:pt x="39008" y="20325"/>
                  </a:lnTo>
                  <a:lnTo>
                    <a:pt x="37935" y="20930"/>
                  </a:lnTo>
                  <a:lnTo>
                    <a:pt x="36657" y="21330"/>
                  </a:lnTo>
                  <a:lnTo>
                    <a:pt x="36896" y="21786"/>
                  </a:lnTo>
                  <a:lnTo>
                    <a:pt x="36577" y="23155"/>
                  </a:lnTo>
                  <a:lnTo>
                    <a:pt x="35778" y="24057"/>
                  </a:lnTo>
                  <a:lnTo>
                    <a:pt x="35128" y="24320"/>
                  </a:lnTo>
                  <a:lnTo>
                    <a:pt x="34500" y="23498"/>
                  </a:lnTo>
                  <a:lnTo>
                    <a:pt x="34489" y="22528"/>
                  </a:lnTo>
                  <a:lnTo>
                    <a:pt x="34728" y="21672"/>
                  </a:lnTo>
                  <a:lnTo>
                    <a:pt x="35242" y="20930"/>
                  </a:lnTo>
                  <a:lnTo>
                    <a:pt x="34557" y="20839"/>
                  </a:lnTo>
                  <a:lnTo>
                    <a:pt x="33484" y="20782"/>
                  </a:lnTo>
                  <a:lnTo>
                    <a:pt x="32971" y="20428"/>
                  </a:lnTo>
                  <a:lnTo>
                    <a:pt x="32286" y="20200"/>
                  </a:lnTo>
                  <a:lnTo>
                    <a:pt x="32046" y="19789"/>
                  </a:lnTo>
                  <a:lnTo>
                    <a:pt x="31578" y="19469"/>
                  </a:lnTo>
                  <a:lnTo>
                    <a:pt x="30574" y="19104"/>
                  </a:lnTo>
                  <a:lnTo>
                    <a:pt x="29558" y="19275"/>
                  </a:lnTo>
                  <a:lnTo>
                    <a:pt x="29661" y="18636"/>
                  </a:lnTo>
                  <a:lnTo>
                    <a:pt x="29878" y="17849"/>
                  </a:lnTo>
                  <a:lnTo>
                    <a:pt x="29022" y="17700"/>
                  </a:lnTo>
                  <a:lnTo>
                    <a:pt x="29718" y="16730"/>
                  </a:lnTo>
                  <a:lnTo>
                    <a:pt x="30414" y="16080"/>
                  </a:lnTo>
                  <a:lnTo>
                    <a:pt x="31761" y="15156"/>
                  </a:lnTo>
                  <a:lnTo>
                    <a:pt x="32982" y="14494"/>
                  </a:lnTo>
                  <a:lnTo>
                    <a:pt x="33781" y="14391"/>
                  </a:lnTo>
                  <a:lnTo>
                    <a:pt x="34203" y="13866"/>
                  </a:lnTo>
                  <a:lnTo>
                    <a:pt x="34922" y="13524"/>
                  </a:lnTo>
                  <a:lnTo>
                    <a:pt x="35835" y="13467"/>
                  </a:lnTo>
                  <a:lnTo>
                    <a:pt x="36942" y="12930"/>
                  </a:lnTo>
                  <a:lnTo>
                    <a:pt x="37353" y="12588"/>
                  </a:lnTo>
                  <a:lnTo>
                    <a:pt x="38403" y="11914"/>
                  </a:lnTo>
                  <a:lnTo>
                    <a:pt x="38859" y="11515"/>
                  </a:lnTo>
                  <a:lnTo>
                    <a:pt x="39316" y="11755"/>
                  </a:lnTo>
                  <a:lnTo>
                    <a:pt x="40252" y="11629"/>
                  </a:lnTo>
                  <a:lnTo>
                    <a:pt x="41792" y="11081"/>
                  </a:lnTo>
                  <a:lnTo>
                    <a:pt x="42112" y="10705"/>
                  </a:lnTo>
                  <a:lnTo>
                    <a:pt x="41998" y="10283"/>
                  </a:lnTo>
                  <a:lnTo>
                    <a:pt x="42717" y="9872"/>
                  </a:lnTo>
                  <a:lnTo>
                    <a:pt x="42956" y="9484"/>
                  </a:lnTo>
                  <a:lnTo>
                    <a:pt x="42454" y="9118"/>
                  </a:lnTo>
                  <a:lnTo>
                    <a:pt x="41690" y="9004"/>
                  </a:lnTo>
                  <a:lnTo>
                    <a:pt x="40902" y="8947"/>
                  </a:lnTo>
                  <a:lnTo>
                    <a:pt x="40252" y="9792"/>
                  </a:lnTo>
                  <a:lnTo>
                    <a:pt x="39316" y="10442"/>
                  </a:lnTo>
                  <a:lnTo>
                    <a:pt x="38289" y="11013"/>
                  </a:lnTo>
                  <a:lnTo>
                    <a:pt x="38106" y="10488"/>
                  </a:lnTo>
                  <a:lnTo>
                    <a:pt x="38711" y="9917"/>
                  </a:lnTo>
                  <a:lnTo>
                    <a:pt x="38391" y="9415"/>
                  </a:lnTo>
                  <a:lnTo>
                    <a:pt x="37148" y="10020"/>
                  </a:lnTo>
                  <a:close/>
                  <a:moveTo>
                    <a:pt x="26991" y="6539"/>
                  </a:moveTo>
                  <a:lnTo>
                    <a:pt x="26591" y="6391"/>
                  </a:lnTo>
                  <a:lnTo>
                    <a:pt x="24583" y="6847"/>
                  </a:lnTo>
                  <a:lnTo>
                    <a:pt x="23852" y="7133"/>
                  </a:lnTo>
                  <a:lnTo>
                    <a:pt x="22745" y="7692"/>
                  </a:lnTo>
                  <a:lnTo>
                    <a:pt x="23510" y="7897"/>
                  </a:lnTo>
                  <a:lnTo>
                    <a:pt x="24400" y="7875"/>
                  </a:lnTo>
                  <a:lnTo>
                    <a:pt x="22757" y="8183"/>
                  </a:lnTo>
                  <a:lnTo>
                    <a:pt x="22757" y="8445"/>
                  </a:lnTo>
                  <a:lnTo>
                    <a:pt x="23556" y="8468"/>
                  </a:lnTo>
                  <a:lnTo>
                    <a:pt x="24834" y="8411"/>
                  </a:lnTo>
                  <a:lnTo>
                    <a:pt x="25770" y="8582"/>
                  </a:lnTo>
                  <a:lnTo>
                    <a:pt x="24879" y="8719"/>
                  </a:lnTo>
                  <a:lnTo>
                    <a:pt x="24092" y="8673"/>
                  </a:lnTo>
                  <a:lnTo>
                    <a:pt x="23088" y="8810"/>
                  </a:lnTo>
                  <a:lnTo>
                    <a:pt x="22608" y="8890"/>
                  </a:lnTo>
                  <a:lnTo>
                    <a:pt x="22700" y="9495"/>
                  </a:lnTo>
                  <a:lnTo>
                    <a:pt x="23293" y="9404"/>
                  </a:lnTo>
                  <a:lnTo>
                    <a:pt x="23887" y="9621"/>
                  </a:lnTo>
                  <a:lnTo>
                    <a:pt x="23841" y="9974"/>
                  </a:lnTo>
                  <a:lnTo>
                    <a:pt x="24948" y="9906"/>
                  </a:lnTo>
                  <a:lnTo>
                    <a:pt x="26546" y="9792"/>
                  </a:lnTo>
                  <a:lnTo>
                    <a:pt x="27892" y="9529"/>
                  </a:lnTo>
                  <a:lnTo>
                    <a:pt x="28600" y="9472"/>
                  </a:lnTo>
                  <a:lnTo>
                    <a:pt x="29422" y="9689"/>
                  </a:lnTo>
                  <a:lnTo>
                    <a:pt x="30380" y="9803"/>
                  </a:lnTo>
                  <a:lnTo>
                    <a:pt x="30814" y="9529"/>
                  </a:lnTo>
                  <a:lnTo>
                    <a:pt x="30722" y="9233"/>
                  </a:lnTo>
                  <a:lnTo>
                    <a:pt x="31715" y="9176"/>
                  </a:lnTo>
                  <a:lnTo>
                    <a:pt x="32092" y="8833"/>
                  </a:lnTo>
                  <a:lnTo>
                    <a:pt x="31373" y="8479"/>
                  </a:lnTo>
                  <a:lnTo>
                    <a:pt x="30768" y="8103"/>
                  </a:lnTo>
                  <a:lnTo>
                    <a:pt x="31111" y="7589"/>
                  </a:lnTo>
                  <a:lnTo>
                    <a:pt x="31499" y="6870"/>
                  </a:lnTo>
                  <a:lnTo>
                    <a:pt x="31190" y="6585"/>
                  </a:lnTo>
                  <a:lnTo>
                    <a:pt x="30757" y="6448"/>
                  </a:lnTo>
                  <a:lnTo>
                    <a:pt x="30163" y="6562"/>
                  </a:lnTo>
                  <a:lnTo>
                    <a:pt x="29764" y="7327"/>
                  </a:lnTo>
                  <a:lnTo>
                    <a:pt x="29148" y="7623"/>
                  </a:lnTo>
                  <a:lnTo>
                    <a:pt x="29467" y="6893"/>
                  </a:lnTo>
                  <a:lnTo>
                    <a:pt x="29216" y="6653"/>
                  </a:lnTo>
                  <a:lnTo>
                    <a:pt x="28178" y="7041"/>
                  </a:lnTo>
                  <a:lnTo>
                    <a:pt x="27812" y="6665"/>
                  </a:lnTo>
                  <a:lnTo>
                    <a:pt x="26329" y="6882"/>
                  </a:lnTo>
                  <a:close/>
                  <a:moveTo>
                    <a:pt x="32571" y="6323"/>
                  </a:moveTo>
                  <a:lnTo>
                    <a:pt x="32332" y="6163"/>
                  </a:lnTo>
                  <a:lnTo>
                    <a:pt x="31556" y="6197"/>
                  </a:lnTo>
                  <a:lnTo>
                    <a:pt x="31259" y="6300"/>
                  </a:lnTo>
                  <a:lnTo>
                    <a:pt x="31578" y="6813"/>
                  </a:lnTo>
                  <a:close/>
                  <a:moveTo>
                    <a:pt x="47932" y="6551"/>
                  </a:moveTo>
                  <a:lnTo>
                    <a:pt x="47304" y="6151"/>
                  </a:lnTo>
                  <a:lnTo>
                    <a:pt x="46106" y="6083"/>
                  </a:lnTo>
                  <a:lnTo>
                    <a:pt x="45809" y="6128"/>
                  </a:lnTo>
                  <a:lnTo>
                    <a:pt x="45570" y="6380"/>
                  </a:lnTo>
                  <a:lnTo>
                    <a:pt x="45855" y="6779"/>
                  </a:lnTo>
                  <a:lnTo>
                    <a:pt x="45981" y="6825"/>
                  </a:lnTo>
                  <a:lnTo>
                    <a:pt x="46665" y="6722"/>
                  </a:lnTo>
                  <a:lnTo>
                    <a:pt x="47247" y="6733"/>
                  </a:lnTo>
                  <a:lnTo>
                    <a:pt x="47841" y="6756"/>
                  </a:lnTo>
                  <a:close/>
                  <a:moveTo>
                    <a:pt x="42317" y="6505"/>
                  </a:moveTo>
                  <a:lnTo>
                    <a:pt x="43128" y="6049"/>
                  </a:lnTo>
                  <a:lnTo>
                    <a:pt x="41530" y="6243"/>
                  </a:lnTo>
                  <a:lnTo>
                    <a:pt x="40708" y="6539"/>
                  </a:lnTo>
                  <a:lnTo>
                    <a:pt x="39692" y="7190"/>
                  </a:lnTo>
                  <a:lnTo>
                    <a:pt x="39225" y="7932"/>
                  </a:lnTo>
                  <a:lnTo>
                    <a:pt x="40023" y="7954"/>
                  </a:lnTo>
                  <a:lnTo>
                    <a:pt x="39145" y="8274"/>
                  </a:lnTo>
                  <a:lnTo>
                    <a:pt x="39407" y="8548"/>
                  </a:lnTo>
                  <a:lnTo>
                    <a:pt x="40252" y="8662"/>
                  </a:lnTo>
                  <a:lnTo>
                    <a:pt x="41290" y="8879"/>
                  </a:lnTo>
                  <a:lnTo>
                    <a:pt x="43253" y="9050"/>
                  </a:lnTo>
                  <a:lnTo>
                    <a:pt x="44383" y="8959"/>
                  </a:lnTo>
                  <a:lnTo>
                    <a:pt x="44839" y="8730"/>
                  </a:lnTo>
                  <a:lnTo>
                    <a:pt x="45125" y="8993"/>
                  </a:lnTo>
                  <a:lnTo>
                    <a:pt x="45593" y="9039"/>
                  </a:lnTo>
                  <a:lnTo>
                    <a:pt x="45878" y="9507"/>
                  </a:lnTo>
                  <a:lnTo>
                    <a:pt x="45387" y="9701"/>
                  </a:lnTo>
                  <a:lnTo>
                    <a:pt x="46391" y="9963"/>
                  </a:lnTo>
                  <a:lnTo>
                    <a:pt x="47053" y="10328"/>
                  </a:lnTo>
                  <a:lnTo>
                    <a:pt x="47122" y="10602"/>
                  </a:lnTo>
                  <a:lnTo>
                    <a:pt x="47065" y="10944"/>
                  </a:lnTo>
                  <a:lnTo>
                    <a:pt x="45844" y="11720"/>
                  </a:lnTo>
                  <a:lnTo>
                    <a:pt x="45387" y="12097"/>
                  </a:lnTo>
                  <a:lnTo>
                    <a:pt x="45410" y="12382"/>
                  </a:lnTo>
                  <a:lnTo>
                    <a:pt x="44098" y="12485"/>
                  </a:lnTo>
                  <a:lnTo>
                    <a:pt x="42956" y="12496"/>
                  </a:lnTo>
                  <a:lnTo>
                    <a:pt x="42180" y="13101"/>
                  </a:lnTo>
                  <a:lnTo>
                    <a:pt x="42523" y="13375"/>
                  </a:lnTo>
                  <a:lnTo>
                    <a:pt x="44383" y="13238"/>
                  </a:lnTo>
                  <a:lnTo>
                    <a:pt x="44508" y="13010"/>
                  </a:lnTo>
                  <a:lnTo>
                    <a:pt x="45182" y="13398"/>
                  </a:lnTo>
                  <a:lnTo>
                    <a:pt x="45855" y="13809"/>
                  </a:lnTo>
                  <a:lnTo>
                    <a:pt x="45513" y="14037"/>
                  </a:lnTo>
                  <a:lnTo>
                    <a:pt x="46049" y="14437"/>
                  </a:lnTo>
                  <a:lnTo>
                    <a:pt x="47133" y="14916"/>
                  </a:lnTo>
                  <a:lnTo>
                    <a:pt x="48662" y="15235"/>
                  </a:lnTo>
                  <a:lnTo>
                    <a:pt x="48708" y="14950"/>
                  </a:lnTo>
                  <a:lnTo>
                    <a:pt x="48309" y="14459"/>
                  </a:lnTo>
                  <a:lnTo>
                    <a:pt x="47807" y="13752"/>
                  </a:lnTo>
                  <a:lnTo>
                    <a:pt x="49016" y="14414"/>
                  </a:lnTo>
                  <a:lnTo>
                    <a:pt x="49690" y="14631"/>
                  </a:lnTo>
                  <a:lnTo>
                    <a:pt x="50203" y="14037"/>
                  </a:lnTo>
                  <a:lnTo>
                    <a:pt x="50203" y="13238"/>
                  </a:lnTo>
                  <a:lnTo>
                    <a:pt x="50066" y="13033"/>
                  </a:lnTo>
                  <a:lnTo>
                    <a:pt x="49439" y="12668"/>
                  </a:lnTo>
                  <a:lnTo>
                    <a:pt x="49050" y="12200"/>
                  </a:lnTo>
                  <a:lnTo>
                    <a:pt x="49381" y="11743"/>
                  </a:lnTo>
                  <a:lnTo>
                    <a:pt x="50203" y="11641"/>
                  </a:lnTo>
                  <a:lnTo>
                    <a:pt x="50751" y="12417"/>
                  </a:lnTo>
                  <a:lnTo>
                    <a:pt x="51322" y="12759"/>
                  </a:lnTo>
                  <a:lnTo>
                    <a:pt x="52839" y="11835"/>
                  </a:lnTo>
                  <a:lnTo>
                    <a:pt x="53319" y="11275"/>
                  </a:lnTo>
                  <a:lnTo>
                    <a:pt x="52406" y="11230"/>
                  </a:lnTo>
                  <a:lnTo>
                    <a:pt x="51949" y="10499"/>
                  </a:lnTo>
                  <a:lnTo>
                    <a:pt x="51105" y="10328"/>
                  </a:lnTo>
                  <a:lnTo>
                    <a:pt x="49998" y="9837"/>
                  </a:lnTo>
                  <a:lnTo>
                    <a:pt x="51287" y="9472"/>
                  </a:lnTo>
                  <a:lnTo>
                    <a:pt x="51173" y="8765"/>
                  </a:lnTo>
                  <a:lnTo>
                    <a:pt x="50854" y="8468"/>
                  </a:lnTo>
                  <a:lnTo>
                    <a:pt x="49678" y="8160"/>
                  </a:lnTo>
                  <a:lnTo>
                    <a:pt x="49404" y="7692"/>
                  </a:lnTo>
                  <a:lnTo>
                    <a:pt x="48240" y="7863"/>
                  </a:lnTo>
                  <a:lnTo>
                    <a:pt x="48389" y="7532"/>
                  </a:lnTo>
                  <a:lnTo>
                    <a:pt x="47875" y="7178"/>
                  </a:lnTo>
                  <a:lnTo>
                    <a:pt x="46905" y="6813"/>
                  </a:lnTo>
                  <a:lnTo>
                    <a:pt x="46163" y="7110"/>
                  </a:lnTo>
                  <a:lnTo>
                    <a:pt x="44885" y="7327"/>
                  </a:lnTo>
                  <a:lnTo>
                    <a:pt x="45353" y="6836"/>
                  </a:lnTo>
                  <a:lnTo>
                    <a:pt x="45022" y="6083"/>
                  </a:lnTo>
                  <a:lnTo>
                    <a:pt x="43367" y="6380"/>
                  </a:lnTo>
                  <a:lnTo>
                    <a:pt x="42352" y="6962"/>
                  </a:lnTo>
                  <a:close/>
                  <a:moveTo>
                    <a:pt x="35185" y="6026"/>
                  </a:moveTo>
                  <a:lnTo>
                    <a:pt x="34169" y="6368"/>
                  </a:lnTo>
                  <a:lnTo>
                    <a:pt x="34295" y="6847"/>
                  </a:lnTo>
                  <a:lnTo>
                    <a:pt x="33245" y="6756"/>
                  </a:lnTo>
                  <a:lnTo>
                    <a:pt x="33005" y="6996"/>
                  </a:lnTo>
                  <a:lnTo>
                    <a:pt x="33827" y="7555"/>
                  </a:lnTo>
                  <a:lnTo>
                    <a:pt x="33952" y="7840"/>
                  </a:lnTo>
                  <a:lnTo>
                    <a:pt x="34443" y="7909"/>
                  </a:lnTo>
                  <a:lnTo>
                    <a:pt x="35641" y="7623"/>
                  </a:lnTo>
                  <a:lnTo>
                    <a:pt x="36360" y="6950"/>
                  </a:lnTo>
                  <a:lnTo>
                    <a:pt x="35824" y="6642"/>
                  </a:lnTo>
                  <a:lnTo>
                    <a:pt x="36680" y="6300"/>
                  </a:lnTo>
                  <a:lnTo>
                    <a:pt x="36748" y="6083"/>
                  </a:lnTo>
                  <a:lnTo>
                    <a:pt x="35675" y="6163"/>
                  </a:lnTo>
                  <a:close/>
                  <a:moveTo>
                    <a:pt x="38369" y="6790"/>
                  </a:moveTo>
                  <a:lnTo>
                    <a:pt x="39168" y="6653"/>
                  </a:lnTo>
                  <a:lnTo>
                    <a:pt x="40594" y="6014"/>
                  </a:lnTo>
                  <a:lnTo>
                    <a:pt x="39715" y="5843"/>
                  </a:lnTo>
                  <a:lnTo>
                    <a:pt x="38608" y="5809"/>
                  </a:lnTo>
                  <a:lnTo>
                    <a:pt x="37867" y="6014"/>
                  </a:lnTo>
                  <a:lnTo>
                    <a:pt x="37262" y="6311"/>
                  </a:lnTo>
                  <a:lnTo>
                    <a:pt x="36908" y="6676"/>
                  </a:lnTo>
                  <a:lnTo>
                    <a:pt x="36657" y="7327"/>
                  </a:lnTo>
                  <a:lnTo>
                    <a:pt x="37262" y="7350"/>
                  </a:lnTo>
                  <a:close/>
                  <a:moveTo>
                    <a:pt x="22004" y="7818"/>
                  </a:moveTo>
                  <a:lnTo>
                    <a:pt x="22369" y="7498"/>
                  </a:lnTo>
                  <a:lnTo>
                    <a:pt x="23670" y="6984"/>
                  </a:lnTo>
                  <a:lnTo>
                    <a:pt x="25644" y="6471"/>
                  </a:lnTo>
                  <a:lnTo>
                    <a:pt x="26557" y="6277"/>
                  </a:lnTo>
                  <a:lnTo>
                    <a:pt x="26329" y="5980"/>
                  </a:lnTo>
                  <a:lnTo>
                    <a:pt x="26055" y="5763"/>
                  </a:lnTo>
                  <a:lnTo>
                    <a:pt x="24708" y="5740"/>
                  </a:lnTo>
                  <a:lnTo>
                    <a:pt x="24126" y="5581"/>
                  </a:lnTo>
                  <a:lnTo>
                    <a:pt x="22129" y="5695"/>
                  </a:lnTo>
                  <a:lnTo>
                    <a:pt x="22083" y="6140"/>
                  </a:lnTo>
                  <a:lnTo>
                    <a:pt x="20999" y="6608"/>
                  </a:lnTo>
                  <a:lnTo>
                    <a:pt x="19949" y="7156"/>
                  </a:lnTo>
                  <a:lnTo>
                    <a:pt x="19333" y="7464"/>
                  </a:lnTo>
                  <a:lnTo>
                    <a:pt x="20178" y="7852"/>
                  </a:lnTo>
                  <a:lnTo>
                    <a:pt x="20086" y="8183"/>
                  </a:lnTo>
                  <a:close/>
                  <a:moveTo>
                    <a:pt x="39704" y="5216"/>
                  </a:moveTo>
                  <a:lnTo>
                    <a:pt x="39750" y="4987"/>
                  </a:lnTo>
                  <a:lnTo>
                    <a:pt x="39544" y="4736"/>
                  </a:lnTo>
                  <a:lnTo>
                    <a:pt x="38563" y="4930"/>
                  </a:lnTo>
                  <a:lnTo>
                    <a:pt x="37935" y="5238"/>
                  </a:lnTo>
                  <a:lnTo>
                    <a:pt x="38391" y="5421"/>
                  </a:lnTo>
                  <a:lnTo>
                    <a:pt x="39122" y="5478"/>
                  </a:lnTo>
                  <a:close/>
                  <a:moveTo>
                    <a:pt x="38460" y="3983"/>
                  </a:moveTo>
                  <a:lnTo>
                    <a:pt x="38300" y="4086"/>
                  </a:lnTo>
                  <a:lnTo>
                    <a:pt x="37615" y="4040"/>
                  </a:lnTo>
                  <a:lnTo>
                    <a:pt x="36531" y="4268"/>
                  </a:lnTo>
                  <a:lnTo>
                    <a:pt x="35995" y="4257"/>
                  </a:lnTo>
                  <a:lnTo>
                    <a:pt x="35379" y="4793"/>
                  </a:lnTo>
                  <a:lnTo>
                    <a:pt x="36326" y="4736"/>
                  </a:lnTo>
                  <a:lnTo>
                    <a:pt x="35835" y="5158"/>
                  </a:lnTo>
                  <a:lnTo>
                    <a:pt x="36292" y="5273"/>
                  </a:lnTo>
                  <a:lnTo>
                    <a:pt x="37262" y="5193"/>
                  </a:lnTo>
                  <a:lnTo>
                    <a:pt x="38095" y="4668"/>
                  </a:lnTo>
                  <a:lnTo>
                    <a:pt x="38494" y="4314"/>
                  </a:lnTo>
                  <a:close/>
                  <a:moveTo>
                    <a:pt x="32879" y="4337"/>
                  </a:moveTo>
                  <a:lnTo>
                    <a:pt x="33142" y="4017"/>
                  </a:lnTo>
                  <a:lnTo>
                    <a:pt x="32697" y="3937"/>
                  </a:lnTo>
                  <a:lnTo>
                    <a:pt x="31887" y="4188"/>
                  </a:lnTo>
                  <a:lnTo>
                    <a:pt x="31784" y="4850"/>
                  </a:lnTo>
                  <a:lnTo>
                    <a:pt x="30917" y="4793"/>
                  </a:lnTo>
                  <a:lnTo>
                    <a:pt x="30517" y="4382"/>
                  </a:lnTo>
                  <a:lnTo>
                    <a:pt x="29342" y="4154"/>
                  </a:lnTo>
                  <a:lnTo>
                    <a:pt x="28577" y="4360"/>
                  </a:lnTo>
                  <a:lnTo>
                    <a:pt x="26922" y="5044"/>
                  </a:lnTo>
                  <a:lnTo>
                    <a:pt x="27504" y="5158"/>
                  </a:lnTo>
                  <a:lnTo>
                    <a:pt x="30049" y="5079"/>
                  </a:lnTo>
                  <a:lnTo>
                    <a:pt x="28531" y="5398"/>
                  </a:lnTo>
                  <a:lnTo>
                    <a:pt x="28315" y="5626"/>
                  </a:lnTo>
                  <a:lnTo>
                    <a:pt x="29159" y="5615"/>
                  </a:lnTo>
                  <a:lnTo>
                    <a:pt x="30905" y="5295"/>
                  </a:lnTo>
                  <a:lnTo>
                    <a:pt x="32868" y="5181"/>
                  </a:lnTo>
                  <a:lnTo>
                    <a:pt x="33598" y="4850"/>
                  </a:lnTo>
                  <a:lnTo>
                    <a:pt x="33929" y="4508"/>
                  </a:lnTo>
                  <a:lnTo>
                    <a:pt x="33393" y="4485"/>
                  </a:lnTo>
                  <a:lnTo>
                    <a:pt x="32788" y="4599"/>
                  </a:lnTo>
                  <a:close/>
                  <a:moveTo>
                    <a:pt x="40754" y="3732"/>
                  </a:moveTo>
                  <a:lnTo>
                    <a:pt x="39750" y="3686"/>
                  </a:lnTo>
                  <a:lnTo>
                    <a:pt x="39202" y="3972"/>
                  </a:lnTo>
                  <a:lnTo>
                    <a:pt x="39578" y="4188"/>
                  </a:lnTo>
                  <a:lnTo>
                    <a:pt x="40571" y="4268"/>
                  </a:lnTo>
                  <a:lnTo>
                    <a:pt x="40777" y="4565"/>
                  </a:lnTo>
                  <a:lnTo>
                    <a:pt x="40457" y="4907"/>
                  </a:lnTo>
                  <a:lnTo>
                    <a:pt x="40240" y="5307"/>
                  </a:lnTo>
                  <a:lnTo>
                    <a:pt x="41461" y="5535"/>
                  </a:lnTo>
                  <a:lnTo>
                    <a:pt x="42237" y="5626"/>
                  </a:lnTo>
                  <a:lnTo>
                    <a:pt x="43379" y="5615"/>
                  </a:lnTo>
                  <a:lnTo>
                    <a:pt x="45045" y="5501"/>
                  </a:lnTo>
                  <a:lnTo>
                    <a:pt x="45650" y="5581"/>
                  </a:lnTo>
                  <a:lnTo>
                    <a:pt x="46608" y="5444"/>
                  </a:lnTo>
                  <a:lnTo>
                    <a:pt x="47110" y="5238"/>
                  </a:lnTo>
                  <a:lnTo>
                    <a:pt x="47247" y="4953"/>
                  </a:lnTo>
                  <a:lnTo>
                    <a:pt x="46928" y="4679"/>
                  </a:lnTo>
                  <a:lnTo>
                    <a:pt x="46095" y="4645"/>
                  </a:lnTo>
                  <a:lnTo>
                    <a:pt x="44954" y="4702"/>
                  </a:lnTo>
                  <a:lnTo>
                    <a:pt x="43961" y="4850"/>
                  </a:lnTo>
                  <a:lnTo>
                    <a:pt x="43230" y="4793"/>
                  </a:lnTo>
                  <a:lnTo>
                    <a:pt x="42546" y="4759"/>
                  </a:lnTo>
                  <a:lnTo>
                    <a:pt x="42374" y="4599"/>
                  </a:lnTo>
                  <a:lnTo>
                    <a:pt x="41929" y="4439"/>
                  </a:lnTo>
                  <a:lnTo>
                    <a:pt x="42329" y="4166"/>
                  </a:lnTo>
                  <a:lnTo>
                    <a:pt x="42135" y="3937"/>
                  </a:lnTo>
                  <a:lnTo>
                    <a:pt x="41085" y="3960"/>
                  </a:lnTo>
                  <a:close/>
                  <a:moveTo>
                    <a:pt x="30061" y="3355"/>
                  </a:moveTo>
                  <a:lnTo>
                    <a:pt x="29205" y="3458"/>
                  </a:lnTo>
                  <a:lnTo>
                    <a:pt x="28417" y="3447"/>
                  </a:lnTo>
                  <a:lnTo>
                    <a:pt x="26694" y="3880"/>
                  </a:lnTo>
                  <a:lnTo>
                    <a:pt x="25039" y="4417"/>
                  </a:lnTo>
                  <a:lnTo>
                    <a:pt x="25039" y="4417"/>
                  </a:lnTo>
                  <a:lnTo>
                    <a:pt x="25553" y="4554"/>
                  </a:lnTo>
                  <a:lnTo>
                    <a:pt x="26546" y="4451"/>
                  </a:lnTo>
                  <a:lnTo>
                    <a:pt x="27949" y="4154"/>
                  </a:lnTo>
                  <a:lnTo>
                    <a:pt x="28486" y="4109"/>
                  </a:lnTo>
                  <a:lnTo>
                    <a:pt x="29227" y="3880"/>
                  </a:lnTo>
                  <a:close/>
                  <a:moveTo>
                    <a:pt x="41541" y="3447"/>
                  </a:moveTo>
                  <a:lnTo>
                    <a:pt x="41690" y="3367"/>
                  </a:lnTo>
                  <a:lnTo>
                    <a:pt x="41473" y="3241"/>
                  </a:lnTo>
                  <a:lnTo>
                    <a:pt x="40446" y="3230"/>
                  </a:lnTo>
                  <a:lnTo>
                    <a:pt x="40354" y="3412"/>
                  </a:lnTo>
                  <a:lnTo>
                    <a:pt x="41267" y="3458"/>
                  </a:lnTo>
                  <a:close/>
                  <a:moveTo>
                    <a:pt x="33210" y="3333"/>
                  </a:moveTo>
                  <a:lnTo>
                    <a:pt x="33667" y="3127"/>
                  </a:lnTo>
                  <a:lnTo>
                    <a:pt x="33085" y="3013"/>
                  </a:lnTo>
                  <a:lnTo>
                    <a:pt x="32240" y="3081"/>
                  </a:lnTo>
                  <a:lnTo>
                    <a:pt x="31521" y="3298"/>
                  </a:lnTo>
                  <a:lnTo>
                    <a:pt x="31989" y="3515"/>
                  </a:lnTo>
                  <a:close/>
                  <a:moveTo>
                    <a:pt x="34329" y="2728"/>
                  </a:moveTo>
                  <a:lnTo>
                    <a:pt x="33861" y="2602"/>
                  </a:lnTo>
                  <a:lnTo>
                    <a:pt x="33621" y="2568"/>
                  </a:lnTo>
                  <a:lnTo>
                    <a:pt x="32811" y="2762"/>
                  </a:lnTo>
                  <a:lnTo>
                    <a:pt x="32674" y="2853"/>
                  </a:lnTo>
                  <a:lnTo>
                    <a:pt x="33530" y="2853"/>
                  </a:lnTo>
                  <a:close/>
                  <a:moveTo>
                    <a:pt x="40948" y="3081"/>
                  </a:moveTo>
                  <a:lnTo>
                    <a:pt x="41370" y="2842"/>
                  </a:lnTo>
                  <a:lnTo>
                    <a:pt x="41039" y="2614"/>
                  </a:lnTo>
                  <a:lnTo>
                    <a:pt x="40799" y="2568"/>
                  </a:lnTo>
                  <a:lnTo>
                    <a:pt x="40172" y="2556"/>
                  </a:lnTo>
                  <a:lnTo>
                    <a:pt x="39875" y="2819"/>
                  </a:lnTo>
                  <a:lnTo>
                    <a:pt x="39772" y="3070"/>
                  </a:lnTo>
                  <a:lnTo>
                    <a:pt x="40001" y="3230"/>
                  </a:lnTo>
                  <a:close/>
                  <a:moveTo>
                    <a:pt x="38985" y="2910"/>
                  </a:moveTo>
                  <a:lnTo>
                    <a:pt x="39008" y="2602"/>
                  </a:lnTo>
                  <a:lnTo>
                    <a:pt x="37946" y="2362"/>
                  </a:lnTo>
                  <a:lnTo>
                    <a:pt x="37079" y="2271"/>
                  </a:lnTo>
                  <a:lnTo>
                    <a:pt x="36782" y="2511"/>
                  </a:lnTo>
                  <a:lnTo>
                    <a:pt x="37182" y="2671"/>
                  </a:lnTo>
                  <a:lnTo>
                    <a:pt x="36417" y="2876"/>
                  </a:lnTo>
                  <a:lnTo>
                    <a:pt x="37524" y="2899"/>
                  </a:lnTo>
                  <a:lnTo>
                    <a:pt x="38095" y="3116"/>
                  </a:lnTo>
                  <a:lnTo>
                    <a:pt x="38837" y="3184"/>
                  </a:lnTo>
                  <a:close/>
                  <a:moveTo>
                    <a:pt x="46654" y="2043"/>
                  </a:moveTo>
                  <a:lnTo>
                    <a:pt x="46734" y="1644"/>
                  </a:lnTo>
                  <a:lnTo>
                    <a:pt x="46060" y="1529"/>
                  </a:lnTo>
                  <a:lnTo>
                    <a:pt x="45399" y="1404"/>
                  </a:lnTo>
                  <a:lnTo>
                    <a:pt x="45170" y="1084"/>
                  </a:lnTo>
                  <a:lnTo>
                    <a:pt x="43995" y="1119"/>
                  </a:lnTo>
                  <a:lnTo>
                    <a:pt x="44041" y="1244"/>
                  </a:lnTo>
                  <a:lnTo>
                    <a:pt x="43481" y="1290"/>
                  </a:lnTo>
                  <a:lnTo>
                    <a:pt x="42899" y="1472"/>
                  </a:lnTo>
                  <a:lnTo>
                    <a:pt x="42203" y="1746"/>
                  </a:lnTo>
                  <a:lnTo>
                    <a:pt x="42158" y="2020"/>
                  </a:lnTo>
                  <a:lnTo>
                    <a:pt x="42443" y="2226"/>
                  </a:lnTo>
                  <a:lnTo>
                    <a:pt x="43367" y="2226"/>
                  </a:lnTo>
                  <a:lnTo>
                    <a:pt x="42751" y="2397"/>
                  </a:lnTo>
                  <a:lnTo>
                    <a:pt x="42454" y="2625"/>
                  </a:lnTo>
                  <a:lnTo>
                    <a:pt x="42682" y="2899"/>
                  </a:lnTo>
                  <a:lnTo>
                    <a:pt x="43641" y="2990"/>
                  </a:lnTo>
                  <a:lnTo>
                    <a:pt x="44611" y="2933"/>
                  </a:lnTo>
                  <a:lnTo>
                    <a:pt x="46106" y="2442"/>
                  </a:lnTo>
                  <a:lnTo>
                    <a:pt x="47019" y="2260"/>
                  </a:lnTo>
                  <a:close/>
                  <a:moveTo>
                    <a:pt x="57849" y="80"/>
                  </a:moveTo>
                  <a:lnTo>
                    <a:pt x="56845" y="46"/>
                  </a:lnTo>
                  <a:lnTo>
                    <a:pt x="55864" y="0"/>
                  </a:lnTo>
                  <a:lnTo>
                    <a:pt x="54414" y="91"/>
                  </a:lnTo>
                  <a:lnTo>
                    <a:pt x="54209" y="34"/>
                  </a:lnTo>
                  <a:lnTo>
                    <a:pt x="52748" y="57"/>
                  </a:lnTo>
                  <a:lnTo>
                    <a:pt x="51835" y="114"/>
                  </a:lnTo>
                  <a:lnTo>
                    <a:pt x="51105" y="206"/>
                  </a:lnTo>
                  <a:lnTo>
                    <a:pt x="50386" y="491"/>
                  </a:lnTo>
                  <a:lnTo>
                    <a:pt x="50066" y="343"/>
                  </a:lnTo>
                  <a:lnTo>
                    <a:pt x="49507" y="320"/>
                  </a:lnTo>
                  <a:lnTo>
                    <a:pt x="48548" y="514"/>
                  </a:lnTo>
                  <a:lnTo>
                    <a:pt x="47498" y="605"/>
                  </a:lnTo>
                  <a:lnTo>
                    <a:pt x="46905" y="616"/>
                  </a:lnTo>
                  <a:lnTo>
                    <a:pt x="46049" y="731"/>
                  </a:lnTo>
                  <a:lnTo>
                    <a:pt x="45901" y="913"/>
                  </a:lnTo>
                  <a:lnTo>
                    <a:pt x="46254" y="1084"/>
                  </a:lnTo>
                  <a:lnTo>
                    <a:pt x="46369" y="1313"/>
                  </a:lnTo>
                  <a:lnTo>
                    <a:pt x="46996" y="1529"/>
                  </a:lnTo>
                  <a:lnTo>
                    <a:pt x="48765" y="1484"/>
                  </a:lnTo>
                  <a:lnTo>
                    <a:pt x="49792" y="1564"/>
                  </a:lnTo>
                  <a:lnTo>
                    <a:pt x="48765" y="1769"/>
                  </a:lnTo>
                  <a:lnTo>
                    <a:pt x="48446" y="1712"/>
                  </a:lnTo>
                  <a:lnTo>
                    <a:pt x="47122" y="1689"/>
                  </a:lnTo>
                  <a:lnTo>
                    <a:pt x="46962" y="1997"/>
                  </a:lnTo>
                  <a:lnTo>
                    <a:pt x="47396" y="2248"/>
                  </a:lnTo>
                  <a:lnTo>
                    <a:pt x="46996" y="2477"/>
                  </a:lnTo>
                  <a:lnTo>
                    <a:pt x="45924" y="2625"/>
                  </a:lnTo>
                  <a:lnTo>
                    <a:pt x="45227" y="2876"/>
                  </a:lnTo>
                  <a:lnTo>
                    <a:pt x="45912" y="3002"/>
                  </a:lnTo>
                  <a:lnTo>
                    <a:pt x="46152" y="3424"/>
                  </a:lnTo>
                  <a:lnTo>
                    <a:pt x="45079" y="3139"/>
                  </a:lnTo>
                  <a:lnTo>
                    <a:pt x="44725" y="3184"/>
                  </a:lnTo>
                  <a:lnTo>
                    <a:pt x="44440" y="3675"/>
                  </a:lnTo>
                  <a:lnTo>
                    <a:pt x="43299" y="3823"/>
                  </a:lnTo>
                  <a:lnTo>
                    <a:pt x="43013" y="4154"/>
                  </a:lnTo>
                  <a:lnTo>
                    <a:pt x="43972" y="4200"/>
                  </a:lnTo>
                  <a:lnTo>
                    <a:pt x="44668" y="4280"/>
                  </a:lnTo>
                  <a:lnTo>
                    <a:pt x="46334" y="4166"/>
                  </a:lnTo>
                  <a:lnTo>
                    <a:pt x="47533" y="4371"/>
                  </a:lnTo>
                  <a:lnTo>
                    <a:pt x="49336" y="3937"/>
                  </a:lnTo>
                  <a:lnTo>
                    <a:pt x="49473" y="3789"/>
                  </a:lnTo>
                  <a:lnTo>
                    <a:pt x="48560" y="3812"/>
                  </a:lnTo>
                  <a:lnTo>
                    <a:pt x="48640" y="3652"/>
                  </a:lnTo>
                  <a:lnTo>
                    <a:pt x="49564" y="3458"/>
                  </a:lnTo>
                  <a:lnTo>
                    <a:pt x="50078" y="3184"/>
                  </a:lnTo>
                  <a:lnTo>
                    <a:pt x="51048" y="3002"/>
                  </a:lnTo>
                  <a:lnTo>
                    <a:pt x="51755" y="2773"/>
                  </a:lnTo>
                  <a:lnTo>
                    <a:pt x="51641" y="2454"/>
                  </a:lnTo>
                  <a:lnTo>
                    <a:pt x="52120" y="2340"/>
                  </a:lnTo>
                  <a:lnTo>
                    <a:pt x="51504" y="2260"/>
                  </a:lnTo>
                  <a:lnTo>
                    <a:pt x="53090" y="2203"/>
                  </a:lnTo>
                  <a:lnTo>
                    <a:pt x="53547" y="2077"/>
                  </a:lnTo>
                  <a:lnTo>
                    <a:pt x="54665" y="1963"/>
                  </a:lnTo>
                  <a:lnTo>
                    <a:pt x="56001" y="1461"/>
                  </a:lnTo>
                  <a:lnTo>
                    <a:pt x="56971" y="1301"/>
                  </a:lnTo>
                  <a:lnTo>
                    <a:pt x="58431" y="947"/>
                  </a:lnTo>
                  <a:lnTo>
                    <a:pt x="57381" y="947"/>
                  </a:lnTo>
                  <a:lnTo>
                    <a:pt x="57941" y="822"/>
                  </a:lnTo>
                  <a:lnTo>
                    <a:pt x="59219" y="708"/>
                  </a:lnTo>
                  <a:lnTo>
                    <a:pt x="60600" y="479"/>
                  </a:lnTo>
                  <a:lnTo>
                    <a:pt x="60759" y="320"/>
                  </a:lnTo>
                  <a:lnTo>
                    <a:pt x="60018" y="171"/>
                  </a:lnTo>
                  <a:lnTo>
                    <a:pt x="59059" y="11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60" name="Google Shape;231;p29">
              <a:extLst>
                <a:ext uri="{FF2B5EF4-FFF2-40B4-BE49-F238E27FC236}">
                  <a16:creationId xmlns:a16="http://schemas.microsoft.com/office/drawing/2014/main" id="{B81A1F64-663B-4164-8D82-6995BC05AFF3}"/>
                </a:ext>
              </a:extLst>
            </p:cNvPr>
            <p:cNvSpPr/>
            <p:nvPr/>
          </p:nvSpPr>
          <p:spPr>
            <a:xfrm>
              <a:off x="3828675" y="2029950"/>
              <a:ext cx="78200" cy="45675"/>
            </a:xfrm>
            <a:custGeom>
              <a:avLst/>
              <a:gdLst/>
              <a:ahLst/>
              <a:cxnLst/>
              <a:rect l="l" t="t" r="r" b="b"/>
              <a:pathLst>
                <a:path w="3128" h="1827" extrusionOk="0">
                  <a:moveTo>
                    <a:pt x="2500" y="274"/>
                  </a:moveTo>
                  <a:lnTo>
                    <a:pt x="1724" y="0"/>
                  </a:lnTo>
                  <a:lnTo>
                    <a:pt x="1587" y="195"/>
                  </a:lnTo>
                  <a:lnTo>
                    <a:pt x="982" y="195"/>
                  </a:lnTo>
                  <a:lnTo>
                    <a:pt x="799" y="343"/>
                  </a:lnTo>
                  <a:lnTo>
                    <a:pt x="468" y="252"/>
                  </a:lnTo>
                  <a:lnTo>
                    <a:pt x="503" y="480"/>
                  </a:lnTo>
                  <a:lnTo>
                    <a:pt x="1" y="982"/>
                  </a:lnTo>
                  <a:lnTo>
                    <a:pt x="1" y="1381"/>
                  </a:lnTo>
                  <a:lnTo>
                    <a:pt x="343" y="1256"/>
                  </a:lnTo>
                  <a:lnTo>
                    <a:pt x="605" y="1644"/>
                  </a:lnTo>
                  <a:lnTo>
                    <a:pt x="913" y="1826"/>
                  </a:lnTo>
                  <a:lnTo>
                    <a:pt x="1256" y="1781"/>
                  </a:lnTo>
                  <a:lnTo>
                    <a:pt x="1644" y="1484"/>
                  </a:lnTo>
                  <a:lnTo>
                    <a:pt x="1769" y="1621"/>
                  </a:lnTo>
                  <a:lnTo>
                    <a:pt x="2112" y="1598"/>
                  </a:lnTo>
                  <a:lnTo>
                    <a:pt x="2237" y="1244"/>
                  </a:lnTo>
                  <a:lnTo>
                    <a:pt x="2785" y="1359"/>
                  </a:lnTo>
                  <a:lnTo>
                    <a:pt x="3082" y="1199"/>
                  </a:lnTo>
                  <a:lnTo>
                    <a:pt x="3127" y="845"/>
                  </a:lnTo>
                  <a:lnTo>
                    <a:pt x="2751" y="811"/>
                  </a:lnTo>
                  <a:lnTo>
                    <a:pt x="2431" y="651"/>
                  </a:lnTo>
                  <a:lnTo>
                    <a:pt x="2523" y="42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61" name="Google Shape;232;p29">
              <a:extLst>
                <a:ext uri="{FF2B5EF4-FFF2-40B4-BE49-F238E27FC236}">
                  <a16:creationId xmlns:a16="http://schemas.microsoft.com/office/drawing/2014/main" id="{067C55A8-DE68-497E-A0B3-F649829FBBA5}"/>
                </a:ext>
              </a:extLst>
            </p:cNvPr>
            <p:cNvSpPr/>
            <p:nvPr/>
          </p:nvSpPr>
          <p:spPr>
            <a:xfrm>
              <a:off x="2331975" y="3510975"/>
              <a:ext cx="267625" cy="852800"/>
            </a:xfrm>
            <a:custGeom>
              <a:avLst/>
              <a:gdLst/>
              <a:ahLst/>
              <a:cxnLst/>
              <a:rect l="l" t="t" r="r" b="b"/>
              <a:pathLst>
                <a:path w="10705" h="34112" extrusionOk="0">
                  <a:moveTo>
                    <a:pt x="8742" y="31555"/>
                  </a:moveTo>
                  <a:lnTo>
                    <a:pt x="8217" y="31452"/>
                  </a:lnTo>
                  <a:lnTo>
                    <a:pt x="7749" y="31817"/>
                  </a:lnTo>
                  <a:lnTo>
                    <a:pt x="7772" y="32399"/>
                  </a:lnTo>
                  <a:lnTo>
                    <a:pt x="7601" y="32799"/>
                  </a:lnTo>
                  <a:lnTo>
                    <a:pt x="6574" y="32479"/>
                  </a:lnTo>
                  <a:lnTo>
                    <a:pt x="5341" y="31909"/>
                  </a:lnTo>
                  <a:lnTo>
                    <a:pt x="4702" y="31726"/>
                  </a:lnTo>
                  <a:lnTo>
                    <a:pt x="6083" y="32696"/>
                  </a:lnTo>
                  <a:lnTo>
                    <a:pt x="6984" y="33152"/>
                  </a:lnTo>
                  <a:lnTo>
                    <a:pt x="8057" y="33643"/>
                  </a:lnTo>
                  <a:lnTo>
                    <a:pt x="8810" y="33769"/>
                  </a:lnTo>
                  <a:lnTo>
                    <a:pt x="9427" y="34020"/>
                  </a:lnTo>
                  <a:lnTo>
                    <a:pt x="9849" y="34088"/>
                  </a:lnTo>
                  <a:lnTo>
                    <a:pt x="10180" y="34111"/>
                  </a:lnTo>
                  <a:lnTo>
                    <a:pt x="10636" y="33849"/>
                  </a:lnTo>
                  <a:lnTo>
                    <a:pt x="10705" y="33506"/>
                  </a:lnTo>
                  <a:lnTo>
                    <a:pt x="10294" y="33483"/>
                  </a:lnTo>
                  <a:lnTo>
                    <a:pt x="9586" y="33483"/>
                  </a:lnTo>
                  <a:close/>
                  <a:moveTo>
                    <a:pt x="1997" y="3549"/>
                  </a:moveTo>
                  <a:lnTo>
                    <a:pt x="1472" y="2545"/>
                  </a:lnTo>
                  <a:lnTo>
                    <a:pt x="1621" y="1655"/>
                  </a:lnTo>
                  <a:lnTo>
                    <a:pt x="1164" y="1267"/>
                  </a:lnTo>
                  <a:lnTo>
                    <a:pt x="993" y="616"/>
                  </a:lnTo>
                  <a:lnTo>
                    <a:pt x="548" y="0"/>
                  </a:lnTo>
                  <a:lnTo>
                    <a:pt x="377" y="468"/>
                  </a:lnTo>
                  <a:lnTo>
                    <a:pt x="0" y="696"/>
                  </a:lnTo>
                  <a:lnTo>
                    <a:pt x="297" y="1986"/>
                  </a:lnTo>
                  <a:lnTo>
                    <a:pt x="514" y="3469"/>
                  </a:lnTo>
                  <a:lnTo>
                    <a:pt x="491" y="5489"/>
                  </a:lnTo>
                  <a:lnTo>
                    <a:pt x="491" y="7372"/>
                  </a:lnTo>
                  <a:lnTo>
                    <a:pt x="628" y="9130"/>
                  </a:lnTo>
                  <a:lnTo>
                    <a:pt x="354" y="10248"/>
                  </a:lnTo>
                  <a:lnTo>
                    <a:pt x="651" y="11355"/>
                  </a:lnTo>
                  <a:lnTo>
                    <a:pt x="582" y="12108"/>
                  </a:lnTo>
                  <a:lnTo>
                    <a:pt x="1039" y="13466"/>
                  </a:lnTo>
                  <a:lnTo>
                    <a:pt x="1027" y="14825"/>
                  </a:lnTo>
                  <a:lnTo>
                    <a:pt x="856" y="16274"/>
                  </a:lnTo>
                  <a:lnTo>
                    <a:pt x="765" y="17769"/>
                  </a:lnTo>
                  <a:lnTo>
                    <a:pt x="468" y="17803"/>
                  </a:lnTo>
                  <a:lnTo>
                    <a:pt x="810" y="18842"/>
                  </a:lnTo>
                  <a:lnTo>
                    <a:pt x="1278" y="19743"/>
                  </a:lnTo>
                  <a:lnTo>
                    <a:pt x="1119" y="20359"/>
                  </a:lnTo>
                  <a:lnTo>
                    <a:pt x="1392" y="22014"/>
                  </a:lnTo>
                  <a:lnTo>
                    <a:pt x="1609" y="23270"/>
                  </a:lnTo>
                  <a:lnTo>
                    <a:pt x="2111" y="23395"/>
                  </a:lnTo>
                  <a:lnTo>
                    <a:pt x="1952" y="22299"/>
                  </a:lnTo>
                  <a:lnTo>
                    <a:pt x="2522" y="22528"/>
                  </a:lnTo>
                  <a:lnTo>
                    <a:pt x="2773" y="24331"/>
                  </a:lnTo>
                  <a:lnTo>
                    <a:pt x="1860" y="24034"/>
                  </a:lnTo>
                  <a:lnTo>
                    <a:pt x="2146" y="25495"/>
                  </a:lnTo>
                  <a:lnTo>
                    <a:pt x="1769" y="26271"/>
                  </a:lnTo>
                  <a:lnTo>
                    <a:pt x="2933" y="26533"/>
                  </a:lnTo>
                  <a:lnTo>
                    <a:pt x="2454" y="27218"/>
                  </a:lnTo>
                  <a:lnTo>
                    <a:pt x="2477" y="28074"/>
                  </a:lnTo>
                  <a:lnTo>
                    <a:pt x="3196" y="29580"/>
                  </a:lnTo>
                  <a:lnTo>
                    <a:pt x="3789" y="30174"/>
                  </a:lnTo>
                  <a:lnTo>
                    <a:pt x="3823" y="30687"/>
                  </a:lnTo>
                  <a:lnTo>
                    <a:pt x="4291" y="31224"/>
                  </a:lnTo>
                  <a:lnTo>
                    <a:pt x="5364" y="31726"/>
                  </a:lnTo>
                  <a:lnTo>
                    <a:pt x="5364" y="31726"/>
                  </a:lnTo>
                  <a:lnTo>
                    <a:pt x="6414" y="32319"/>
                  </a:lnTo>
                  <a:lnTo>
                    <a:pt x="7304" y="32605"/>
                  </a:lnTo>
                  <a:lnTo>
                    <a:pt x="7589" y="32593"/>
                  </a:lnTo>
                  <a:lnTo>
                    <a:pt x="7327" y="31783"/>
                  </a:lnTo>
                  <a:lnTo>
                    <a:pt x="7817" y="31463"/>
                  </a:lnTo>
                  <a:lnTo>
                    <a:pt x="8057" y="31258"/>
                  </a:lnTo>
                  <a:lnTo>
                    <a:pt x="8651" y="31258"/>
                  </a:lnTo>
                  <a:lnTo>
                    <a:pt x="7966" y="31121"/>
                  </a:lnTo>
                  <a:lnTo>
                    <a:pt x="6254" y="31007"/>
                  </a:lnTo>
                  <a:lnTo>
                    <a:pt x="5763" y="30493"/>
                  </a:lnTo>
                  <a:lnTo>
                    <a:pt x="5501" y="29843"/>
                  </a:lnTo>
                  <a:lnTo>
                    <a:pt x="5056" y="29900"/>
                  </a:lnTo>
                  <a:lnTo>
                    <a:pt x="4691" y="29580"/>
                  </a:lnTo>
                  <a:lnTo>
                    <a:pt x="4245" y="28645"/>
                  </a:lnTo>
                  <a:lnTo>
                    <a:pt x="4633" y="28257"/>
                  </a:lnTo>
                  <a:lnTo>
                    <a:pt x="4645" y="27697"/>
                  </a:lnTo>
                  <a:lnTo>
                    <a:pt x="4394" y="27241"/>
                  </a:lnTo>
                  <a:lnTo>
                    <a:pt x="4497" y="26488"/>
                  </a:lnTo>
                  <a:lnTo>
                    <a:pt x="4337" y="25324"/>
                  </a:lnTo>
                  <a:lnTo>
                    <a:pt x="4074" y="24787"/>
                  </a:lnTo>
                  <a:lnTo>
                    <a:pt x="4337" y="24639"/>
                  </a:lnTo>
                  <a:lnTo>
                    <a:pt x="4154" y="24308"/>
                  </a:lnTo>
                  <a:lnTo>
                    <a:pt x="3755" y="24125"/>
                  </a:lnTo>
                  <a:lnTo>
                    <a:pt x="3869" y="23749"/>
                  </a:lnTo>
                  <a:lnTo>
                    <a:pt x="3424" y="23418"/>
                  </a:lnTo>
                  <a:lnTo>
                    <a:pt x="2910" y="22414"/>
                  </a:lnTo>
                  <a:lnTo>
                    <a:pt x="3138" y="22242"/>
                  </a:lnTo>
                  <a:lnTo>
                    <a:pt x="2671" y="21158"/>
                  </a:lnTo>
                  <a:lnTo>
                    <a:pt x="2568" y="20245"/>
                  </a:lnTo>
                  <a:lnTo>
                    <a:pt x="2522" y="19424"/>
                  </a:lnTo>
                  <a:lnTo>
                    <a:pt x="2876" y="19081"/>
                  </a:lnTo>
                  <a:lnTo>
                    <a:pt x="2408" y="18191"/>
                  </a:lnTo>
                  <a:lnTo>
                    <a:pt x="2191" y="17347"/>
                  </a:lnTo>
                  <a:lnTo>
                    <a:pt x="2614" y="16730"/>
                  </a:lnTo>
                  <a:lnTo>
                    <a:pt x="2408" y="15966"/>
                  </a:lnTo>
                  <a:lnTo>
                    <a:pt x="2636" y="15076"/>
                  </a:lnTo>
                  <a:lnTo>
                    <a:pt x="2454" y="14231"/>
                  </a:lnTo>
                  <a:lnTo>
                    <a:pt x="2225" y="14060"/>
                  </a:lnTo>
                  <a:lnTo>
                    <a:pt x="1529" y="12508"/>
                  </a:lnTo>
                  <a:lnTo>
                    <a:pt x="1826" y="11583"/>
                  </a:lnTo>
                  <a:lnTo>
                    <a:pt x="1586" y="10693"/>
                  </a:lnTo>
                  <a:lnTo>
                    <a:pt x="1712" y="9872"/>
                  </a:lnTo>
                  <a:lnTo>
                    <a:pt x="2077" y="9027"/>
                  </a:lnTo>
                  <a:lnTo>
                    <a:pt x="2534" y="8457"/>
                  </a:lnTo>
                  <a:lnTo>
                    <a:pt x="2248" y="8103"/>
                  </a:lnTo>
                  <a:lnTo>
                    <a:pt x="2385" y="7817"/>
                  </a:lnTo>
                  <a:lnTo>
                    <a:pt x="2157" y="6300"/>
                  </a:lnTo>
                  <a:lnTo>
                    <a:pt x="2956" y="5843"/>
                  </a:lnTo>
                  <a:lnTo>
                    <a:pt x="3104" y="4907"/>
                  </a:lnTo>
                  <a:lnTo>
                    <a:pt x="2979" y="4679"/>
                  </a:lnTo>
                  <a:lnTo>
                    <a:pt x="2442" y="480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62" name="Google Shape;233;p29">
              <a:extLst>
                <a:ext uri="{FF2B5EF4-FFF2-40B4-BE49-F238E27FC236}">
                  <a16:creationId xmlns:a16="http://schemas.microsoft.com/office/drawing/2014/main" id="{BE594346-D847-4749-80DD-B071CD92EB23}"/>
                </a:ext>
              </a:extLst>
            </p:cNvPr>
            <p:cNvSpPr/>
            <p:nvPr/>
          </p:nvSpPr>
          <p:spPr>
            <a:xfrm>
              <a:off x="5085725" y="1906425"/>
              <a:ext cx="1024275" cy="792875"/>
            </a:xfrm>
            <a:custGeom>
              <a:avLst/>
              <a:gdLst/>
              <a:ahLst/>
              <a:cxnLst/>
              <a:rect l="l" t="t" r="r" b="b"/>
              <a:pathLst>
                <a:path w="40971" h="31715" extrusionOk="0">
                  <a:moveTo>
                    <a:pt x="32514" y="31269"/>
                  </a:moveTo>
                  <a:lnTo>
                    <a:pt x="32605" y="30756"/>
                  </a:lnTo>
                  <a:lnTo>
                    <a:pt x="32891" y="30356"/>
                  </a:lnTo>
                  <a:lnTo>
                    <a:pt x="32662" y="30003"/>
                  </a:lnTo>
                  <a:lnTo>
                    <a:pt x="32206" y="29991"/>
                  </a:lnTo>
                  <a:lnTo>
                    <a:pt x="31373" y="30242"/>
                  </a:lnTo>
                  <a:lnTo>
                    <a:pt x="31065" y="30642"/>
                  </a:lnTo>
                  <a:lnTo>
                    <a:pt x="31202" y="31429"/>
                  </a:lnTo>
                  <a:lnTo>
                    <a:pt x="31898" y="31714"/>
                  </a:lnTo>
                  <a:close/>
                  <a:moveTo>
                    <a:pt x="34397" y="3241"/>
                  </a:moveTo>
                  <a:lnTo>
                    <a:pt x="33530" y="2374"/>
                  </a:lnTo>
                  <a:lnTo>
                    <a:pt x="32902" y="1849"/>
                  </a:lnTo>
                  <a:lnTo>
                    <a:pt x="32354" y="1461"/>
                  </a:lnTo>
                  <a:lnTo>
                    <a:pt x="31259" y="593"/>
                  </a:lnTo>
                  <a:lnTo>
                    <a:pt x="30414" y="263"/>
                  </a:lnTo>
                  <a:lnTo>
                    <a:pt x="29204" y="0"/>
                  </a:lnTo>
                  <a:lnTo>
                    <a:pt x="28326" y="34"/>
                  </a:lnTo>
                  <a:lnTo>
                    <a:pt x="27595" y="194"/>
                  </a:lnTo>
                  <a:lnTo>
                    <a:pt x="27356" y="616"/>
                  </a:lnTo>
                  <a:lnTo>
                    <a:pt x="27881" y="833"/>
                  </a:lnTo>
                  <a:lnTo>
                    <a:pt x="28234" y="1301"/>
                  </a:lnTo>
                  <a:lnTo>
                    <a:pt x="28063" y="1586"/>
                  </a:lnTo>
                  <a:lnTo>
                    <a:pt x="28075" y="2511"/>
                  </a:lnTo>
                  <a:lnTo>
                    <a:pt x="28349" y="2899"/>
                  </a:lnTo>
                  <a:lnTo>
                    <a:pt x="27721" y="3458"/>
                  </a:lnTo>
                  <a:lnTo>
                    <a:pt x="26682" y="3127"/>
                  </a:lnTo>
                  <a:lnTo>
                    <a:pt x="26762" y="3789"/>
                  </a:lnTo>
                  <a:lnTo>
                    <a:pt x="26808" y="4668"/>
                  </a:lnTo>
                  <a:lnTo>
                    <a:pt x="27196" y="5044"/>
                  </a:lnTo>
                  <a:lnTo>
                    <a:pt x="27538" y="4930"/>
                  </a:lnTo>
                  <a:lnTo>
                    <a:pt x="28303" y="5067"/>
                  </a:lnTo>
                  <a:lnTo>
                    <a:pt x="28668" y="4736"/>
                  </a:lnTo>
                  <a:lnTo>
                    <a:pt x="29387" y="5021"/>
                  </a:lnTo>
                  <a:lnTo>
                    <a:pt x="30414" y="5638"/>
                  </a:lnTo>
                  <a:lnTo>
                    <a:pt x="30517" y="5957"/>
                  </a:lnTo>
                  <a:lnTo>
                    <a:pt x="29901" y="5854"/>
                  </a:lnTo>
                  <a:lnTo>
                    <a:pt x="28931" y="5969"/>
                  </a:lnTo>
                  <a:lnTo>
                    <a:pt x="28588" y="6220"/>
                  </a:lnTo>
                  <a:lnTo>
                    <a:pt x="28394" y="6813"/>
                  </a:lnTo>
                  <a:lnTo>
                    <a:pt x="27493" y="7155"/>
                  </a:lnTo>
                  <a:lnTo>
                    <a:pt x="27048" y="7623"/>
                  </a:lnTo>
                  <a:lnTo>
                    <a:pt x="26214" y="7441"/>
                  </a:lnTo>
                  <a:lnTo>
                    <a:pt x="25758" y="7361"/>
                  </a:lnTo>
                  <a:lnTo>
                    <a:pt x="25701" y="7931"/>
                  </a:lnTo>
                  <a:lnTo>
                    <a:pt x="26112" y="8262"/>
                  </a:lnTo>
                  <a:lnTo>
                    <a:pt x="26386" y="8559"/>
                  </a:lnTo>
                  <a:lnTo>
                    <a:pt x="26020" y="8844"/>
                  </a:lnTo>
                  <a:lnTo>
                    <a:pt x="25758" y="9324"/>
                  </a:lnTo>
                  <a:lnTo>
                    <a:pt x="25050" y="9632"/>
                  </a:lnTo>
                  <a:lnTo>
                    <a:pt x="23989" y="9666"/>
                  </a:lnTo>
                  <a:lnTo>
                    <a:pt x="22951" y="9974"/>
                  </a:lnTo>
                  <a:lnTo>
                    <a:pt x="22323" y="10442"/>
                  </a:lnTo>
                  <a:lnTo>
                    <a:pt x="21866" y="10157"/>
                  </a:lnTo>
                  <a:lnTo>
                    <a:pt x="20988" y="10180"/>
                  </a:lnTo>
                  <a:lnTo>
                    <a:pt x="19664" y="9632"/>
                  </a:lnTo>
                  <a:lnTo>
                    <a:pt x="18876" y="9506"/>
                  </a:lnTo>
                  <a:lnTo>
                    <a:pt x="17963" y="9620"/>
                  </a:lnTo>
                  <a:lnTo>
                    <a:pt x="16366" y="9438"/>
                  </a:lnTo>
                  <a:lnTo>
                    <a:pt x="15578" y="9449"/>
                  </a:lnTo>
                  <a:lnTo>
                    <a:pt x="14905" y="8936"/>
                  </a:lnTo>
                  <a:lnTo>
                    <a:pt x="14209" y="8125"/>
                  </a:lnTo>
                  <a:lnTo>
                    <a:pt x="13730" y="8023"/>
                  </a:lnTo>
                  <a:lnTo>
                    <a:pt x="12600" y="7475"/>
                  </a:lnTo>
                  <a:lnTo>
                    <a:pt x="11573" y="7349"/>
                  </a:lnTo>
                  <a:lnTo>
                    <a:pt x="10660" y="7213"/>
                  </a:lnTo>
                  <a:lnTo>
                    <a:pt x="10226" y="6825"/>
                  </a:lnTo>
                  <a:lnTo>
                    <a:pt x="10043" y="5786"/>
                  </a:lnTo>
                  <a:lnTo>
                    <a:pt x="9222" y="5067"/>
                  </a:lnTo>
                  <a:lnTo>
                    <a:pt x="8058" y="4736"/>
                  </a:lnTo>
                  <a:lnTo>
                    <a:pt x="7247" y="4268"/>
                  </a:lnTo>
                  <a:lnTo>
                    <a:pt x="6779" y="3641"/>
                  </a:lnTo>
                  <a:lnTo>
                    <a:pt x="6540" y="3709"/>
                  </a:lnTo>
                  <a:lnTo>
                    <a:pt x="6277" y="4314"/>
                  </a:lnTo>
                  <a:lnTo>
                    <a:pt x="5741" y="4394"/>
                  </a:lnTo>
                  <a:lnTo>
                    <a:pt x="6095" y="5284"/>
                  </a:lnTo>
                  <a:lnTo>
                    <a:pt x="5867" y="5683"/>
                  </a:lnTo>
                  <a:lnTo>
                    <a:pt x="4337" y="5398"/>
                  </a:lnTo>
                  <a:lnTo>
                    <a:pt x="4486" y="6984"/>
                  </a:lnTo>
                  <a:lnTo>
                    <a:pt x="4200" y="7178"/>
                  </a:lnTo>
                  <a:lnTo>
                    <a:pt x="2911" y="7521"/>
                  </a:lnTo>
                  <a:lnTo>
                    <a:pt x="4155" y="9050"/>
                  </a:lnTo>
                  <a:lnTo>
                    <a:pt x="3744" y="9278"/>
                  </a:lnTo>
                  <a:lnTo>
                    <a:pt x="3984" y="9780"/>
                  </a:lnTo>
                  <a:lnTo>
                    <a:pt x="3949" y="9974"/>
                  </a:lnTo>
                  <a:lnTo>
                    <a:pt x="2979" y="10465"/>
                  </a:lnTo>
                  <a:lnTo>
                    <a:pt x="2842" y="10807"/>
                  </a:lnTo>
                  <a:lnTo>
                    <a:pt x="1929" y="10921"/>
                  </a:lnTo>
                  <a:lnTo>
                    <a:pt x="1838" y="11492"/>
                  </a:lnTo>
                  <a:lnTo>
                    <a:pt x="1028" y="11355"/>
                  </a:lnTo>
                  <a:lnTo>
                    <a:pt x="571" y="11526"/>
                  </a:lnTo>
                  <a:lnTo>
                    <a:pt x="1" y="11960"/>
                  </a:lnTo>
                  <a:lnTo>
                    <a:pt x="160" y="12177"/>
                  </a:lnTo>
                  <a:lnTo>
                    <a:pt x="12" y="12382"/>
                  </a:lnTo>
                  <a:lnTo>
                    <a:pt x="446" y="13227"/>
                  </a:lnTo>
                  <a:lnTo>
                    <a:pt x="674" y="13147"/>
                  </a:lnTo>
                  <a:lnTo>
                    <a:pt x="1176" y="13341"/>
                  </a:lnTo>
                  <a:lnTo>
                    <a:pt x="1256" y="13695"/>
                  </a:lnTo>
                  <a:lnTo>
                    <a:pt x="1518" y="14231"/>
                  </a:lnTo>
                  <a:lnTo>
                    <a:pt x="1712" y="14493"/>
                  </a:lnTo>
                  <a:lnTo>
                    <a:pt x="2386" y="14927"/>
                  </a:lnTo>
                  <a:lnTo>
                    <a:pt x="2797" y="15635"/>
                  </a:lnTo>
                  <a:lnTo>
                    <a:pt x="4143" y="16011"/>
                  </a:lnTo>
                  <a:lnTo>
                    <a:pt x="5227" y="17084"/>
                  </a:lnTo>
                  <a:lnTo>
                    <a:pt x="5342" y="17826"/>
                  </a:lnTo>
                  <a:lnTo>
                    <a:pt x="5764" y="18294"/>
                  </a:lnTo>
                  <a:lnTo>
                    <a:pt x="5855" y="18762"/>
                  </a:lnTo>
                  <a:lnTo>
                    <a:pt x="5262" y="18636"/>
                  </a:lnTo>
                  <a:lnTo>
                    <a:pt x="5718" y="19629"/>
                  </a:lnTo>
                  <a:lnTo>
                    <a:pt x="6608" y="20200"/>
                  </a:lnTo>
                  <a:lnTo>
                    <a:pt x="7818" y="20827"/>
                  </a:lnTo>
                  <a:lnTo>
                    <a:pt x="8092" y="20622"/>
                  </a:lnTo>
                  <a:lnTo>
                    <a:pt x="8765" y="20907"/>
                  </a:lnTo>
                  <a:lnTo>
                    <a:pt x="9678" y="21489"/>
                  </a:lnTo>
                  <a:lnTo>
                    <a:pt x="10135" y="21615"/>
                  </a:lnTo>
                  <a:lnTo>
                    <a:pt x="10488" y="22060"/>
                  </a:lnTo>
                  <a:lnTo>
                    <a:pt x="11128" y="22231"/>
                  </a:lnTo>
                  <a:lnTo>
                    <a:pt x="11847" y="22630"/>
                  </a:lnTo>
                  <a:lnTo>
                    <a:pt x="12759" y="22847"/>
                  </a:lnTo>
                  <a:lnTo>
                    <a:pt x="13684" y="22927"/>
                  </a:lnTo>
                  <a:lnTo>
                    <a:pt x="14106" y="22733"/>
                  </a:lnTo>
                  <a:lnTo>
                    <a:pt x="14323" y="23452"/>
                  </a:lnTo>
                  <a:lnTo>
                    <a:pt x="14700" y="22767"/>
                  </a:lnTo>
                  <a:lnTo>
                    <a:pt x="15065" y="22539"/>
                  </a:lnTo>
                  <a:lnTo>
                    <a:pt x="15670" y="22756"/>
                  </a:lnTo>
                  <a:lnTo>
                    <a:pt x="16080" y="22767"/>
                  </a:lnTo>
                  <a:lnTo>
                    <a:pt x="16468" y="23030"/>
                  </a:lnTo>
                  <a:lnTo>
                    <a:pt x="17062" y="22916"/>
                  </a:lnTo>
                  <a:lnTo>
                    <a:pt x="17621" y="22231"/>
                  </a:lnTo>
                  <a:lnTo>
                    <a:pt x="18374" y="21660"/>
                  </a:lnTo>
                  <a:lnTo>
                    <a:pt x="19070" y="21877"/>
                  </a:lnTo>
                  <a:lnTo>
                    <a:pt x="19527" y="21501"/>
                  </a:lnTo>
                  <a:lnTo>
                    <a:pt x="20029" y="22060"/>
                  </a:lnTo>
                  <a:lnTo>
                    <a:pt x="19858" y="22448"/>
                  </a:lnTo>
                  <a:lnTo>
                    <a:pt x="20725" y="22573"/>
                  </a:lnTo>
                  <a:lnTo>
                    <a:pt x="21159" y="22516"/>
                  </a:lnTo>
                  <a:lnTo>
                    <a:pt x="21547" y="23041"/>
                  </a:lnTo>
                  <a:lnTo>
                    <a:pt x="21923" y="23258"/>
                  </a:lnTo>
                  <a:lnTo>
                    <a:pt x="22117" y="23954"/>
                  </a:lnTo>
                  <a:lnTo>
                    <a:pt x="22232" y="24707"/>
                  </a:lnTo>
                  <a:lnTo>
                    <a:pt x="21638" y="25472"/>
                  </a:lnTo>
                  <a:lnTo>
                    <a:pt x="21741" y="26533"/>
                  </a:lnTo>
                  <a:lnTo>
                    <a:pt x="22540" y="26396"/>
                  </a:lnTo>
                  <a:lnTo>
                    <a:pt x="22871" y="27218"/>
                  </a:lnTo>
                  <a:lnTo>
                    <a:pt x="23396" y="27412"/>
                  </a:lnTo>
                  <a:lnTo>
                    <a:pt x="23282" y="28154"/>
                  </a:lnTo>
                  <a:lnTo>
                    <a:pt x="23921" y="28496"/>
                  </a:lnTo>
                  <a:lnTo>
                    <a:pt x="24286" y="28667"/>
                  </a:lnTo>
                  <a:lnTo>
                    <a:pt x="24822" y="28405"/>
                  </a:lnTo>
                  <a:lnTo>
                    <a:pt x="24913" y="28782"/>
                  </a:lnTo>
                  <a:lnTo>
                    <a:pt x="25005" y="28987"/>
                  </a:lnTo>
                  <a:lnTo>
                    <a:pt x="25427" y="29010"/>
                  </a:lnTo>
                  <a:lnTo>
                    <a:pt x="25153" y="27983"/>
                  </a:lnTo>
                  <a:lnTo>
                    <a:pt x="25541" y="27834"/>
                  </a:lnTo>
                  <a:lnTo>
                    <a:pt x="25918" y="27617"/>
                  </a:lnTo>
                  <a:lnTo>
                    <a:pt x="26534" y="27617"/>
                  </a:lnTo>
                  <a:lnTo>
                    <a:pt x="27287" y="27526"/>
                  </a:lnTo>
                  <a:lnTo>
                    <a:pt x="27881" y="27035"/>
                  </a:lnTo>
                  <a:lnTo>
                    <a:pt x="28303" y="27378"/>
                  </a:lnTo>
                  <a:lnTo>
                    <a:pt x="29045" y="27538"/>
                  </a:lnTo>
                  <a:lnTo>
                    <a:pt x="29022" y="28063"/>
                  </a:lnTo>
                  <a:lnTo>
                    <a:pt x="29444" y="28439"/>
                  </a:lnTo>
                  <a:lnTo>
                    <a:pt x="30289" y="28667"/>
                  </a:lnTo>
                  <a:lnTo>
                    <a:pt x="30631" y="28519"/>
                  </a:lnTo>
                  <a:lnTo>
                    <a:pt x="31727" y="28804"/>
                  </a:lnTo>
                  <a:lnTo>
                    <a:pt x="31601" y="29158"/>
                  </a:lnTo>
                  <a:lnTo>
                    <a:pt x="31909" y="29820"/>
                  </a:lnTo>
                  <a:lnTo>
                    <a:pt x="32343" y="29763"/>
                  </a:lnTo>
                  <a:lnTo>
                    <a:pt x="32457" y="28804"/>
                  </a:lnTo>
                  <a:lnTo>
                    <a:pt x="33256" y="28679"/>
                  </a:lnTo>
                  <a:lnTo>
                    <a:pt x="34283" y="28222"/>
                  </a:lnTo>
                  <a:lnTo>
                    <a:pt x="34637" y="27766"/>
                  </a:lnTo>
                  <a:lnTo>
                    <a:pt x="34968" y="28063"/>
                  </a:lnTo>
                  <a:lnTo>
                    <a:pt x="35367" y="27652"/>
                  </a:lnTo>
                  <a:lnTo>
                    <a:pt x="36234" y="27549"/>
                  </a:lnTo>
                  <a:lnTo>
                    <a:pt x="37182" y="26796"/>
                  </a:lnTo>
                  <a:lnTo>
                    <a:pt x="38072" y="25951"/>
                  </a:lnTo>
                  <a:lnTo>
                    <a:pt x="38551" y="24867"/>
                  </a:lnTo>
                  <a:lnTo>
                    <a:pt x="38871" y="23669"/>
                  </a:lnTo>
                  <a:lnTo>
                    <a:pt x="39179" y="22687"/>
                  </a:lnTo>
                  <a:lnTo>
                    <a:pt x="39578" y="22619"/>
                  </a:lnTo>
                  <a:lnTo>
                    <a:pt x="39555" y="21889"/>
                  </a:lnTo>
                  <a:lnTo>
                    <a:pt x="39441" y="21158"/>
                  </a:lnTo>
                  <a:lnTo>
                    <a:pt x="38905" y="20873"/>
                  </a:lnTo>
                  <a:lnTo>
                    <a:pt x="38551" y="20394"/>
                  </a:lnTo>
                  <a:lnTo>
                    <a:pt x="38950" y="20143"/>
                  </a:lnTo>
                  <a:lnTo>
                    <a:pt x="38722" y="19481"/>
                  </a:lnTo>
                  <a:lnTo>
                    <a:pt x="37946" y="18773"/>
                  </a:lnTo>
                  <a:lnTo>
                    <a:pt x="37182" y="17951"/>
                  </a:lnTo>
                  <a:lnTo>
                    <a:pt x="36520" y="17050"/>
                  </a:lnTo>
                  <a:lnTo>
                    <a:pt x="35504" y="16548"/>
                  </a:lnTo>
                  <a:lnTo>
                    <a:pt x="35641" y="15897"/>
                  </a:lnTo>
                  <a:lnTo>
                    <a:pt x="36177" y="15441"/>
                  </a:lnTo>
                  <a:lnTo>
                    <a:pt x="36326" y="14939"/>
                  </a:lnTo>
                  <a:lnTo>
                    <a:pt x="37273" y="14687"/>
                  </a:lnTo>
                  <a:lnTo>
                    <a:pt x="36931" y="14197"/>
                  </a:lnTo>
                  <a:lnTo>
                    <a:pt x="36451" y="14174"/>
                  </a:lnTo>
                  <a:lnTo>
                    <a:pt x="35618" y="13809"/>
                  </a:lnTo>
                  <a:lnTo>
                    <a:pt x="35070" y="14471"/>
                  </a:lnTo>
                  <a:lnTo>
                    <a:pt x="34363" y="14197"/>
                  </a:lnTo>
                  <a:lnTo>
                    <a:pt x="34157" y="13786"/>
                  </a:lnTo>
                  <a:lnTo>
                    <a:pt x="33484" y="13638"/>
                  </a:lnTo>
                  <a:lnTo>
                    <a:pt x="32811" y="13010"/>
                  </a:lnTo>
                  <a:lnTo>
                    <a:pt x="32982" y="12588"/>
                  </a:lnTo>
                  <a:lnTo>
                    <a:pt x="33701" y="12542"/>
                  </a:lnTo>
                  <a:lnTo>
                    <a:pt x="33872" y="11960"/>
                  </a:lnTo>
                  <a:lnTo>
                    <a:pt x="34386" y="11332"/>
                  </a:lnTo>
                  <a:lnTo>
                    <a:pt x="34865" y="11013"/>
                  </a:lnTo>
                  <a:lnTo>
                    <a:pt x="35493" y="11492"/>
                  </a:lnTo>
                  <a:lnTo>
                    <a:pt x="35219" y="12086"/>
                  </a:lnTo>
                  <a:lnTo>
                    <a:pt x="35550" y="12439"/>
                  </a:lnTo>
                  <a:lnTo>
                    <a:pt x="35356" y="12873"/>
                  </a:lnTo>
                  <a:lnTo>
                    <a:pt x="36040" y="12610"/>
                  </a:lnTo>
                  <a:lnTo>
                    <a:pt x="36383" y="12200"/>
                  </a:lnTo>
                  <a:lnTo>
                    <a:pt x="37273" y="11926"/>
                  </a:lnTo>
                  <a:lnTo>
                    <a:pt x="37581" y="11355"/>
                  </a:lnTo>
                  <a:lnTo>
                    <a:pt x="38117" y="10876"/>
                  </a:lnTo>
                  <a:lnTo>
                    <a:pt x="38266" y="10248"/>
                  </a:lnTo>
                  <a:lnTo>
                    <a:pt x="38779" y="10533"/>
                  </a:lnTo>
                  <a:lnTo>
                    <a:pt x="39430" y="10556"/>
                  </a:lnTo>
                  <a:lnTo>
                    <a:pt x="39042" y="10088"/>
                  </a:lnTo>
                  <a:lnTo>
                    <a:pt x="39943" y="9723"/>
                  </a:lnTo>
                  <a:lnTo>
                    <a:pt x="39932" y="9221"/>
                  </a:lnTo>
                  <a:lnTo>
                    <a:pt x="40719" y="9735"/>
                  </a:lnTo>
                  <a:lnTo>
                    <a:pt x="40719" y="9735"/>
                  </a:lnTo>
                  <a:lnTo>
                    <a:pt x="40445" y="9290"/>
                  </a:lnTo>
                  <a:lnTo>
                    <a:pt x="40799" y="9278"/>
                  </a:lnTo>
                  <a:lnTo>
                    <a:pt x="40263" y="8240"/>
                  </a:lnTo>
                  <a:lnTo>
                    <a:pt x="39590" y="7475"/>
                  </a:lnTo>
                  <a:lnTo>
                    <a:pt x="40000" y="7167"/>
                  </a:lnTo>
                  <a:lnTo>
                    <a:pt x="40970" y="7327"/>
                  </a:lnTo>
                  <a:lnTo>
                    <a:pt x="40891" y="6471"/>
                  </a:lnTo>
                  <a:lnTo>
                    <a:pt x="40491" y="5501"/>
                  </a:lnTo>
                  <a:lnTo>
                    <a:pt x="40548" y="5170"/>
                  </a:lnTo>
                  <a:lnTo>
                    <a:pt x="40354" y="4371"/>
                  </a:lnTo>
                  <a:lnTo>
                    <a:pt x="39373" y="4622"/>
                  </a:lnTo>
                  <a:lnTo>
                    <a:pt x="39008" y="4987"/>
                  </a:lnTo>
                  <a:lnTo>
                    <a:pt x="37935" y="4987"/>
                  </a:lnTo>
                  <a:lnTo>
                    <a:pt x="37079" y="4154"/>
                  </a:lnTo>
                  <a:lnTo>
                    <a:pt x="35812" y="351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63" name="Google Shape;234;p29">
              <a:extLst>
                <a:ext uri="{FF2B5EF4-FFF2-40B4-BE49-F238E27FC236}">
                  <a16:creationId xmlns:a16="http://schemas.microsoft.com/office/drawing/2014/main" id="{A45E92F6-90AE-4B59-80C2-0A58BFB8E32A}"/>
                </a:ext>
              </a:extLst>
            </p:cNvPr>
            <p:cNvSpPr/>
            <p:nvPr/>
          </p:nvSpPr>
          <p:spPr>
            <a:xfrm>
              <a:off x="3549350" y="2873300"/>
              <a:ext cx="120725" cy="140400"/>
            </a:xfrm>
            <a:custGeom>
              <a:avLst/>
              <a:gdLst/>
              <a:ahLst/>
              <a:cxnLst/>
              <a:rect l="l" t="t" r="r" b="b"/>
              <a:pathLst>
                <a:path w="4829" h="5616" extrusionOk="0">
                  <a:moveTo>
                    <a:pt x="2569" y="149"/>
                  </a:moveTo>
                  <a:lnTo>
                    <a:pt x="2249" y="275"/>
                  </a:lnTo>
                  <a:lnTo>
                    <a:pt x="2055" y="389"/>
                  </a:lnTo>
                  <a:lnTo>
                    <a:pt x="1930" y="1"/>
                  </a:lnTo>
                  <a:lnTo>
                    <a:pt x="1701" y="104"/>
                  </a:lnTo>
                  <a:lnTo>
                    <a:pt x="1564" y="81"/>
                  </a:lnTo>
                  <a:lnTo>
                    <a:pt x="1416" y="355"/>
                  </a:lnTo>
                  <a:lnTo>
                    <a:pt x="800" y="343"/>
                  </a:lnTo>
                  <a:lnTo>
                    <a:pt x="572" y="195"/>
                  </a:lnTo>
                  <a:lnTo>
                    <a:pt x="480" y="286"/>
                  </a:lnTo>
                  <a:lnTo>
                    <a:pt x="321" y="355"/>
                  </a:lnTo>
                  <a:lnTo>
                    <a:pt x="252" y="674"/>
                  </a:lnTo>
                  <a:lnTo>
                    <a:pt x="435" y="1039"/>
                  </a:lnTo>
                  <a:lnTo>
                    <a:pt x="617" y="1770"/>
                  </a:lnTo>
                  <a:lnTo>
                    <a:pt x="332" y="1884"/>
                  </a:lnTo>
                  <a:lnTo>
                    <a:pt x="252" y="2009"/>
                  </a:lnTo>
                  <a:lnTo>
                    <a:pt x="298" y="2181"/>
                  </a:lnTo>
                  <a:lnTo>
                    <a:pt x="263" y="2580"/>
                  </a:lnTo>
                  <a:lnTo>
                    <a:pt x="138" y="2580"/>
                  </a:lnTo>
                  <a:lnTo>
                    <a:pt x="92" y="2843"/>
                  </a:lnTo>
                  <a:lnTo>
                    <a:pt x="172" y="3276"/>
                  </a:lnTo>
                  <a:lnTo>
                    <a:pt x="1" y="3676"/>
                  </a:lnTo>
                  <a:lnTo>
                    <a:pt x="229" y="3938"/>
                  </a:lnTo>
                  <a:lnTo>
                    <a:pt x="492" y="3995"/>
                  </a:lnTo>
                  <a:lnTo>
                    <a:pt x="823" y="4383"/>
                  </a:lnTo>
                  <a:lnTo>
                    <a:pt x="845" y="4737"/>
                  </a:lnTo>
                  <a:lnTo>
                    <a:pt x="777" y="4851"/>
                  </a:lnTo>
                  <a:lnTo>
                    <a:pt x="709" y="5593"/>
                  </a:lnTo>
                  <a:lnTo>
                    <a:pt x="857" y="5616"/>
                  </a:lnTo>
                  <a:lnTo>
                    <a:pt x="1656" y="5273"/>
                  </a:lnTo>
                  <a:lnTo>
                    <a:pt x="2215" y="5022"/>
                  </a:lnTo>
                  <a:lnTo>
                    <a:pt x="3162" y="4862"/>
                  </a:lnTo>
                  <a:lnTo>
                    <a:pt x="3676" y="4851"/>
                  </a:lnTo>
                  <a:lnTo>
                    <a:pt x="4223" y="5034"/>
                  </a:lnTo>
                  <a:lnTo>
                    <a:pt x="4600" y="5022"/>
                  </a:lnTo>
                  <a:lnTo>
                    <a:pt x="4623" y="4668"/>
                  </a:lnTo>
                  <a:lnTo>
                    <a:pt x="4281" y="3881"/>
                  </a:lnTo>
                  <a:lnTo>
                    <a:pt x="4497" y="2854"/>
                  </a:lnTo>
                  <a:lnTo>
                    <a:pt x="4828" y="2101"/>
                  </a:lnTo>
                  <a:lnTo>
                    <a:pt x="4623" y="800"/>
                  </a:lnTo>
                  <a:lnTo>
                    <a:pt x="4087" y="571"/>
                  </a:lnTo>
                  <a:lnTo>
                    <a:pt x="3699" y="594"/>
                  </a:lnTo>
                  <a:lnTo>
                    <a:pt x="3425" y="823"/>
                  </a:lnTo>
                  <a:lnTo>
                    <a:pt x="3071" y="640"/>
                  </a:lnTo>
                  <a:lnTo>
                    <a:pt x="2934" y="34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64" name="Google Shape;235;p29">
              <a:extLst>
                <a:ext uri="{FF2B5EF4-FFF2-40B4-BE49-F238E27FC236}">
                  <a16:creationId xmlns:a16="http://schemas.microsoft.com/office/drawing/2014/main" id="{6B8A17EB-EA3B-46A8-9DAA-C7241C72B2ED}"/>
                </a:ext>
              </a:extLst>
            </p:cNvPr>
            <p:cNvSpPr/>
            <p:nvPr/>
          </p:nvSpPr>
          <p:spPr>
            <a:xfrm>
              <a:off x="3891450" y="2820250"/>
              <a:ext cx="150950" cy="252800"/>
            </a:xfrm>
            <a:custGeom>
              <a:avLst/>
              <a:gdLst/>
              <a:ahLst/>
              <a:cxnLst/>
              <a:rect l="l" t="t" r="r" b="b"/>
              <a:pathLst>
                <a:path w="6038" h="10112" extrusionOk="0">
                  <a:moveTo>
                    <a:pt x="5090" y="1792"/>
                  </a:moveTo>
                  <a:lnTo>
                    <a:pt x="5124" y="1187"/>
                  </a:lnTo>
                  <a:lnTo>
                    <a:pt x="5056" y="582"/>
                  </a:lnTo>
                  <a:lnTo>
                    <a:pt x="4736" y="0"/>
                  </a:lnTo>
                  <a:lnTo>
                    <a:pt x="4508" y="57"/>
                  </a:lnTo>
                  <a:lnTo>
                    <a:pt x="4485" y="343"/>
                  </a:lnTo>
                  <a:lnTo>
                    <a:pt x="4805" y="708"/>
                  </a:lnTo>
                  <a:lnTo>
                    <a:pt x="4725" y="868"/>
                  </a:lnTo>
                  <a:lnTo>
                    <a:pt x="4679" y="1164"/>
                  </a:lnTo>
                  <a:lnTo>
                    <a:pt x="4029" y="1883"/>
                  </a:lnTo>
                  <a:lnTo>
                    <a:pt x="3812" y="2454"/>
                  </a:lnTo>
                  <a:lnTo>
                    <a:pt x="3709" y="2922"/>
                  </a:lnTo>
                  <a:lnTo>
                    <a:pt x="3538" y="3127"/>
                  </a:lnTo>
                  <a:lnTo>
                    <a:pt x="3378" y="3766"/>
                  </a:lnTo>
                  <a:lnTo>
                    <a:pt x="2956" y="4131"/>
                  </a:lnTo>
                  <a:lnTo>
                    <a:pt x="2842" y="4588"/>
                  </a:lnTo>
                  <a:lnTo>
                    <a:pt x="2671" y="4965"/>
                  </a:lnTo>
                  <a:lnTo>
                    <a:pt x="2602" y="5330"/>
                  </a:lnTo>
                  <a:lnTo>
                    <a:pt x="2043" y="5649"/>
                  </a:lnTo>
                  <a:lnTo>
                    <a:pt x="1586" y="5273"/>
                  </a:lnTo>
                  <a:lnTo>
                    <a:pt x="1290" y="5295"/>
                  </a:lnTo>
                  <a:lnTo>
                    <a:pt x="810" y="5820"/>
                  </a:lnTo>
                  <a:lnTo>
                    <a:pt x="582" y="5832"/>
                  </a:lnTo>
                  <a:lnTo>
                    <a:pt x="206" y="6699"/>
                  </a:lnTo>
                  <a:lnTo>
                    <a:pt x="0" y="7350"/>
                  </a:lnTo>
                  <a:lnTo>
                    <a:pt x="0" y="7601"/>
                  </a:lnTo>
                  <a:lnTo>
                    <a:pt x="206" y="7726"/>
                  </a:lnTo>
                  <a:lnTo>
                    <a:pt x="354" y="8126"/>
                  </a:lnTo>
                  <a:lnTo>
                    <a:pt x="731" y="8285"/>
                  </a:lnTo>
                  <a:lnTo>
                    <a:pt x="1039" y="8890"/>
                  </a:lnTo>
                  <a:lnTo>
                    <a:pt x="925" y="9598"/>
                  </a:lnTo>
                  <a:lnTo>
                    <a:pt x="2237" y="9632"/>
                  </a:lnTo>
                  <a:lnTo>
                    <a:pt x="2614" y="9575"/>
                  </a:lnTo>
                  <a:lnTo>
                    <a:pt x="3093" y="9689"/>
                  </a:lnTo>
                  <a:lnTo>
                    <a:pt x="3584" y="9575"/>
                  </a:lnTo>
                  <a:lnTo>
                    <a:pt x="3686" y="9609"/>
                  </a:lnTo>
                  <a:lnTo>
                    <a:pt x="4691" y="9655"/>
                  </a:lnTo>
                  <a:lnTo>
                    <a:pt x="5341" y="9895"/>
                  </a:lnTo>
                  <a:lnTo>
                    <a:pt x="5980" y="10111"/>
                  </a:lnTo>
                  <a:lnTo>
                    <a:pt x="6037" y="9609"/>
                  </a:lnTo>
                  <a:lnTo>
                    <a:pt x="5946" y="9358"/>
                  </a:lnTo>
                  <a:lnTo>
                    <a:pt x="5912" y="8947"/>
                  </a:lnTo>
                  <a:lnTo>
                    <a:pt x="5535" y="8639"/>
                  </a:lnTo>
                  <a:lnTo>
                    <a:pt x="5238" y="8183"/>
                  </a:lnTo>
                  <a:lnTo>
                    <a:pt x="5170" y="7863"/>
                  </a:lnTo>
                  <a:lnTo>
                    <a:pt x="4793" y="7384"/>
                  </a:lnTo>
                  <a:lnTo>
                    <a:pt x="4850" y="7121"/>
                  </a:lnTo>
                  <a:lnTo>
                    <a:pt x="4770" y="6733"/>
                  </a:lnTo>
                  <a:lnTo>
                    <a:pt x="4828" y="6014"/>
                  </a:lnTo>
                  <a:lnTo>
                    <a:pt x="5022" y="5866"/>
                  </a:lnTo>
                  <a:lnTo>
                    <a:pt x="5410" y="4930"/>
                  </a:lnTo>
                  <a:lnTo>
                    <a:pt x="5535" y="4691"/>
                  </a:lnTo>
                  <a:lnTo>
                    <a:pt x="5284" y="4063"/>
                  </a:lnTo>
                  <a:lnTo>
                    <a:pt x="5170" y="3698"/>
                  </a:lnTo>
                  <a:lnTo>
                    <a:pt x="4805" y="3538"/>
                  </a:lnTo>
                  <a:lnTo>
                    <a:pt x="4337" y="3013"/>
                  </a:lnTo>
                  <a:lnTo>
                    <a:pt x="4508" y="2579"/>
                  </a:lnTo>
                  <a:lnTo>
                    <a:pt x="4862" y="2671"/>
                  </a:lnTo>
                  <a:lnTo>
                    <a:pt x="5090" y="2614"/>
                  </a:lnTo>
                  <a:lnTo>
                    <a:pt x="5535" y="262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65" name="Google Shape;236;p29">
              <a:extLst>
                <a:ext uri="{FF2B5EF4-FFF2-40B4-BE49-F238E27FC236}">
                  <a16:creationId xmlns:a16="http://schemas.microsoft.com/office/drawing/2014/main" id="{45235A1E-4CC2-424B-975D-E0A5214B4FE8}"/>
                </a:ext>
              </a:extLst>
            </p:cNvPr>
            <p:cNvSpPr/>
            <p:nvPr/>
          </p:nvSpPr>
          <p:spPr>
            <a:xfrm>
              <a:off x="3965050" y="2992850"/>
              <a:ext cx="381200" cy="420000"/>
            </a:xfrm>
            <a:custGeom>
              <a:avLst/>
              <a:gdLst/>
              <a:ahLst/>
              <a:cxnLst/>
              <a:rect l="l" t="t" r="r" b="b"/>
              <a:pathLst>
                <a:path w="15248" h="16800" extrusionOk="0">
                  <a:moveTo>
                    <a:pt x="11390" y="103"/>
                  </a:moveTo>
                  <a:lnTo>
                    <a:pt x="10785" y="1"/>
                  </a:lnTo>
                  <a:lnTo>
                    <a:pt x="10500" y="80"/>
                  </a:lnTo>
                  <a:lnTo>
                    <a:pt x="10363" y="297"/>
                  </a:lnTo>
                  <a:lnTo>
                    <a:pt x="10112" y="332"/>
                  </a:lnTo>
                  <a:lnTo>
                    <a:pt x="9792" y="138"/>
                  </a:lnTo>
                  <a:lnTo>
                    <a:pt x="8913" y="583"/>
                  </a:lnTo>
                  <a:lnTo>
                    <a:pt x="8537" y="503"/>
                  </a:lnTo>
                  <a:lnTo>
                    <a:pt x="8423" y="571"/>
                  </a:lnTo>
                  <a:lnTo>
                    <a:pt x="8194" y="1108"/>
                  </a:lnTo>
                  <a:lnTo>
                    <a:pt x="7601" y="936"/>
                  </a:lnTo>
                  <a:lnTo>
                    <a:pt x="7019" y="856"/>
                  </a:lnTo>
                  <a:lnTo>
                    <a:pt x="6505" y="514"/>
                  </a:lnTo>
                  <a:lnTo>
                    <a:pt x="5844" y="206"/>
                  </a:lnTo>
                  <a:lnTo>
                    <a:pt x="5421" y="491"/>
                  </a:lnTo>
                  <a:lnTo>
                    <a:pt x="5102" y="959"/>
                  </a:lnTo>
                  <a:lnTo>
                    <a:pt x="5033" y="1598"/>
                  </a:lnTo>
                  <a:lnTo>
                    <a:pt x="4988" y="2135"/>
                  </a:lnTo>
                  <a:lnTo>
                    <a:pt x="4759" y="2625"/>
                  </a:lnTo>
                  <a:lnTo>
                    <a:pt x="4600" y="3196"/>
                  </a:lnTo>
                  <a:lnTo>
                    <a:pt x="4508" y="3995"/>
                  </a:lnTo>
                  <a:lnTo>
                    <a:pt x="4543" y="4508"/>
                  </a:lnTo>
                  <a:lnTo>
                    <a:pt x="4417" y="4817"/>
                  </a:lnTo>
                  <a:lnTo>
                    <a:pt x="4394" y="5159"/>
                  </a:lnTo>
                  <a:lnTo>
                    <a:pt x="4303" y="5444"/>
                  </a:lnTo>
                  <a:lnTo>
                    <a:pt x="3778" y="5889"/>
                  </a:lnTo>
                  <a:lnTo>
                    <a:pt x="3401" y="6346"/>
                  </a:lnTo>
                  <a:lnTo>
                    <a:pt x="3048" y="7236"/>
                  </a:lnTo>
                  <a:lnTo>
                    <a:pt x="3082" y="7989"/>
                  </a:lnTo>
                  <a:lnTo>
                    <a:pt x="2876" y="8274"/>
                  </a:lnTo>
                  <a:lnTo>
                    <a:pt x="2409" y="8719"/>
                  </a:lnTo>
                  <a:lnTo>
                    <a:pt x="1918" y="9290"/>
                  </a:lnTo>
                  <a:lnTo>
                    <a:pt x="1632" y="9130"/>
                  </a:lnTo>
                  <a:lnTo>
                    <a:pt x="1575" y="8868"/>
                  </a:lnTo>
                  <a:lnTo>
                    <a:pt x="1142" y="8856"/>
                  </a:lnTo>
                  <a:lnTo>
                    <a:pt x="868" y="9199"/>
                  </a:lnTo>
                  <a:lnTo>
                    <a:pt x="651" y="9119"/>
                  </a:lnTo>
                  <a:lnTo>
                    <a:pt x="366" y="9302"/>
                  </a:lnTo>
                  <a:lnTo>
                    <a:pt x="240" y="9541"/>
                  </a:lnTo>
                  <a:lnTo>
                    <a:pt x="206" y="9929"/>
                  </a:lnTo>
                  <a:lnTo>
                    <a:pt x="1" y="10032"/>
                  </a:lnTo>
                  <a:lnTo>
                    <a:pt x="115" y="10317"/>
                  </a:lnTo>
                  <a:lnTo>
                    <a:pt x="434" y="10180"/>
                  </a:lnTo>
                  <a:lnTo>
                    <a:pt x="685" y="10203"/>
                  </a:lnTo>
                  <a:lnTo>
                    <a:pt x="948" y="10100"/>
                  </a:lnTo>
                  <a:lnTo>
                    <a:pt x="3321" y="10112"/>
                  </a:lnTo>
                  <a:lnTo>
                    <a:pt x="3504" y="10785"/>
                  </a:lnTo>
                  <a:lnTo>
                    <a:pt x="3732" y="11321"/>
                  </a:lnTo>
                  <a:lnTo>
                    <a:pt x="3915" y="11630"/>
                  </a:lnTo>
                  <a:lnTo>
                    <a:pt x="4212" y="12097"/>
                  </a:lnTo>
                  <a:lnTo>
                    <a:pt x="4748" y="12029"/>
                  </a:lnTo>
                  <a:lnTo>
                    <a:pt x="5022" y="11892"/>
                  </a:lnTo>
                  <a:lnTo>
                    <a:pt x="5444" y="12029"/>
                  </a:lnTo>
                  <a:lnTo>
                    <a:pt x="5570" y="11801"/>
                  </a:lnTo>
                  <a:lnTo>
                    <a:pt x="5787" y="11264"/>
                  </a:lnTo>
                  <a:lnTo>
                    <a:pt x="6277" y="11230"/>
                  </a:lnTo>
                  <a:lnTo>
                    <a:pt x="6311" y="11070"/>
                  </a:lnTo>
                  <a:lnTo>
                    <a:pt x="6734" y="11070"/>
                  </a:lnTo>
                  <a:lnTo>
                    <a:pt x="6654" y="11401"/>
                  </a:lnTo>
                  <a:lnTo>
                    <a:pt x="7624" y="11401"/>
                  </a:lnTo>
                  <a:lnTo>
                    <a:pt x="7624" y="11972"/>
                  </a:lnTo>
                  <a:lnTo>
                    <a:pt x="7795" y="12314"/>
                  </a:lnTo>
                  <a:lnTo>
                    <a:pt x="7670" y="12851"/>
                  </a:lnTo>
                  <a:lnTo>
                    <a:pt x="7715" y="13421"/>
                  </a:lnTo>
                  <a:lnTo>
                    <a:pt x="7989" y="13752"/>
                  </a:lnTo>
                  <a:lnTo>
                    <a:pt x="7909" y="14836"/>
                  </a:lnTo>
                  <a:lnTo>
                    <a:pt x="8115" y="14745"/>
                  </a:lnTo>
                  <a:lnTo>
                    <a:pt x="8457" y="14779"/>
                  </a:lnTo>
                  <a:lnTo>
                    <a:pt x="8959" y="14631"/>
                  </a:lnTo>
                  <a:lnTo>
                    <a:pt x="9324" y="14688"/>
                  </a:lnTo>
                  <a:lnTo>
                    <a:pt x="9598" y="14699"/>
                  </a:lnTo>
                  <a:lnTo>
                    <a:pt x="9644" y="14985"/>
                  </a:lnTo>
                  <a:lnTo>
                    <a:pt x="10009" y="14973"/>
                  </a:lnTo>
                  <a:lnTo>
                    <a:pt x="10511" y="15065"/>
                  </a:lnTo>
                  <a:lnTo>
                    <a:pt x="10762" y="15464"/>
                  </a:lnTo>
                  <a:lnTo>
                    <a:pt x="11413" y="15590"/>
                  </a:lnTo>
                  <a:lnTo>
                    <a:pt x="11892" y="15304"/>
                  </a:lnTo>
                  <a:lnTo>
                    <a:pt x="12063" y="15784"/>
                  </a:lnTo>
                  <a:lnTo>
                    <a:pt x="12679" y="15898"/>
                  </a:lnTo>
                  <a:lnTo>
                    <a:pt x="12965" y="16297"/>
                  </a:lnTo>
                  <a:lnTo>
                    <a:pt x="13262" y="16799"/>
                  </a:lnTo>
                  <a:lnTo>
                    <a:pt x="13878" y="16799"/>
                  </a:lnTo>
                  <a:lnTo>
                    <a:pt x="13832" y="15818"/>
                  </a:lnTo>
                  <a:lnTo>
                    <a:pt x="13615" y="15989"/>
                  </a:lnTo>
                  <a:lnTo>
                    <a:pt x="13068" y="15635"/>
                  </a:lnTo>
                  <a:lnTo>
                    <a:pt x="12862" y="15475"/>
                  </a:lnTo>
                  <a:lnTo>
                    <a:pt x="12976" y="14563"/>
                  </a:lnTo>
                  <a:lnTo>
                    <a:pt x="13147" y="13490"/>
                  </a:lnTo>
                  <a:lnTo>
                    <a:pt x="12976" y="13090"/>
                  </a:lnTo>
                  <a:lnTo>
                    <a:pt x="13204" y="12508"/>
                  </a:lnTo>
                  <a:lnTo>
                    <a:pt x="13433" y="12406"/>
                  </a:lnTo>
                  <a:lnTo>
                    <a:pt x="14505" y="12246"/>
                  </a:lnTo>
                  <a:lnTo>
                    <a:pt x="14642" y="12291"/>
                  </a:lnTo>
                  <a:lnTo>
                    <a:pt x="14677" y="12132"/>
                  </a:lnTo>
                  <a:lnTo>
                    <a:pt x="14460" y="11892"/>
                  </a:lnTo>
                  <a:lnTo>
                    <a:pt x="14357" y="11390"/>
                  </a:lnTo>
                  <a:lnTo>
                    <a:pt x="13878" y="10899"/>
                  </a:lnTo>
                  <a:lnTo>
                    <a:pt x="13615" y="10249"/>
                  </a:lnTo>
                  <a:lnTo>
                    <a:pt x="13764" y="9872"/>
                  </a:lnTo>
                  <a:lnTo>
                    <a:pt x="13547" y="9359"/>
                  </a:lnTo>
                  <a:lnTo>
                    <a:pt x="13707" y="7898"/>
                  </a:lnTo>
                  <a:lnTo>
                    <a:pt x="13718" y="7909"/>
                  </a:lnTo>
                  <a:lnTo>
                    <a:pt x="13707" y="7761"/>
                  </a:lnTo>
                  <a:lnTo>
                    <a:pt x="13501" y="7339"/>
                  </a:lnTo>
                  <a:lnTo>
                    <a:pt x="13592" y="6848"/>
                  </a:lnTo>
                  <a:lnTo>
                    <a:pt x="13707" y="6791"/>
                  </a:lnTo>
                  <a:lnTo>
                    <a:pt x="13729" y="6243"/>
                  </a:lnTo>
                  <a:lnTo>
                    <a:pt x="13958" y="5992"/>
                  </a:lnTo>
                  <a:lnTo>
                    <a:pt x="13969" y="5307"/>
                  </a:lnTo>
                  <a:lnTo>
                    <a:pt x="14163" y="4965"/>
                  </a:lnTo>
                  <a:lnTo>
                    <a:pt x="14197" y="4234"/>
                  </a:lnTo>
                  <a:lnTo>
                    <a:pt x="14368" y="3801"/>
                  </a:lnTo>
                  <a:lnTo>
                    <a:pt x="14677" y="3333"/>
                  </a:lnTo>
                  <a:lnTo>
                    <a:pt x="14985" y="3093"/>
                  </a:lnTo>
                  <a:lnTo>
                    <a:pt x="15247" y="2762"/>
                  </a:lnTo>
                  <a:lnTo>
                    <a:pt x="14916" y="2648"/>
                  </a:lnTo>
                  <a:lnTo>
                    <a:pt x="14962" y="1575"/>
                  </a:lnTo>
                  <a:lnTo>
                    <a:pt x="14962" y="1575"/>
                  </a:lnTo>
                  <a:lnTo>
                    <a:pt x="14243" y="982"/>
                  </a:lnTo>
                  <a:lnTo>
                    <a:pt x="14049" y="594"/>
                  </a:lnTo>
                  <a:lnTo>
                    <a:pt x="13604" y="777"/>
                  </a:lnTo>
                  <a:lnTo>
                    <a:pt x="13227" y="720"/>
                  </a:lnTo>
                  <a:lnTo>
                    <a:pt x="13022" y="879"/>
                  </a:lnTo>
                  <a:lnTo>
                    <a:pt x="12657" y="765"/>
                  </a:lnTo>
                  <a:lnTo>
                    <a:pt x="12166" y="23"/>
                  </a:lnTo>
                  <a:lnTo>
                    <a:pt x="11903" y="11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66" name="Google Shape;237;p29">
              <a:extLst>
                <a:ext uri="{FF2B5EF4-FFF2-40B4-BE49-F238E27FC236}">
                  <a16:creationId xmlns:a16="http://schemas.microsoft.com/office/drawing/2014/main" id="{A6361352-5ABE-47BD-AA51-B0FF50516C85}"/>
                </a:ext>
              </a:extLst>
            </p:cNvPr>
            <p:cNvSpPr/>
            <p:nvPr/>
          </p:nvSpPr>
          <p:spPr>
            <a:xfrm>
              <a:off x="3943375" y="3027375"/>
              <a:ext cx="147525" cy="198875"/>
            </a:xfrm>
            <a:custGeom>
              <a:avLst/>
              <a:gdLst/>
              <a:ahLst/>
              <a:cxnLst/>
              <a:rect l="l" t="t" r="r" b="b"/>
              <a:pathLst>
                <a:path w="5901" h="7955" extrusionOk="0">
                  <a:moveTo>
                    <a:pt x="5900" y="217"/>
                  </a:moveTo>
                  <a:lnTo>
                    <a:pt x="5387" y="160"/>
                  </a:lnTo>
                  <a:lnTo>
                    <a:pt x="4839" y="0"/>
                  </a:lnTo>
                  <a:lnTo>
                    <a:pt x="4371" y="480"/>
                  </a:lnTo>
                  <a:lnTo>
                    <a:pt x="3960" y="1324"/>
                  </a:lnTo>
                  <a:lnTo>
                    <a:pt x="3903" y="1826"/>
                  </a:lnTo>
                  <a:lnTo>
                    <a:pt x="3264" y="1610"/>
                  </a:lnTo>
                  <a:lnTo>
                    <a:pt x="2614" y="1370"/>
                  </a:lnTo>
                  <a:lnTo>
                    <a:pt x="1609" y="1324"/>
                  </a:lnTo>
                  <a:lnTo>
                    <a:pt x="1552" y="1724"/>
                  </a:lnTo>
                  <a:lnTo>
                    <a:pt x="1758" y="2192"/>
                  </a:lnTo>
                  <a:lnTo>
                    <a:pt x="2363" y="2123"/>
                  </a:lnTo>
                  <a:lnTo>
                    <a:pt x="2557" y="2294"/>
                  </a:lnTo>
                  <a:lnTo>
                    <a:pt x="2214" y="3356"/>
                  </a:lnTo>
                  <a:lnTo>
                    <a:pt x="2602" y="3892"/>
                  </a:lnTo>
                  <a:lnTo>
                    <a:pt x="2693" y="4588"/>
                  </a:lnTo>
                  <a:lnTo>
                    <a:pt x="2579" y="5204"/>
                  </a:lnTo>
                  <a:lnTo>
                    <a:pt x="2328" y="5638"/>
                  </a:lnTo>
                  <a:lnTo>
                    <a:pt x="1632" y="5592"/>
                  </a:lnTo>
                  <a:lnTo>
                    <a:pt x="1198" y="5159"/>
                  </a:lnTo>
                  <a:lnTo>
                    <a:pt x="1130" y="5558"/>
                  </a:lnTo>
                  <a:lnTo>
                    <a:pt x="594" y="5672"/>
                  </a:lnTo>
                  <a:lnTo>
                    <a:pt x="320" y="5901"/>
                  </a:lnTo>
                  <a:lnTo>
                    <a:pt x="616" y="6505"/>
                  </a:lnTo>
                  <a:lnTo>
                    <a:pt x="0" y="7008"/>
                  </a:lnTo>
                  <a:lnTo>
                    <a:pt x="662" y="7955"/>
                  </a:lnTo>
                  <a:lnTo>
                    <a:pt x="970" y="7578"/>
                  </a:lnTo>
                  <a:lnTo>
                    <a:pt x="1233" y="7418"/>
                  </a:lnTo>
                  <a:lnTo>
                    <a:pt x="1518" y="7726"/>
                  </a:lnTo>
                  <a:lnTo>
                    <a:pt x="1735" y="7818"/>
                  </a:lnTo>
                  <a:lnTo>
                    <a:pt x="1997" y="7475"/>
                  </a:lnTo>
                  <a:lnTo>
                    <a:pt x="2442" y="7487"/>
                  </a:lnTo>
                  <a:lnTo>
                    <a:pt x="2499" y="7749"/>
                  </a:lnTo>
                  <a:lnTo>
                    <a:pt x="2785" y="7898"/>
                  </a:lnTo>
                  <a:lnTo>
                    <a:pt x="3276" y="7327"/>
                  </a:lnTo>
                  <a:lnTo>
                    <a:pt x="3743" y="6893"/>
                  </a:lnTo>
                  <a:lnTo>
                    <a:pt x="3937" y="6608"/>
                  </a:lnTo>
                  <a:lnTo>
                    <a:pt x="3915" y="5843"/>
                  </a:lnTo>
                  <a:lnTo>
                    <a:pt x="4268" y="4965"/>
                  </a:lnTo>
                  <a:lnTo>
                    <a:pt x="4645" y="4508"/>
                  </a:lnTo>
                  <a:lnTo>
                    <a:pt x="5170" y="4063"/>
                  </a:lnTo>
                  <a:lnTo>
                    <a:pt x="5250" y="3778"/>
                  </a:lnTo>
                  <a:lnTo>
                    <a:pt x="5284" y="3436"/>
                  </a:lnTo>
                  <a:lnTo>
                    <a:pt x="5410" y="3127"/>
                  </a:lnTo>
                  <a:lnTo>
                    <a:pt x="5364" y="2614"/>
                  </a:lnTo>
                  <a:lnTo>
                    <a:pt x="5467" y="1815"/>
                  </a:lnTo>
                  <a:lnTo>
                    <a:pt x="5626" y="1244"/>
                  </a:lnTo>
                  <a:lnTo>
                    <a:pt x="5855" y="75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67" name="Google Shape;238;p29">
              <a:extLst>
                <a:ext uri="{FF2B5EF4-FFF2-40B4-BE49-F238E27FC236}">
                  <a16:creationId xmlns:a16="http://schemas.microsoft.com/office/drawing/2014/main" id="{93C24C8F-440E-43C2-897D-39F22CCA8FD3}"/>
                </a:ext>
              </a:extLst>
            </p:cNvPr>
            <p:cNvSpPr/>
            <p:nvPr/>
          </p:nvSpPr>
          <p:spPr>
            <a:xfrm>
              <a:off x="2138250" y="2829950"/>
              <a:ext cx="242825" cy="379750"/>
            </a:xfrm>
            <a:custGeom>
              <a:avLst/>
              <a:gdLst/>
              <a:ahLst/>
              <a:cxnLst/>
              <a:rect l="l" t="t" r="r" b="b"/>
              <a:pathLst>
                <a:path w="9713" h="15190" extrusionOk="0">
                  <a:moveTo>
                    <a:pt x="6494" y="594"/>
                  </a:moveTo>
                  <a:lnTo>
                    <a:pt x="6665" y="297"/>
                  </a:lnTo>
                  <a:lnTo>
                    <a:pt x="6482" y="57"/>
                  </a:lnTo>
                  <a:lnTo>
                    <a:pt x="6197" y="0"/>
                  </a:lnTo>
                  <a:lnTo>
                    <a:pt x="5775" y="434"/>
                  </a:lnTo>
                  <a:lnTo>
                    <a:pt x="5455" y="639"/>
                  </a:lnTo>
                  <a:lnTo>
                    <a:pt x="4793" y="1096"/>
                  </a:lnTo>
                  <a:lnTo>
                    <a:pt x="4177" y="1027"/>
                  </a:lnTo>
                  <a:lnTo>
                    <a:pt x="4109" y="1210"/>
                  </a:lnTo>
                  <a:lnTo>
                    <a:pt x="3595" y="1221"/>
                  </a:lnTo>
                  <a:lnTo>
                    <a:pt x="3127" y="1655"/>
                  </a:lnTo>
                  <a:lnTo>
                    <a:pt x="2922" y="2420"/>
                  </a:lnTo>
                  <a:lnTo>
                    <a:pt x="2910" y="2716"/>
                  </a:lnTo>
                  <a:lnTo>
                    <a:pt x="2568" y="2819"/>
                  </a:lnTo>
                  <a:lnTo>
                    <a:pt x="1940" y="3447"/>
                  </a:lnTo>
                  <a:lnTo>
                    <a:pt x="1529" y="3424"/>
                  </a:lnTo>
                  <a:lnTo>
                    <a:pt x="1427" y="3549"/>
                  </a:lnTo>
                  <a:lnTo>
                    <a:pt x="1587" y="4086"/>
                  </a:lnTo>
                  <a:lnTo>
                    <a:pt x="1427" y="4360"/>
                  </a:lnTo>
                  <a:lnTo>
                    <a:pt x="1176" y="4291"/>
                  </a:lnTo>
                  <a:lnTo>
                    <a:pt x="1039" y="4725"/>
                  </a:lnTo>
                  <a:lnTo>
                    <a:pt x="1358" y="5216"/>
                  </a:lnTo>
                  <a:lnTo>
                    <a:pt x="1438" y="5980"/>
                  </a:lnTo>
                  <a:lnTo>
                    <a:pt x="1267" y="6208"/>
                  </a:lnTo>
                  <a:lnTo>
                    <a:pt x="1427" y="7053"/>
                  </a:lnTo>
                  <a:lnTo>
                    <a:pt x="1256" y="7578"/>
                  </a:lnTo>
                  <a:lnTo>
                    <a:pt x="1541" y="7795"/>
                  </a:lnTo>
                  <a:lnTo>
                    <a:pt x="1233" y="8263"/>
                  </a:lnTo>
                  <a:lnTo>
                    <a:pt x="868" y="8833"/>
                  </a:lnTo>
                  <a:lnTo>
                    <a:pt x="468" y="8890"/>
                  </a:lnTo>
                  <a:lnTo>
                    <a:pt x="274" y="9221"/>
                  </a:lnTo>
                  <a:lnTo>
                    <a:pt x="297" y="9678"/>
                  </a:lnTo>
                  <a:lnTo>
                    <a:pt x="0" y="9746"/>
                  </a:lnTo>
                  <a:lnTo>
                    <a:pt x="114" y="10032"/>
                  </a:lnTo>
                  <a:lnTo>
                    <a:pt x="913" y="10545"/>
                  </a:lnTo>
                  <a:lnTo>
                    <a:pt x="1062" y="10534"/>
                  </a:lnTo>
                  <a:lnTo>
                    <a:pt x="1256" y="10922"/>
                  </a:lnTo>
                  <a:lnTo>
                    <a:pt x="1929" y="11047"/>
                  </a:lnTo>
                  <a:lnTo>
                    <a:pt x="2157" y="10910"/>
                  </a:lnTo>
                  <a:lnTo>
                    <a:pt x="2557" y="11207"/>
                  </a:lnTo>
                  <a:lnTo>
                    <a:pt x="2899" y="11424"/>
                  </a:lnTo>
                  <a:lnTo>
                    <a:pt x="3116" y="11333"/>
                  </a:lnTo>
                  <a:lnTo>
                    <a:pt x="3641" y="11766"/>
                  </a:lnTo>
                  <a:lnTo>
                    <a:pt x="3892" y="12188"/>
                  </a:lnTo>
                  <a:lnTo>
                    <a:pt x="4280" y="12428"/>
                  </a:lnTo>
                  <a:lnTo>
                    <a:pt x="4771" y="13387"/>
                  </a:lnTo>
                  <a:lnTo>
                    <a:pt x="5364" y="13501"/>
                  </a:lnTo>
                  <a:lnTo>
                    <a:pt x="5798" y="13261"/>
                  </a:lnTo>
                  <a:lnTo>
                    <a:pt x="6094" y="13421"/>
                  </a:lnTo>
                  <a:lnTo>
                    <a:pt x="6562" y="13330"/>
                  </a:lnTo>
                  <a:lnTo>
                    <a:pt x="7190" y="13763"/>
                  </a:lnTo>
                  <a:lnTo>
                    <a:pt x="6688" y="14688"/>
                  </a:lnTo>
                  <a:lnTo>
                    <a:pt x="6939" y="14699"/>
                  </a:lnTo>
                  <a:lnTo>
                    <a:pt x="7350" y="15190"/>
                  </a:lnTo>
                  <a:lnTo>
                    <a:pt x="7658" y="12702"/>
                  </a:lnTo>
                  <a:lnTo>
                    <a:pt x="7681" y="12303"/>
                  </a:lnTo>
                  <a:lnTo>
                    <a:pt x="7544" y="11789"/>
                  </a:lnTo>
                  <a:lnTo>
                    <a:pt x="7190" y="11447"/>
                  </a:lnTo>
                  <a:lnTo>
                    <a:pt x="7190" y="10796"/>
                  </a:lnTo>
                  <a:lnTo>
                    <a:pt x="7646" y="10648"/>
                  </a:lnTo>
                  <a:lnTo>
                    <a:pt x="7806" y="10739"/>
                  </a:lnTo>
                  <a:lnTo>
                    <a:pt x="7829" y="10397"/>
                  </a:lnTo>
                  <a:lnTo>
                    <a:pt x="7361" y="10294"/>
                  </a:lnTo>
                  <a:lnTo>
                    <a:pt x="7361" y="9735"/>
                  </a:lnTo>
                  <a:lnTo>
                    <a:pt x="8913" y="9758"/>
                  </a:lnTo>
                  <a:lnTo>
                    <a:pt x="9187" y="9438"/>
                  </a:lnTo>
                  <a:lnTo>
                    <a:pt x="9415" y="9723"/>
                  </a:lnTo>
                  <a:lnTo>
                    <a:pt x="9564" y="10260"/>
                  </a:lnTo>
                  <a:lnTo>
                    <a:pt x="9712" y="10146"/>
                  </a:lnTo>
                  <a:lnTo>
                    <a:pt x="9472" y="9233"/>
                  </a:lnTo>
                  <a:lnTo>
                    <a:pt x="9278" y="8925"/>
                  </a:lnTo>
                  <a:lnTo>
                    <a:pt x="8993" y="8719"/>
                  </a:lnTo>
                  <a:lnTo>
                    <a:pt x="9404" y="8285"/>
                  </a:lnTo>
                  <a:lnTo>
                    <a:pt x="9370" y="8069"/>
                  </a:lnTo>
                  <a:lnTo>
                    <a:pt x="9164" y="7795"/>
                  </a:lnTo>
                  <a:lnTo>
                    <a:pt x="9016" y="7201"/>
                  </a:lnTo>
                  <a:lnTo>
                    <a:pt x="9084" y="6539"/>
                  </a:lnTo>
                  <a:lnTo>
                    <a:pt x="9278" y="6243"/>
                  </a:lnTo>
                  <a:lnTo>
                    <a:pt x="9450" y="5752"/>
                  </a:lnTo>
                  <a:lnTo>
                    <a:pt x="9164" y="5604"/>
                  </a:lnTo>
                  <a:lnTo>
                    <a:pt x="8708" y="5695"/>
                  </a:lnTo>
                  <a:lnTo>
                    <a:pt x="8137" y="5661"/>
                  </a:lnTo>
                  <a:lnTo>
                    <a:pt x="7806" y="5763"/>
                  </a:lnTo>
                  <a:lnTo>
                    <a:pt x="7258" y="4976"/>
                  </a:lnTo>
                  <a:lnTo>
                    <a:pt x="6802" y="4862"/>
                  </a:lnTo>
                  <a:lnTo>
                    <a:pt x="5775" y="4942"/>
                  </a:lnTo>
                  <a:lnTo>
                    <a:pt x="5592" y="4634"/>
                  </a:lnTo>
                  <a:lnTo>
                    <a:pt x="5410" y="4542"/>
                  </a:lnTo>
                  <a:lnTo>
                    <a:pt x="5375" y="4360"/>
                  </a:lnTo>
                  <a:lnTo>
                    <a:pt x="5490" y="4017"/>
                  </a:lnTo>
                  <a:lnTo>
                    <a:pt x="5432" y="3664"/>
                  </a:lnTo>
                  <a:lnTo>
                    <a:pt x="5284" y="3458"/>
                  </a:lnTo>
                  <a:lnTo>
                    <a:pt x="5193" y="3047"/>
                  </a:lnTo>
                  <a:lnTo>
                    <a:pt x="4782" y="2979"/>
                  </a:lnTo>
                  <a:lnTo>
                    <a:pt x="5033" y="2454"/>
                  </a:lnTo>
                  <a:lnTo>
                    <a:pt x="5170" y="1803"/>
                  </a:lnTo>
                  <a:lnTo>
                    <a:pt x="5421" y="1461"/>
                  </a:lnTo>
                  <a:lnTo>
                    <a:pt x="5741" y="1210"/>
                  </a:lnTo>
                  <a:lnTo>
                    <a:pt x="5969" y="75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68" name="Google Shape;239;p29">
              <a:extLst>
                <a:ext uri="{FF2B5EF4-FFF2-40B4-BE49-F238E27FC236}">
                  <a16:creationId xmlns:a16="http://schemas.microsoft.com/office/drawing/2014/main" id="{97ADC503-04AA-4507-BDDA-648F9228CCBF}"/>
                </a:ext>
              </a:extLst>
            </p:cNvPr>
            <p:cNvSpPr/>
            <p:nvPr/>
          </p:nvSpPr>
          <p:spPr>
            <a:xfrm>
              <a:off x="2008150" y="2857625"/>
              <a:ext cx="65650" cy="67625"/>
            </a:xfrm>
            <a:custGeom>
              <a:avLst/>
              <a:gdLst/>
              <a:ahLst/>
              <a:cxnLst/>
              <a:rect l="l" t="t" r="r" b="b"/>
              <a:pathLst>
                <a:path w="2626" h="2705" extrusionOk="0">
                  <a:moveTo>
                    <a:pt x="1826" y="263"/>
                  </a:moveTo>
                  <a:lnTo>
                    <a:pt x="1621" y="445"/>
                  </a:lnTo>
                  <a:lnTo>
                    <a:pt x="1381" y="388"/>
                  </a:lnTo>
                  <a:lnTo>
                    <a:pt x="1267" y="206"/>
                  </a:lnTo>
                  <a:lnTo>
                    <a:pt x="1027" y="126"/>
                  </a:lnTo>
                  <a:lnTo>
                    <a:pt x="822" y="240"/>
                  </a:lnTo>
                  <a:lnTo>
                    <a:pt x="331" y="0"/>
                  </a:lnTo>
                  <a:lnTo>
                    <a:pt x="194" y="114"/>
                  </a:lnTo>
                  <a:lnTo>
                    <a:pt x="0" y="286"/>
                  </a:lnTo>
                  <a:lnTo>
                    <a:pt x="217" y="411"/>
                  </a:lnTo>
                  <a:lnTo>
                    <a:pt x="80" y="696"/>
                  </a:lnTo>
                  <a:lnTo>
                    <a:pt x="69" y="982"/>
                  </a:lnTo>
                  <a:lnTo>
                    <a:pt x="171" y="1176"/>
                  </a:lnTo>
                  <a:lnTo>
                    <a:pt x="411" y="1256"/>
                  </a:lnTo>
                  <a:lnTo>
                    <a:pt x="582" y="1518"/>
                  </a:lnTo>
                  <a:lnTo>
                    <a:pt x="753" y="1290"/>
                  </a:lnTo>
                  <a:lnTo>
                    <a:pt x="708" y="1027"/>
                  </a:lnTo>
                  <a:lnTo>
                    <a:pt x="913" y="1187"/>
                  </a:lnTo>
                  <a:lnTo>
                    <a:pt x="959" y="1461"/>
                  </a:lnTo>
                  <a:lnTo>
                    <a:pt x="1221" y="1575"/>
                  </a:lnTo>
                  <a:lnTo>
                    <a:pt x="1530" y="1758"/>
                  </a:lnTo>
                  <a:lnTo>
                    <a:pt x="1735" y="1975"/>
                  </a:lnTo>
                  <a:lnTo>
                    <a:pt x="1758" y="2169"/>
                  </a:lnTo>
                  <a:lnTo>
                    <a:pt x="1655" y="2328"/>
                  </a:lnTo>
                  <a:lnTo>
                    <a:pt x="1815" y="2511"/>
                  </a:lnTo>
                  <a:lnTo>
                    <a:pt x="2226" y="2705"/>
                  </a:lnTo>
                  <a:lnTo>
                    <a:pt x="2283" y="2534"/>
                  </a:lnTo>
                  <a:lnTo>
                    <a:pt x="2351" y="2351"/>
                  </a:lnTo>
                  <a:lnTo>
                    <a:pt x="2340" y="2180"/>
                  </a:lnTo>
                  <a:lnTo>
                    <a:pt x="2454" y="2077"/>
                  </a:lnTo>
                  <a:lnTo>
                    <a:pt x="2294" y="1940"/>
                  </a:lnTo>
                  <a:lnTo>
                    <a:pt x="2306" y="1587"/>
                  </a:lnTo>
                  <a:lnTo>
                    <a:pt x="2625" y="1495"/>
                  </a:lnTo>
                  <a:lnTo>
                    <a:pt x="2283" y="1107"/>
                  </a:lnTo>
                  <a:lnTo>
                    <a:pt x="1997" y="74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69" name="Google Shape;240;p29">
              <a:extLst>
                <a:ext uri="{FF2B5EF4-FFF2-40B4-BE49-F238E27FC236}">
                  <a16:creationId xmlns:a16="http://schemas.microsoft.com/office/drawing/2014/main" id="{CA4678C8-5FC5-4D76-8F62-A20694BC2A3B}"/>
                </a:ext>
              </a:extLst>
            </p:cNvPr>
            <p:cNvSpPr/>
            <p:nvPr/>
          </p:nvSpPr>
          <p:spPr>
            <a:xfrm>
              <a:off x="2054075" y="2586000"/>
              <a:ext cx="207450" cy="75650"/>
            </a:xfrm>
            <a:custGeom>
              <a:avLst/>
              <a:gdLst/>
              <a:ahLst/>
              <a:cxnLst/>
              <a:rect l="l" t="t" r="r" b="b"/>
              <a:pathLst>
                <a:path w="8298" h="3026" extrusionOk="0">
                  <a:moveTo>
                    <a:pt x="4257" y="377"/>
                  </a:moveTo>
                  <a:lnTo>
                    <a:pt x="3550" y="81"/>
                  </a:lnTo>
                  <a:lnTo>
                    <a:pt x="2945" y="69"/>
                  </a:lnTo>
                  <a:lnTo>
                    <a:pt x="2272" y="1"/>
                  </a:lnTo>
                  <a:lnTo>
                    <a:pt x="2066" y="92"/>
                  </a:lnTo>
                  <a:lnTo>
                    <a:pt x="1473" y="183"/>
                  </a:lnTo>
                  <a:lnTo>
                    <a:pt x="1039" y="366"/>
                  </a:lnTo>
                  <a:lnTo>
                    <a:pt x="651" y="571"/>
                  </a:lnTo>
                  <a:lnTo>
                    <a:pt x="446" y="891"/>
                  </a:lnTo>
                  <a:lnTo>
                    <a:pt x="1" y="1176"/>
                  </a:lnTo>
                  <a:lnTo>
                    <a:pt x="309" y="1268"/>
                  </a:lnTo>
                  <a:lnTo>
                    <a:pt x="731" y="1165"/>
                  </a:lnTo>
                  <a:lnTo>
                    <a:pt x="857" y="937"/>
                  </a:lnTo>
                  <a:lnTo>
                    <a:pt x="1188" y="925"/>
                  </a:lnTo>
                  <a:lnTo>
                    <a:pt x="1815" y="446"/>
                  </a:lnTo>
                  <a:lnTo>
                    <a:pt x="2580" y="492"/>
                  </a:lnTo>
                  <a:lnTo>
                    <a:pt x="2249" y="720"/>
                  </a:lnTo>
                  <a:lnTo>
                    <a:pt x="2511" y="914"/>
                  </a:lnTo>
                  <a:lnTo>
                    <a:pt x="3504" y="1051"/>
                  </a:lnTo>
                  <a:lnTo>
                    <a:pt x="3721" y="1233"/>
                  </a:lnTo>
                  <a:lnTo>
                    <a:pt x="4417" y="1484"/>
                  </a:lnTo>
                  <a:lnTo>
                    <a:pt x="4874" y="1450"/>
                  </a:lnTo>
                  <a:lnTo>
                    <a:pt x="4988" y="1964"/>
                  </a:lnTo>
                  <a:lnTo>
                    <a:pt x="5239" y="2226"/>
                  </a:lnTo>
                  <a:lnTo>
                    <a:pt x="5730" y="2283"/>
                  </a:lnTo>
                  <a:lnTo>
                    <a:pt x="6038" y="2523"/>
                  </a:lnTo>
                  <a:lnTo>
                    <a:pt x="5444" y="3025"/>
                  </a:lnTo>
                  <a:lnTo>
                    <a:pt x="6574" y="2934"/>
                  </a:lnTo>
                  <a:lnTo>
                    <a:pt x="7122" y="3002"/>
                  </a:lnTo>
                  <a:lnTo>
                    <a:pt x="7647" y="2968"/>
                  </a:lnTo>
                  <a:lnTo>
                    <a:pt x="8183" y="2854"/>
                  </a:lnTo>
                  <a:lnTo>
                    <a:pt x="8297" y="2637"/>
                  </a:lnTo>
                  <a:lnTo>
                    <a:pt x="7750" y="2260"/>
                  </a:lnTo>
                  <a:lnTo>
                    <a:pt x="7179" y="2215"/>
                  </a:lnTo>
                  <a:lnTo>
                    <a:pt x="7259" y="1975"/>
                  </a:lnTo>
                  <a:lnTo>
                    <a:pt x="6814" y="1793"/>
                  </a:lnTo>
                  <a:lnTo>
                    <a:pt x="6551" y="1793"/>
                  </a:lnTo>
                  <a:lnTo>
                    <a:pt x="6118" y="1393"/>
                  </a:lnTo>
                  <a:lnTo>
                    <a:pt x="5524" y="822"/>
                  </a:lnTo>
                  <a:lnTo>
                    <a:pt x="5262" y="606"/>
                  </a:lnTo>
                  <a:lnTo>
                    <a:pt x="4520" y="72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70" name="Google Shape;241;p29">
              <a:extLst>
                <a:ext uri="{FF2B5EF4-FFF2-40B4-BE49-F238E27FC236}">
                  <a16:creationId xmlns:a16="http://schemas.microsoft.com/office/drawing/2014/main" id="{E28B6B95-2C6F-4F20-8B9E-8CFC58E8A1D0}"/>
                </a:ext>
              </a:extLst>
            </p:cNvPr>
            <p:cNvSpPr/>
            <p:nvPr/>
          </p:nvSpPr>
          <p:spPr>
            <a:xfrm>
              <a:off x="3933950" y="1957475"/>
              <a:ext cx="116425" cy="56525"/>
            </a:xfrm>
            <a:custGeom>
              <a:avLst/>
              <a:gdLst/>
              <a:ahLst/>
              <a:cxnLst/>
              <a:rect l="l" t="t" r="r" b="b"/>
              <a:pathLst>
                <a:path w="4657" h="2261" extrusionOk="0">
                  <a:moveTo>
                    <a:pt x="1872" y="12"/>
                  </a:moveTo>
                  <a:lnTo>
                    <a:pt x="1564" y="104"/>
                  </a:lnTo>
                  <a:lnTo>
                    <a:pt x="1370" y="1"/>
                  </a:lnTo>
                  <a:lnTo>
                    <a:pt x="1210" y="172"/>
                  </a:lnTo>
                  <a:lnTo>
                    <a:pt x="731" y="343"/>
                  </a:lnTo>
                  <a:lnTo>
                    <a:pt x="480" y="560"/>
                  </a:lnTo>
                  <a:lnTo>
                    <a:pt x="1" y="743"/>
                  </a:lnTo>
                  <a:lnTo>
                    <a:pt x="138" y="1016"/>
                  </a:lnTo>
                  <a:lnTo>
                    <a:pt x="240" y="1382"/>
                  </a:lnTo>
                  <a:lnTo>
                    <a:pt x="605" y="1599"/>
                  </a:lnTo>
                  <a:lnTo>
                    <a:pt x="1028" y="1975"/>
                  </a:lnTo>
                  <a:lnTo>
                    <a:pt x="1564" y="2260"/>
                  </a:lnTo>
                  <a:lnTo>
                    <a:pt x="1941" y="1895"/>
                  </a:lnTo>
                  <a:lnTo>
                    <a:pt x="2180" y="1827"/>
                  </a:lnTo>
                  <a:lnTo>
                    <a:pt x="2751" y="2101"/>
                  </a:lnTo>
                  <a:lnTo>
                    <a:pt x="3082" y="2055"/>
                  </a:lnTo>
                  <a:lnTo>
                    <a:pt x="3401" y="2226"/>
                  </a:lnTo>
                  <a:lnTo>
                    <a:pt x="3493" y="2032"/>
                  </a:lnTo>
                  <a:lnTo>
                    <a:pt x="3801" y="2044"/>
                  </a:lnTo>
                  <a:lnTo>
                    <a:pt x="4029" y="1952"/>
                  </a:lnTo>
                  <a:lnTo>
                    <a:pt x="4052" y="1872"/>
                  </a:lnTo>
                  <a:lnTo>
                    <a:pt x="4177" y="1827"/>
                  </a:lnTo>
                  <a:lnTo>
                    <a:pt x="4200" y="1633"/>
                  </a:lnTo>
                  <a:lnTo>
                    <a:pt x="4360" y="1587"/>
                  </a:lnTo>
                  <a:lnTo>
                    <a:pt x="4451" y="1427"/>
                  </a:lnTo>
                  <a:lnTo>
                    <a:pt x="4657" y="1427"/>
                  </a:lnTo>
                  <a:lnTo>
                    <a:pt x="4292" y="982"/>
                  </a:lnTo>
                  <a:lnTo>
                    <a:pt x="3778" y="937"/>
                  </a:lnTo>
                  <a:lnTo>
                    <a:pt x="3675" y="651"/>
                  </a:lnTo>
                  <a:lnTo>
                    <a:pt x="3196" y="571"/>
                  </a:lnTo>
                  <a:lnTo>
                    <a:pt x="3105" y="788"/>
                  </a:lnTo>
                  <a:lnTo>
                    <a:pt x="2717" y="617"/>
                  </a:lnTo>
                  <a:lnTo>
                    <a:pt x="2740" y="377"/>
                  </a:lnTo>
                  <a:lnTo>
                    <a:pt x="2203" y="286"/>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71" name="Google Shape;242;p29">
              <a:extLst>
                <a:ext uri="{FF2B5EF4-FFF2-40B4-BE49-F238E27FC236}">
                  <a16:creationId xmlns:a16="http://schemas.microsoft.com/office/drawing/2014/main" id="{47DB4689-6F3F-42F1-8618-80537C9DCEBB}"/>
                </a:ext>
              </a:extLst>
            </p:cNvPr>
            <p:cNvSpPr/>
            <p:nvPr/>
          </p:nvSpPr>
          <p:spPr>
            <a:xfrm>
              <a:off x="3824100" y="1873900"/>
              <a:ext cx="156675" cy="167775"/>
            </a:xfrm>
            <a:custGeom>
              <a:avLst/>
              <a:gdLst/>
              <a:ahLst/>
              <a:cxnLst/>
              <a:rect l="l" t="t" r="r" b="b"/>
              <a:pathLst>
                <a:path w="6267" h="6711" extrusionOk="0">
                  <a:moveTo>
                    <a:pt x="5433" y="1050"/>
                  </a:moveTo>
                  <a:lnTo>
                    <a:pt x="5091" y="776"/>
                  </a:lnTo>
                  <a:lnTo>
                    <a:pt x="4303" y="434"/>
                  </a:lnTo>
                  <a:lnTo>
                    <a:pt x="3950" y="673"/>
                  </a:lnTo>
                  <a:lnTo>
                    <a:pt x="3276" y="833"/>
                  </a:lnTo>
                  <a:lnTo>
                    <a:pt x="3265" y="536"/>
                  </a:lnTo>
                  <a:lnTo>
                    <a:pt x="2569" y="331"/>
                  </a:lnTo>
                  <a:lnTo>
                    <a:pt x="2534" y="0"/>
                  </a:lnTo>
                  <a:lnTo>
                    <a:pt x="2112" y="137"/>
                  </a:lnTo>
                  <a:lnTo>
                    <a:pt x="1599" y="23"/>
                  </a:lnTo>
                  <a:lnTo>
                    <a:pt x="1656" y="502"/>
                  </a:lnTo>
                  <a:lnTo>
                    <a:pt x="1827" y="822"/>
                  </a:lnTo>
                  <a:lnTo>
                    <a:pt x="1393" y="1244"/>
                  </a:lnTo>
                  <a:lnTo>
                    <a:pt x="1256" y="1061"/>
                  </a:lnTo>
                  <a:lnTo>
                    <a:pt x="697" y="1107"/>
                  </a:lnTo>
                  <a:lnTo>
                    <a:pt x="572" y="1290"/>
                  </a:lnTo>
                  <a:lnTo>
                    <a:pt x="708" y="1575"/>
                  </a:lnTo>
                  <a:lnTo>
                    <a:pt x="572" y="2374"/>
                  </a:lnTo>
                  <a:lnTo>
                    <a:pt x="412" y="2705"/>
                  </a:lnTo>
                  <a:lnTo>
                    <a:pt x="1" y="2705"/>
                  </a:lnTo>
                  <a:lnTo>
                    <a:pt x="149" y="3618"/>
                  </a:lnTo>
                  <a:lnTo>
                    <a:pt x="104" y="4211"/>
                  </a:lnTo>
                  <a:lnTo>
                    <a:pt x="241" y="4417"/>
                  </a:lnTo>
                  <a:lnTo>
                    <a:pt x="206" y="4793"/>
                  </a:lnTo>
                  <a:lnTo>
                    <a:pt x="549" y="5033"/>
                  </a:lnTo>
                  <a:lnTo>
                    <a:pt x="1564" y="5193"/>
                  </a:lnTo>
                  <a:lnTo>
                    <a:pt x="1245" y="5797"/>
                  </a:lnTo>
                  <a:lnTo>
                    <a:pt x="1165" y="6437"/>
                  </a:lnTo>
                  <a:lnTo>
                    <a:pt x="1770" y="6437"/>
                  </a:lnTo>
                  <a:lnTo>
                    <a:pt x="1907" y="6242"/>
                  </a:lnTo>
                  <a:lnTo>
                    <a:pt x="2683" y="6505"/>
                  </a:lnTo>
                  <a:lnTo>
                    <a:pt x="2900" y="6471"/>
                  </a:lnTo>
                  <a:lnTo>
                    <a:pt x="3265" y="6710"/>
                  </a:lnTo>
                  <a:lnTo>
                    <a:pt x="3345" y="6482"/>
                  </a:lnTo>
                  <a:lnTo>
                    <a:pt x="3972" y="6528"/>
                  </a:lnTo>
                  <a:lnTo>
                    <a:pt x="4463" y="6357"/>
                  </a:lnTo>
                  <a:lnTo>
                    <a:pt x="4805" y="6379"/>
                  </a:lnTo>
                  <a:lnTo>
                    <a:pt x="5045" y="6562"/>
                  </a:lnTo>
                  <a:lnTo>
                    <a:pt x="5102" y="6414"/>
                  </a:lnTo>
                  <a:lnTo>
                    <a:pt x="4965" y="5843"/>
                  </a:lnTo>
                  <a:lnTo>
                    <a:pt x="5205" y="5729"/>
                  </a:lnTo>
                  <a:lnTo>
                    <a:pt x="5422" y="5307"/>
                  </a:lnTo>
                  <a:lnTo>
                    <a:pt x="5011" y="4942"/>
                  </a:lnTo>
                  <a:lnTo>
                    <a:pt x="4634" y="4725"/>
                  </a:lnTo>
                  <a:lnTo>
                    <a:pt x="4532" y="4359"/>
                  </a:lnTo>
                  <a:lnTo>
                    <a:pt x="4395" y="4086"/>
                  </a:lnTo>
                  <a:lnTo>
                    <a:pt x="4874" y="3903"/>
                  </a:lnTo>
                  <a:lnTo>
                    <a:pt x="5125" y="3686"/>
                  </a:lnTo>
                  <a:lnTo>
                    <a:pt x="5604" y="3515"/>
                  </a:lnTo>
                  <a:lnTo>
                    <a:pt x="5764" y="3344"/>
                  </a:lnTo>
                  <a:lnTo>
                    <a:pt x="5958" y="3447"/>
                  </a:lnTo>
                  <a:lnTo>
                    <a:pt x="6266" y="3355"/>
                  </a:lnTo>
                  <a:lnTo>
                    <a:pt x="5935" y="2796"/>
                  </a:lnTo>
                  <a:lnTo>
                    <a:pt x="5947" y="2499"/>
                  </a:lnTo>
                  <a:lnTo>
                    <a:pt x="5753" y="2031"/>
                  </a:lnTo>
                  <a:lnTo>
                    <a:pt x="5467" y="1712"/>
                  </a:lnTo>
                  <a:lnTo>
                    <a:pt x="5639" y="148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72" name="Google Shape;243;p29">
              <a:extLst>
                <a:ext uri="{FF2B5EF4-FFF2-40B4-BE49-F238E27FC236}">
                  <a16:creationId xmlns:a16="http://schemas.microsoft.com/office/drawing/2014/main" id="{C3758839-8126-4B7A-8C9E-F74150B3992D}"/>
                </a:ext>
              </a:extLst>
            </p:cNvPr>
            <p:cNvSpPr/>
            <p:nvPr/>
          </p:nvSpPr>
          <p:spPr>
            <a:xfrm>
              <a:off x="4551075" y="2824225"/>
              <a:ext cx="32550" cy="39975"/>
            </a:xfrm>
            <a:custGeom>
              <a:avLst/>
              <a:gdLst/>
              <a:ahLst/>
              <a:cxnLst/>
              <a:rect l="l" t="t" r="r" b="b"/>
              <a:pathLst>
                <a:path w="1302" h="1599" extrusionOk="0">
                  <a:moveTo>
                    <a:pt x="1210" y="1108"/>
                  </a:moveTo>
                  <a:lnTo>
                    <a:pt x="845" y="868"/>
                  </a:lnTo>
                  <a:lnTo>
                    <a:pt x="1290" y="651"/>
                  </a:lnTo>
                  <a:lnTo>
                    <a:pt x="1301" y="263"/>
                  </a:lnTo>
                  <a:lnTo>
                    <a:pt x="1107" y="1"/>
                  </a:lnTo>
                  <a:lnTo>
                    <a:pt x="879" y="206"/>
                  </a:lnTo>
                  <a:lnTo>
                    <a:pt x="537" y="138"/>
                  </a:lnTo>
                  <a:lnTo>
                    <a:pt x="263" y="537"/>
                  </a:lnTo>
                  <a:lnTo>
                    <a:pt x="0" y="971"/>
                  </a:lnTo>
                  <a:lnTo>
                    <a:pt x="80" y="1211"/>
                  </a:lnTo>
                  <a:lnTo>
                    <a:pt x="103" y="1496"/>
                  </a:lnTo>
                  <a:lnTo>
                    <a:pt x="548" y="1507"/>
                  </a:lnTo>
                  <a:lnTo>
                    <a:pt x="731" y="1439"/>
                  </a:lnTo>
                  <a:lnTo>
                    <a:pt x="913" y="1599"/>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73" name="Google Shape;244;p29">
              <a:extLst>
                <a:ext uri="{FF2B5EF4-FFF2-40B4-BE49-F238E27FC236}">
                  <a16:creationId xmlns:a16="http://schemas.microsoft.com/office/drawing/2014/main" id="{F82D61AA-D520-4CE9-B8A7-A52B41DA68CB}"/>
                </a:ext>
              </a:extLst>
            </p:cNvPr>
            <p:cNvSpPr/>
            <p:nvPr/>
          </p:nvSpPr>
          <p:spPr>
            <a:xfrm>
              <a:off x="3855200" y="1815675"/>
              <a:ext cx="77350" cy="62225"/>
            </a:xfrm>
            <a:custGeom>
              <a:avLst/>
              <a:gdLst/>
              <a:ahLst/>
              <a:cxnLst/>
              <a:rect l="l" t="t" r="r" b="b"/>
              <a:pathLst>
                <a:path w="3094" h="2489" extrusionOk="0">
                  <a:moveTo>
                    <a:pt x="3094" y="1793"/>
                  </a:moveTo>
                  <a:lnTo>
                    <a:pt x="2854" y="1370"/>
                  </a:lnTo>
                  <a:lnTo>
                    <a:pt x="1895" y="1656"/>
                  </a:lnTo>
                  <a:lnTo>
                    <a:pt x="2021" y="2009"/>
                  </a:lnTo>
                  <a:lnTo>
                    <a:pt x="2751" y="2489"/>
                  </a:lnTo>
                  <a:close/>
                  <a:moveTo>
                    <a:pt x="1861" y="1062"/>
                  </a:moveTo>
                  <a:lnTo>
                    <a:pt x="1496" y="937"/>
                  </a:lnTo>
                  <a:lnTo>
                    <a:pt x="1393" y="709"/>
                  </a:lnTo>
                  <a:lnTo>
                    <a:pt x="1576" y="423"/>
                  </a:lnTo>
                  <a:lnTo>
                    <a:pt x="1564" y="1"/>
                  </a:lnTo>
                  <a:lnTo>
                    <a:pt x="1051" y="229"/>
                  </a:lnTo>
                  <a:lnTo>
                    <a:pt x="834" y="469"/>
                  </a:lnTo>
                  <a:lnTo>
                    <a:pt x="263" y="526"/>
                  </a:lnTo>
                  <a:lnTo>
                    <a:pt x="92" y="766"/>
                  </a:lnTo>
                  <a:lnTo>
                    <a:pt x="1" y="994"/>
                  </a:lnTo>
                  <a:lnTo>
                    <a:pt x="58" y="1861"/>
                  </a:lnTo>
                  <a:lnTo>
                    <a:pt x="355" y="2352"/>
                  </a:lnTo>
                  <a:lnTo>
                    <a:pt x="868" y="2466"/>
                  </a:lnTo>
                  <a:lnTo>
                    <a:pt x="1290" y="2329"/>
                  </a:lnTo>
                  <a:lnTo>
                    <a:pt x="1085" y="1907"/>
                  </a:lnTo>
                  <a:lnTo>
                    <a:pt x="1519" y="1291"/>
                  </a:lnTo>
                  <a:lnTo>
                    <a:pt x="1724" y="139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74" name="Google Shape;245;p29">
              <a:extLst>
                <a:ext uri="{FF2B5EF4-FFF2-40B4-BE49-F238E27FC236}">
                  <a16:creationId xmlns:a16="http://schemas.microsoft.com/office/drawing/2014/main" id="{9F8A6EFB-E13A-4DEE-89AA-8DD4CBEA8FFA}"/>
                </a:ext>
              </a:extLst>
            </p:cNvPr>
            <p:cNvSpPr/>
            <p:nvPr/>
          </p:nvSpPr>
          <p:spPr>
            <a:xfrm>
              <a:off x="2301725" y="2660750"/>
              <a:ext cx="71625" cy="52250"/>
            </a:xfrm>
            <a:custGeom>
              <a:avLst/>
              <a:gdLst/>
              <a:ahLst/>
              <a:cxnLst/>
              <a:rect l="l" t="t" r="r" b="b"/>
              <a:pathLst>
                <a:path w="2865" h="2090" extrusionOk="0">
                  <a:moveTo>
                    <a:pt x="137" y="1690"/>
                  </a:moveTo>
                  <a:lnTo>
                    <a:pt x="137" y="1941"/>
                  </a:lnTo>
                  <a:lnTo>
                    <a:pt x="343" y="2089"/>
                  </a:lnTo>
                  <a:lnTo>
                    <a:pt x="708" y="1462"/>
                  </a:lnTo>
                  <a:lnTo>
                    <a:pt x="993" y="1325"/>
                  </a:lnTo>
                  <a:lnTo>
                    <a:pt x="1085" y="1553"/>
                  </a:lnTo>
                  <a:lnTo>
                    <a:pt x="1393" y="1496"/>
                  </a:lnTo>
                  <a:lnTo>
                    <a:pt x="1552" y="1325"/>
                  </a:lnTo>
                  <a:lnTo>
                    <a:pt x="1804" y="1370"/>
                  </a:lnTo>
                  <a:lnTo>
                    <a:pt x="2180" y="1347"/>
                  </a:lnTo>
                  <a:lnTo>
                    <a:pt x="2534" y="1530"/>
                  </a:lnTo>
                  <a:lnTo>
                    <a:pt x="2865" y="1153"/>
                  </a:lnTo>
                  <a:lnTo>
                    <a:pt x="2511" y="834"/>
                  </a:lnTo>
                  <a:lnTo>
                    <a:pt x="2169" y="800"/>
                  </a:lnTo>
                  <a:lnTo>
                    <a:pt x="2203" y="526"/>
                  </a:lnTo>
                  <a:lnTo>
                    <a:pt x="1781" y="549"/>
                  </a:lnTo>
                  <a:lnTo>
                    <a:pt x="1667" y="229"/>
                  </a:lnTo>
                  <a:lnTo>
                    <a:pt x="1461" y="240"/>
                  </a:lnTo>
                  <a:lnTo>
                    <a:pt x="1028" y="12"/>
                  </a:lnTo>
                  <a:lnTo>
                    <a:pt x="400" y="1"/>
                  </a:lnTo>
                  <a:lnTo>
                    <a:pt x="286" y="161"/>
                  </a:lnTo>
                  <a:lnTo>
                    <a:pt x="309" y="663"/>
                  </a:lnTo>
                  <a:lnTo>
                    <a:pt x="206" y="1005"/>
                  </a:lnTo>
                  <a:lnTo>
                    <a:pt x="0" y="1153"/>
                  </a:lnTo>
                  <a:lnTo>
                    <a:pt x="172" y="1427"/>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75" name="Google Shape;246;p29">
              <a:extLst>
                <a:ext uri="{FF2B5EF4-FFF2-40B4-BE49-F238E27FC236}">
                  <a16:creationId xmlns:a16="http://schemas.microsoft.com/office/drawing/2014/main" id="{C5827530-CF06-476E-A43C-108DF2144A57}"/>
                </a:ext>
              </a:extLst>
            </p:cNvPr>
            <p:cNvSpPr/>
            <p:nvPr/>
          </p:nvSpPr>
          <p:spPr>
            <a:xfrm>
              <a:off x="3553075" y="2269025"/>
              <a:ext cx="402875" cy="410600"/>
            </a:xfrm>
            <a:custGeom>
              <a:avLst/>
              <a:gdLst/>
              <a:ahLst/>
              <a:cxnLst/>
              <a:rect l="l" t="t" r="r" b="b"/>
              <a:pathLst>
                <a:path w="16115" h="16424" extrusionOk="0">
                  <a:moveTo>
                    <a:pt x="13056" y="161"/>
                  </a:moveTo>
                  <a:lnTo>
                    <a:pt x="12542" y="218"/>
                  </a:lnTo>
                  <a:lnTo>
                    <a:pt x="12223" y="1"/>
                  </a:lnTo>
                  <a:lnTo>
                    <a:pt x="11424" y="1"/>
                  </a:lnTo>
                  <a:lnTo>
                    <a:pt x="10728" y="377"/>
                  </a:lnTo>
                  <a:lnTo>
                    <a:pt x="10340" y="241"/>
                  </a:lnTo>
                  <a:lnTo>
                    <a:pt x="9096" y="309"/>
                  </a:lnTo>
                  <a:lnTo>
                    <a:pt x="7829" y="480"/>
                  </a:lnTo>
                  <a:lnTo>
                    <a:pt x="7110" y="766"/>
                  </a:lnTo>
                  <a:lnTo>
                    <a:pt x="6631" y="1131"/>
                  </a:lnTo>
                  <a:lnTo>
                    <a:pt x="5821" y="1302"/>
                  </a:lnTo>
                  <a:lnTo>
                    <a:pt x="5090" y="1804"/>
                  </a:lnTo>
                  <a:lnTo>
                    <a:pt x="5375" y="2386"/>
                  </a:lnTo>
                  <a:lnTo>
                    <a:pt x="5421" y="2945"/>
                  </a:lnTo>
                  <a:lnTo>
                    <a:pt x="5672" y="3904"/>
                  </a:lnTo>
                  <a:lnTo>
                    <a:pt x="5878" y="4098"/>
                  </a:lnTo>
                  <a:lnTo>
                    <a:pt x="5729" y="4452"/>
                  </a:lnTo>
                  <a:lnTo>
                    <a:pt x="4736" y="4600"/>
                  </a:lnTo>
                  <a:lnTo>
                    <a:pt x="4371" y="4942"/>
                  </a:lnTo>
                  <a:lnTo>
                    <a:pt x="3938" y="5011"/>
                  </a:lnTo>
                  <a:lnTo>
                    <a:pt x="3892" y="5684"/>
                  </a:lnTo>
                  <a:lnTo>
                    <a:pt x="2990" y="6038"/>
                  </a:lnTo>
                  <a:lnTo>
                    <a:pt x="2694" y="6494"/>
                  </a:lnTo>
                  <a:lnTo>
                    <a:pt x="2066" y="6734"/>
                  </a:lnTo>
                  <a:lnTo>
                    <a:pt x="1290" y="6882"/>
                  </a:lnTo>
                  <a:lnTo>
                    <a:pt x="23" y="7556"/>
                  </a:lnTo>
                  <a:lnTo>
                    <a:pt x="12" y="8617"/>
                  </a:lnTo>
                  <a:lnTo>
                    <a:pt x="12" y="8674"/>
                  </a:lnTo>
                  <a:lnTo>
                    <a:pt x="0" y="8845"/>
                  </a:lnTo>
                  <a:lnTo>
                    <a:pt x="2888" y="11059"/>
                  </a:lnTo>
                  <a:lnTo>
                    <a:pt x="5512" y="13045"/>
                  </a:lnTo>
                  <a:lnTo>
                    <a:pt x="8171" y="15008"/>
                  </a:lnTo>
                  <a:lnTo>
                    <a:pt x="8354" y="15442"/>
                  </a:lnTo>
                  <a:lnTo>
                    <a:pt x="8845" y="15693"/>
                  </a:lnTo>
                  <a:lnTo>
                    <a:pt x="9210" y="15852"/>
                  </a:lnTo>
                  <a:lnTo>
                    <a:pt x="9221" y="16423"/>
                  </a:lnTo>
                  <a:lnTo>
                    <a:pt x="10100" y="16343"/>
                  </a:lnTo>
                  <a:lnTo>
                    <a:pt x="11207" y="15944"/>
                  </a:lnTo>
                  <a:lnTo>
                    <a:pt x="13467" y="14152"/>
                  </a:lnTo>
                  <a:lnTo>
                    <a:pt x="16114" y="12417"/>
                  </a:lnTo>
                  <a:lnTo>
                    <a:pt x="15761" y="11847"/>
                  </a:lnTo>
                  <a:lnTo>
                    <a:pt x="15144" y="11436"/>
                  </a:lnTo>
                  <a:lnTo>
                    <a:pt x="14779" y="11607"/>
                  </a:lnTo>
                  <a:lnTo>
                    <a:pt x="14494" y="11094"/>
                  </a:lnTo>
                  <a:lnTo>
                    <a:pt x="14460" y="10706"/>
                  </a:lnTo>
                  <a:lnTo>
                    <a:pt x="13980" y="10032"/>
                  </a:lnTo>
                  <a:lnTo>
                    <a:pt x="14277" y="9667"/>
                  </a:lnTo>
                  <a:lnTo>
                    <a:pt x="14209" y="9096"/>
                  </a:lnTo>
                  <a:lnTo>
                    <a:pt x="14288" y="8594"/>
                  </a:lnTo>
                  <a:lnTo>
                    <a:pt x="14220" y="8183"/>
                  </a:lnTo>
                  <a:lnTo>
                    <a:pt x="14345" y="7442"/>
                  </a:lnTo>
                  <a:lnTo>
                    <a:pt x="14288" y="7008"/>
                  </a:lnTo>
                  <a:lnTo>
                    <a:pt x="14015" y="6209"/>
                  </a:lnTo>
                  <a:lnTo>
                    <a:pt x="13649" y="4600"/>
                  </a:lnTo>
                  <a:lnTo>
                    <a:pt x="13159" y="4223"/>
                  </a:lnTo>
                  <a:lnTo>
                    <a:pt x="13159" y="4018"/>
                  </a:lnTo>
                  <a:lnTo>
                    <a:pt x="12520" y="3470"/>
                  </a:lnTo>
                  <a:lnTo>
                    <a:pt x="12440" y="2785"/>
                  </a:lnTo>
                  <a:lnTo>
                    <a:pt x="12896" y="2272"/>
                  </a:lnTo>
                  <a:lnTo>
                    <a:pt x="13044" y="1519"/>
                  </a:lnTo>
                  <a:lnTo>
                    <a:pt x="12908" y="629"/>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76" name="Google Shape;247;p29">
              <a:extLst>
                <a:ext uri="{FF2B5EF4-FFF2-40B4-BE49-F238E27FC236}">
                  <a16:creationId xmlns:a16="http://schemas.microsoft.com/office/drawing/2014/main" id="{54E74499-625A-4354-9276-6A663551CF7E}"/>
                </a:ext>
              </a:extLst>
            </p:cNvPr>
            <p:cNvSpPr/>
            <p:nvPr/>
          </p:nvSpPr>
          <p:spPr>
            <a:xfrm>
              <a:off x="2098875" y="3081000"/>
              <a:ext cx="114725" cy="143550"/>
            </a:xfrm>
            <a:custGeom>
              <a:avLst/>
              <a:gdLst/>
              <a:ahLst/>
              <a:cxnLst/>
              <a:rect l="l" t="t" r="r" b="b"/>
              <a:pathLst>
                <a:path w="4589" h="5742" extrusionOk="0">
                  <a:moveTo>
                    <a:pt x="4474" y="1382"/>
                  </a:moveTo>
                  <a:lnTo>
                    <a:pt x="4132" y="1165"/>
                  </a:lnTo>
                  <a:lnTo>
                    <a:pt x="3732" y="868"/>
                  </a:lnTo>
                  <a:lnTo>
                    <a:pt x="3504" y="1005"/>
                  </a:lnTo>
                  <a:lnTo>
                    <a:pt x="2831" y="880"/>
                  </a:lnTo>
                  <a:lnTo>
                    <a:pt x="2637" y="492"/>
                  </a:lnTo>
                  <a:lnTo>
                    <a:pt x="2488" y="514"/>
                  </a:lnTo>
                  <a:lnTo>
                    <a:pt x="1689" y="1"/>
                  </a:lnTo>
                  <a:lnTo>
                    <a:pt x="1130" y="355"/>
                  </a:lnTo>
                  <a:lnTo>
                    <a:pt x="696" y="549"/>
                  </a:lnTo>
                  <a:lnTo>
                    <a:pt x="754" y="925"/>
                  </a:lnTo>
                  <a:lnTo>
                    <a:pt x="434" y="1507"/>
                  </a:lnTo>
                  <a:lnTo>
                    <a:pt x="286" y="2067"/>
                  </a:lnTo>
                  <a:lnTo>
                    <a:pt x="23" y="2203"/>
                  </a:lnTo>
                  <a:lnTo>
                    <a:pt x="160" y="3037"/>
                  </a:lnTo>
                  <a:lnTo>
                    <a:pt x="0" y="3288"/>
                  </a:lnTo>
                  <a:lnTo>
                    <a:pt x="491" y="3676"/>
                  </a:lnTo>
                  <a:lnTo>
                    <a:pt x="788" y="3265"/>
                  </a:lnTo>
                  <a:lnTo>
                    <a:pt x="970" y="3664"/>
                  </a:lnTo>
                  <a:lnTo>
                    <a:pt x="560" y="4326"/>
                  </a:lnTo>
                  <a:lnTo>
                    <a:pt x="662" y="4714"/>
                  </a:lnTo>
                  <a:lnTo>
                    <a:pt x="445" y="4931"/>
                  </a:lnTo>
                  <a:lnTo>
                    <a:pt x="480" y="5262"/>
                  </a:lnTo>
                  <a:lnTo>
                    <a:pt x="811" y="5182"/>
                  </a:lnTo>
                  <a:lnTo>
                    <a:pt x="1130" y="5285"/>
                  </a:lnTo>
                  <a:lnTo>
                    <a:pt x="1484" y="5741"/>
                  </a:lnTo>
                  <a:lnTo>
                    <a:pt x="1929" y="5376"/>
                  </a:lnTo>
                  <a:lnTo>
                    <a:pt x="2055" y="4760"/>
                  </a:lnTo>
                  <a:lnTo>
                    <a:pt x="2534" y="3972"/>
                  </a:lnTo>
                  <a:lnTo>
                    <a:pt x="3481" y="3619"/>
                  </a:lnTo>
                  <a:lnTo>
                    <a:pt x="4337" y="2660"/>
                  </a:lnTo>
                  <a:lnTo>
                    <a:pt x="4588" y="207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77" name="Google Shape;248;p29">
              <a:extLst>
                <a:ext uri="{FF2B5EF4-FFF2-40B4-BE49-F238E27FC236}">
                  <a16:creationId xmlns:a16="http://schemas.microsoft.com/office/drawing/2014/main" id="{DDF95F41-DD0C-4BEB-BA98-7B702F3C8D7D}"/>
                </a:ext>
              </a:extLst>
            </p:cNvPr>
            <p:cNvSpPr/>
            <p:nvPr/>
          </p:nvSpPr>
          <p:spPr>
            <a:xfrm>
              <a:off x="4196425" y="2395425"/>
              <a:ext cx="248250" cy="217700"/>
            </a:xfrm>
            <a:custGeom>
              <a:avLst/>
              <a:gdLst/>
              <a:ahLst/>
              <a:cxnLst/>
              <a:rect l="l" t="t" r="r" b="b"/>
              <a:pathLst>
                <a:path w="9930" h="8708" extrusionOk="0">
                  <a:moveTo>
                    <a:pt x="2820" y="514"/>
                  </a:moveTo>
                  <a:lnTo>
                    <a:pt x="2044" y="240"/>
                  </a:lnTo>
                  <a:lnTo>
                    <a:pt x="1279" y="0"/>
                  </a:lnTo>
                  <a:lnTo>
                    <a:pt x="275" y="35"/>
                  </a:lnTo>
                  <a:lnTo>
                    <a:pt x="12" y="457"/>
                  </a:lnTo>
                  <a:lnTo>
                    <a:pt x="172" y="845"/>
                  </a:lnTo>
                  <a:lnTo>
                    <a:pt x="1" y="1404"/>
                  </a:lnTo>
                  <a:lnTo>
                    <a:pt x="286" y="2123"/>
                  </a:lnTo>
                  <a:lnTo>
                    <a:pt x="469" y="5364"/>
                  </a:lnTo>
                  <a:lnTo>
                    <a:pt x="617" y="8708"/>
                  </a:lnTo>
                  <a:lnTo>
                    <a:pt x="3767" y="8708"/>
                  </a:lnTo>
                  <a:lnTo>
                    <a:pt x="6814" y="8708"/>
                  </a:lnTo>
                  <a:lnTo>
                    <a:pt x="9929" y="8708"/>
                  </a:lnTo>
                  <a:lnTo>
                    <a:pt x="9781" y="8514"/>
                  </a:lnTo>
                  <a:lnTo>
                    <a:pt x="8811" y="7704"/>
                  </a:lnTo>
                  <a:lnTo>
                    <a:pt x="8754" y="7110"/>
                  </a:lnTo>
                  <a:lnTo>
                    <a:pt x="8902" y="6951"/>
                  </a:lnTo>
                  <a:lnTo>
                    <a:pt x="8149" y="5946"/>
                  </a:lnTo>
                  <a:lnTo>
                    <a:pt x="7864" y="5433"/>
                  </a:lnTo>
                  <a:lnTo>
                    <a:pt x="7533" y="4931"/>
                  </a:lnTo>
                  <a:lnTo>
                    <a:pt x="6848" y="3527"/>
                  </a:lnTo>
                  <a:lnTo>
                    <a:pt x="6289" y="2614"/>
                  </a:lnTo>
                  <a:lnTo>
                    <a:pt x="5890" y="1655"/>
                  </a:lnTo>
                  <a:lnTo>
                    <a:pt x="5958" y="1575"/>
                  </a:lnTo>
                  <a:lnTo>
                    <a:pt x="6620" y="2865"/>
                  </a:lnTo>
                  <a:lnTo>
                    <a:pt x="7008" y="3287"/>
                  </a:lnTo>
                  <a:lnTo>
                    <a:pt x="7293" y="3572"/>
                  </a:lnTo>
                  <a:lnTo>
                    <a:pt x="7464" y="3413"/>
                  </a:lnTo>
                  <a:lnTo>
                    <a:pt x="7636" y="2933"/>
                  </a:lnTo>
                  <a:lnTo>
                    <a:pt x="7727" y="2249"/>
                  </a:lnTo>
                  <a:lnTo>
                    <a:pt x="7921" y="1895"/>
                  </a:lnTo>
                  <a:lnTo>
                    <a:pt x="7818" y="1655"/>
                  </a:lnTo>
                  <a:lnTo>
                    <a:pt x="7259" y="343"/>
                  </a:lnTo>
                  <a:lnTo>
                    <a:pt x="7259" y="343"/>
                  </a:lnTo>
                  <a:lnTo>
                    <a:pt x="6905" y="571"/>
                  </a:lnTo>
                  <a:lnTo>
                    <a:pt x="6300" y="514"/>
                  </a:lnTo>
                  <a:lnTo>
                    <a:pt x="5673" y="297"/>
                  </a:lnTo>
                  <a:lnTo>
                    <a:pt x="5513" y="605"/>
                  </a:lnTo>
                  <a:lnTo>
                    <a:pt x="5273" y="149"/>
                  </a:lnTo>
                  <a:lnTo>
                    <a:pt x="4714" y="35"/>
                  </a:lnTo>
                  <a:lnTo>
                    <a:pt x="4052" y="115"/>
                  </a:lnTo>
                  <a:lnTo>
                    <a:pt x="3744" y="377"/>
                  </a:lnTo>
                  <a:lnTo>
                    <a:pt x="3196" y="66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78" name="Google Shape;249;p29">
              <a:extLst>
                <a:ext uri="{FF2B5EF4-FFF2-40B4-BE49-F238E27FC236}">
                  <a16:creationId xmlns:a16="http://schemas.microsoft.com/office/drawing/2014/main" id="{FA6A66AC-01A9-468B-BE8E-7E516F9975B1}"/>
                </a:ext>
              </a:extLst>
            </p:cNvPr>
            <p:cNvSpPr/>
            <p:nvPr/>
          </p:nvSpPr>
          <p:spPr>
            <a:xfrm>
              <a:off x="4442375" y="2703850"/>
              <a:ext cx="136400" cy="125550"/>
            </a:xfrm>
            <a:custGeom>
              <a:avLst/>
              <a:gdLst/>
              <a:ahLst/>
              <a:cxnLst/>
              <a:rect l="l" t="t" r="r" b="b"/>
              <a:pathLst>
                <a:path w="5456" h="5022" extrusionOk="0">
                  <a:moveTo>
                    <a:pt x="2739" y="2328"/>
                  </a:moveTo>
                  <a:lnTo>
                    <a:pt x="2283" y="1883"/>
                  </a:lnTo>
                  <a:lnTo>
                    <a:pt x="2032" y="1050"/>
                  </a:lnTo>
                  <a:lnTo>
                    <a:pt x="1495" y="0"/>
                  </a:lnTo>
                  <a:lnTo>
                    <a:pt x="1130" y="514"/>
                  </a:lnTo>
                  <a:lnTo>
                    <a:pt x="559" y="662"/>
                  </a:lnTo>
                  <a:lnTo>
                    <a:pt x="331" y="947"/>
                  </a:lnTo>
                  <a:lnTo>
                    <a:pt x="274" y="1541"/>
                  </a:lnTo>
                  <a:lnTo>
                    <a:pt x="0" y="2887"/>
                  </a:lnTo>
                  <a:lnTo>
                    <a:pt x="103" y="3241"/>
                  </a:lnTo>
                  <a:lnTo>
                    <a:pt x="1027" y="3424"/>
                  </a:lnTo>
                  <a:lnTo>
                    <a:pt x="1244" y="2762"/>
                  </a:lnTo>
                  <a:lnTo>
                    <a:pt x="1746" y="3173"/>
                  </a:lnTo>
                  <a:lnTo>
                    <a:pt x="2203" y="2956"/>
                  </a:lnTo>
                  <a:lnTo>
                    <a:pt x="2397" y="3138"/>
                  </a:lnTo>
                  <a:lnTo>
                    <a:pt x="2956" y="3161"/>
                  </a:lnTo>
                  <a:lnTo>
                    <a:pt x="3652" y="3515"/>
                  </a:lnTo>
                  <a:lnTo>
                    <a:pt x="3880" y="3823"/>
                  </a:lnTo>
                  <a:lnTo>
                    <a:pt x="4245" y="4131"/>
                  </a:lnTo>
                  <a:lnTo>
                    <a:pt x="4599" y="4656"/>
                  </a:lnTo>
                  <a:lnTo>
                    <a:pt x="4885" y="4953"/>
                  </a:lnTo>
                  <a:lnTo>
                    <a:pt x="5227" y="5021"/>
                  </a:lnTo>
                  <a:lnTo>
                    <a:pt x="5455" y="4816"/>
                  </a:lnTo>
                  <a:lnTo>
                    <a:pt x="5056" y="4542"/>
                  </a:lnTo>
                  <a:lnTo>
                    <a:pt x="4782" y="4223"/>
                  </a:lnTo>
                  <a:lnTo>
                    <a:pt x="4325" y="3698"/>
                  </a:lnTo>
                  <a:lnTo>
                    <a:pt x="3869" y="318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79" name="Google Shape;250;p29">
              <a:extLst>
                <a:ext uri="{FF2B5EF4-FFF2-40B4-BE49-F238E27FC236}">
                  <a16:creationId xmlns:a16="http://schemas.microsoft.com/office/drawing/2014/main" id="{03D0D199-1841-4F98-8D08-AEFFC8009CB4}"/>
                </a:ext>
              </a:extLst>
            </p:cNvPr>
            <p:cNvSpPr/>
            <p:nvPr/>
          </p:nvSpPr>
          <p:spPr>
            <a:xfrm>
              <a:off x="4098000" y="1776025"/>
              <a:ext cx="76500" cy="44825"/>
            </a:xfrm>
            <a:custGeom>
              <a:avLst/>
              <a:gdLst/>
              <a:ahLst/>
              <a:cxnLst/>
              <a:rect l="l" t="t" r="r" b="b"/>
              <a:pathLst>
                <a:path w="3060" h="1793" extrusionOk="0">
                  <a:moveTo>
                    <a:pt x="1553" y="1"/>
                  </a:moveTo>
                  <a:lnTo>
                    <a:pt x="765" y="126"/>
                  </a:lnTo>
                  <a:lnTo>
                    <a:pt x="1" y="354"/>
                  </a:lnTo>
                  <a:lnTo>
                    <a:pt x="126" y="845"/>
                  </a:lnTo>
                  <a:lnTo>
                    <a:pt x="594" y="1142"/>
                  </a:lnTo>
                  <a:lnTo>
                    <a:pt x="811" y="1028"/>
                  </a:lnTo>
                  <a:lnTo>
                    <a:pt x="822" y="1530"/>
                  </a:lnTo>
                  <a:lnTo>
                    <a:pt x="1359" y="1382"/>
                  </a:lnTo>
                  <a:lnTo>
                    <a:pt x="1655" y="1484"/>
                  </a:lnTo>
                  <a:lnTo>
                    <a:pt x="2283" y="1792"/>
                  </a:lnTo>
                  <a:lnTo>
                    <a:pt x="2819" y="1792"/>
                  </a:lnTo>
                  <a:lnTo>
                    <a:pt x="3048" y="1518"/>
                  </a:lnTo>
                  <a:lnTo>
                    <a:pt x="2694" y="742"/>
                  </a:lnTo>
                  <a:lnTo>
                    <a:pt x="3059" y="252"/>
                  </a:lnTo>
                  <a:lnTo>
                    <a:pt x="2934" y="115"/>
                  </a:lnTo>
                  <a:lnTo>
                    <a:pt x="2934" y="115"/>
                  </a:lnTo>
                  <a:lnTo>
                    <a:pt x="2283" y="13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80" name="Google Shape;251;p29">
              <a:extLst>
                <a:ext uri="{FF2B5EF4-FFF2-40B4-BE49-F238E27FC236}">
                  <a16:creationId xmlns:a16="http://schemas.microsoft.com/office/drawing/2014/main" id="{4B9F8310-4574-4D37-98D0-DD9AC49D1CF6}"/>
                </a:ext>
              </a:extLst>
            </p:cNvPr>
            <p:cNvSpPr/>
            <p:nvPr/>
          </p:nvSpPr>
          <p:spPr>
            <a:xfrm>
              <a:off x="4380175" y="2772875"/>
              <a:ext cx="296175" cy="261650"/>
            </a:xfrm>
            <a:custGeom>
              <a:avLst/>
              <a:gdLst/>
              <a:ahLst/>
              <a:cxnLst/>
              <a:rect l="l" t="t" r="r" b="b"/>
              <a:pathLst>
                <a:path w="11847" h="10466" extrusionOk="0">
                  <a:moveTo>
                    <a:pt x="3732" y="1"/>
                  </a:moveTo>
                  <a:lnTo>
                    <a:pt x="3515" y="663"/>
                  </a:lnTo>
                  <a:lnTo>
                    <a:pt x="2591" y="480"/>
                  </a:lnTo>
                  <a:lnTo>
                    <a:pt x="2488" y="1268"/>
                  </a:lnTo>
                  <a:lnTo>
                    <a:pt x="2191" y="2146"/>
                  </a:lnTo>
                  <a:lnTo>
                    <a:pt x="1735" y="2603"/>
                  </a:lnTo>
                  <a:lnTo>
                    <a:pt x="1404" y="3288"/>
                  </a:lnTo>
                  <a:lnTo>
                    <a:pt x="1336" y="3664"/>
                  </a:lnTo>
                  <a:lnTo>
                    <a:pt x="970" y="3915"/>
                  </a:lnTo>
                  <a:lnTo>
                    <a:pt x="765" y="4874"/>
                  </a:lnTo>
                  <a:lnTo>
                    <a:pt x="765" y="4977"/>
                  </a:lnTo>
                  <a:lnTo>
                    <a:pt x="799" y="5684"/>
                  </a:lnTo>
                  <a:lnTo>
                    <a:pt x="685" y="5969"/>
                  </a:lnTo>
                  <a:lnTo>
                    <a:pt x="251" y="5992"/>
                  </a:lnTo>
                  <a:lnTo>
                    <a:pt x="0" y="6506"/>
                  </a:lnTo>
                  <a:lnTo>
                    <a:pt x="480" y="6574"/>
                  </a:lnTo>
                  <a:lnTo>
                    <a:pt x="890" y="7019"/>
                  </a:lnTo>
                  <a:lnTo>
                    <a:pt x="1039" y="7373"/>
                  </a:lnTo>
                  <a:lnTo>
                    <a:pt x="1404" y="7590"/>
                  </a:lnTo>
                  <a:lnTo>
                    <a:pt x="1906" y="8571"/>
                  </a:lnTo>
                  <a:lnTo>
                    <a:pt x="2317" y="8731"/>
                  </a:lnTo>
                  <a:lnTo>
                    <a:pt x="2317" y="9245"/>
                  </a:lnTo>
                  <a:lnTo>
                    <a:pt x="2602" y="9541"/>
                  </a:lnTo>
                  <a:lnTo>
                    <a:pt x="3161" y="9541"/>
                  </a:lnTo>
                  <a:lnTo>
                    <a:pt x="4189" y="10306"/>
                  </a:lnTo>
                  <a:lnTo>
                    <a:pt x="4451" y="10306"/>
                  </a:lnTo>
                  <a:lnTo>
                    <a:pt x="4634" y="10295"/>
                  </a:lnTo>
                  <a:lnTo>
                    <a:pt x="4805" y="10397"/>
                  </a:lnTo>
                  <a:lnTo>
                    <a:pt x="5341" y="10466"/>
                  </a:lnTo>
                  <a:lnTo>
                    <a:pt x="5569" y="10078"/>
                  </a:lnTo>
                  <a:lnTo>
                    <a:pt x="6300" y="9713"/>
                  </a:lnTo>
                  <a:lnTo>
                    <a:pt x="6631" y="10009"/>
                  </a:lnTo>
                  <a:lnTo>
                    <a:pt x="7167" y="10009"/>
                  </a:lnTo>
                  <a:lnTo>
                    <a:pt x="7384" y="9724"/>
                  </a:lnTo>
                  <a:lnTo>
                    <a:pt x="7898" y="9713"/>
                  </a:lnTo>
                  <a:lnTo>
                    <a:pt x="8594" y="9073"/>
                  </a:lnTo>
                  <a:lnTo>
                    <a:pt x="9655" y="9028"/>
                  </a:lnTo>
                  <a:lnTo>
                    <a:pt x="11846" y="6300"/>
                  </a:lnTo>
                  <a:lnTo>
                    <a:pt x="11161" y="6312"/>
                  </a:lnTo>
                  <a:lnTo>
                    <a:pt x="8525" y="5228"/>
                  </a:lnTo>
                  <a:lnTo>
                    <a:pt x="8217" y="4919"/>
                  </a:lnTo>
                  <a:lnTo>
                    <a:pt x="7909" y="4474"/>
                  </a:lnTo>
                  <a:lnTo>
                    <a:pt x="7601" y="3972"/>
                  </a:lnTo>
                  <a:lnTo>
                    <a:pt x="7761" y="3653"/>
                  </a:lnTo>
                  <a:lnTo>
                    <a:pt x="7567" y="3493"/>
                  </a:lnTo>
                  <a:lnTo>
                    <a:pt x="7384" y="3561"/>
                  </a:lnTo>
                  <a:lnTo>
                    <a:pt x="6939" y="3550"/>
                  </a:lnTo>
                  <a:lnTo>
                    <a:pt x="6916" y="3265"/>
                  </a:lnTo>
                  <a:lnTo>
                    <a:pt x="6848" y="3025"/>
                  </a:lnTo>
                  <a:lnTo>
                    <a:pt x="7099" y="2591"/>
                  </a:lnTo>
                  <a:lnTo>
                    <a:pt x="7373" y="2192"/>
                  </a:lnTo>
                  <a:lnTo>
                    <a:pt x="7087" y="1895"/>
                  </a:lnTo>
                  <a:lnTo>
                    <a:pt x="6733" y="1370"/>
                  </a:lnTo>
                  <a:lnTo>
                    <a:pt x="6368" y="1062"/>
                  </a:lnTo>
                  <a:lnTo>
                    <a:pt x="6140" y="754"/>
                  </a:lnTo>
                  <a:lnTo>
                    <a:pt x="5444" y="389"/>
                  </a:lnTo>
                  <a:lnTo>
                    <a:pt x="4885" y="377"/>
                  </a:lnTo>
                  <a:lnTo>
                    <a:pt x="4691" y="195"/>
                  </a:lnTo>
                  <a:lnTo>
                    <a:pt x="4234" y="41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81" name="Google Shape;252;p29">
              <a:extLst>
                <a:ext uri="{FF2B5EF4-FFF2-40B4-BE49-F238E27FC236}">
                  <a16:creationId xmlns:a16="http://schemas.microsoft.com/office/drawing/2014/main" id="{421753C0-5E31-4AFB-9A63-2C770EA3B58A}"/>
                </a:ext>
              </a:extLst>
            </p:cNvPr>
            <p:cNvSpPr/>
            <p:nvPr/>
          </p:nvSpPr>
          <p:spPr>
            <a:xfrm>
              <a:off x="4022100" y="1565475"/>
              <a:ext cx="189775" cy="205450"/>
            </a:xfrm>
            <a:custGeom>
              <a:avLst/>
              <a:gdLst/>
              <a:ahLst/>
              <a:cxnLst/>
              <a:rect l="l" t="t" r="r" b="b"/>
              <a:pathLst>
                <a:path w="7591" h="8218" extrusionOk="0">
                  <a:moveTo>
                    <a:pt x="4623" y="845"/>
                  </a:moveTo>
                  <a:lnTo>
                    <a:pt x="4737" y="309"/>
                  </a:lnTo>
                  <a:lnTo>
                    <a:pt x="3915" y="0"/>
                  </a:lnTo>
                  <a:lnTo>
                    <a:pt x="3094" y="263"/>
                  </a:lnTo>
                  <a:lnTo>
                    <a:pt x="2934" y="822"/>
                  </a:lnTo>
                  <a:lnTo>
                    <a:pt x="2455" y="1165"/>
                  </a:lnTo>
                  <a:lnTo>
                    <a:pt x="1781" y="971"/>
                  </a:lnTo>
                  <a:lnTo>
                    <a:pt x="1028" y="1016"/>
                  </a:lnTo>
                  <a:lnTo>
                    <a:pt x="298" y="605"/>
                  </a:lnTo>
                  <a:lnTo>
                    <a:pt x="1" y="799"/>
                  </a:lnTo>
                  <a:lnTo>
                    <a:pt x="834" y="1187"/>
                  </a:lnTo>
                  <a:lnTo>
                    <a:pt x="1861" y="1712"/>
                  </a:lnTo>
                  <a:lnTo>
                    <a:pt x="2112" y="2911"/>
                  </a:lnTo>
                  <a:lnTo>
                    <a:pt x="2375" y="3230"/>
                  </a:lnTo>
                  <a:lnTo>
                    <a:pt x="3288" y="3595"/>
                  </a:lnTo>
                  <a:lnTo>
                    <a:pt x="3425" y="3926"/>
                  </a:lnTo>
                  <a:lnTo>
                    <a:pt x="3048" y="4097"/>
                  </a:lnTo>
                  <a:lnTo>
                    <a:pt x="1804" y="4965"/>
                  </a:lnTo>
                  <a:lnTo>
                    <a:pt x="1336" y="5478"/>
                  </a:lnTo>
                  <a:lnTo>
                    <a:pt x="1119" y="5958"/>
                  </a:lnTo>
                  <a:lnTo>
                    <a:pt x="1542" y="6688"/>
                  </a:lnTo>
                  <a:lnTo>
                    <a:pt x="1519" y="7510"/>
                  </a:lnTo>
                  <a:lnTo>
                    <a:pt x="2192" y="7772"/>
                  </a:lnTo>
                  <a:lnTo>
                    <a:pt x="2637" y="8217"/>
                  </a:lnTo>
                  <a:lnTo>
                    <a:pt x="3653" y="8046"/>
                  </a:lnTo>
                  <a:lnTo>
                    <a:pt x="4714" y="7749"/>
                  </a:lnTo>
                  <a:lnTo>
                    <a:pt x="5855" y="7681"/>
                  </a:lnTo>
                  <a:lnTo>
                    <a:pt x="5855" y="7681"/>
                  </a:lnTo>
                  <a:lnTo>
                    <a:pt x="6985" y="6620"/>
                  </a:lnTo>
                  <a:lnTo>
                    <a:pt x="7453" y="6152"/>
                  </a:lnTo>
                  <a:lnTo>
                    <a:pt x="7590" y="5741"/>
                  </a:lnTo>
                  <a:lnTo>
                    <a:pt x="6540" y="5182"/>
                  </a:lnTo>
                  <a:lnTo>
                    <a:pt x="6677" y="4657"/>
                  </a:lnTo>
                  <a:lnTo>
                    <a:pt x="5970" y="4063"/>
                  </a:lnTo>
                  <a:lnTo>
                    <a:pt x="6221" y="3378"/>
                  </a:lnTo>
                  <a:lnTo>
                    <a:pt x="5308" y="2488"/>
                  </a:lnTo>
                  <a:lnTo>
                    <a:pt x="5707" y="1895"/>
                  </a:lnTo>
                  <a:lnTo>
                    <a:pt x="4680" y="137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82" name="Google Shape;253;p29">
              <a:extLst>
                <a:ext uri="{FF2B5EF4-FFF2-40B4-BE49-F238E27FC236}">
                  <a16:creationId xmlns:a16="http://schemas.microsoft.com/office/drawing/2014/main" id="{6A08998C-06D9-42AD-BF96-AFB3D76776B0}"/>
                </a:ext>
              </a:extLst>
            </p:cNvPr>
            <p:cNvSpPr/>
            <p:nvPr/>
          </p:nvSpPr>
          <p:spPr>
            <a:xfrm>
              <a:off x="7224100" y="3476725"/>
              <a:ext cx="63625" cy="50250"/>
            </a:xfrm>
            <a:custGeom>
              <a:avLst/>
              <a:gdLst/>
              <a:ahLst/>
              <a:cxnLst/>
              <a:rect l="l" t="t" r="r" b="b"/>
              <a:pathLst>
                <a:path w="2545" h="2010" extrusionOk="0">
                  <a:moveTo>
                    <a:pt x="2545" y="1"/>
                  </a:moveTo>
                  <a:lnTo>
                    <a:pt x="2020" y="286"/>
                  </a:lnTo>
                  <a:lnTo>
                    <a:pt x="1746" y="332"/>
                  </a:lnTo>
                  <a:lnTo>
                    <a:pt x="1301" y="514"/>
                  </a:lnTo>
                  <a:lnTo>
                    <a:pt x="1335" y="857"/>
                  </a:lnTo>
                  <a:lnTo>
                    <a:pt x="1883" y="674"/>
                  </a:lnTo>
                  <a:lnTo>
                    <a:pt x="2442" y="446"/>
                  </a:lnTo>
                  <a:close/>
                  <a:moveTo>
                    <a:pt x="970" y="1153"/>
                  </a:moveTo>
                  <a:lnTo>
                    <a:pt x="742" y="1302"/>
                  </a:lnTo>
                  <a:lnTo>
                    <a:pt x="422" y="1187"/>
                  </a:lnTo>
                  <a:lnTo>
                    <a:pt x="34" y="1496"/>
                  </a:lnTo>
                  <a:lnTo>
                    <a:pt x="0" y="1895"/>
                  </a:lnTo>
                  <a:lnTo>
                    <a:pt x="422" y="2009"/>
                  </a:lnTo>
                  <a:lnTo>
                    <a:pt x="936" y="1884"/>
                  </a:lnTo>
                  <a:lnTo>
                    <a:pt x="1187" y="1416"/>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83" name="Google Shape;254;p29">
              <a:extLst>
                <a:ext uri="{FF2B5EF4-FFF2-40B4-BE49-F238E27FC236}">
                  <a16:creationId xmlns:a16="http://schemas.microsoft.com/office/drawing/2014/main" id="{A60B99CB-D4E4-4F44-B0E7-F353290FD23C}"/>
                </a:ext>
              </a:extLst>
            </p:cNvPr>
            <p:cNvSpPr/>
            <p:nvPr/>
          </p:nvSpPr>
          <p:spPr>
            <a:xfrm>
              <a:off x="3897425" y="3059625"/>
              <a:ext cx="113300" cy="142950"/>
            </a:xfrm>
            <a:custGeom>
              <a:avLst/>
              <a:gdLst/>
              <a:ahLst/>
              <a:cxnLst/>
              <a:rect l="l" t="t" r="r" b="b"/>
              <a:pathLst>
                <a:path w="4532" h="5718" extrusionOk="0">
                  <a:moveTo>
                    <a:pt x="3447" y="34"/>
                  </a:moveTo>
                  <a:lnTo>
                    <a:pt x="3345" y="0"/>
                  </a:lnTo>
                  <a:lnTo>
                    <a:pt x="2854" y="114"/>
                  </a:lnTo>
                  <a:lnTo>
                    <a:pt x="2375" y="0"/>
                  </a:lnTo>
                  <a:lnTo>
                    <a:pt x="1998" y="57"/>
                  </a:lnTo>
                  <a:lnTo>
                    <a:pt x="1998" y="1141"/>
                  </a:lnTo>
                  <a:lnTo>
                    <a:pt x="834" y="1141"/>
                  </a:lnTo>
                  <a:lnTo>
                    <a:pt x="560" y="1175"/>
                  </a:lnTo>
                  <a:lnTo>
                    <a:pt x="400" y="1860"/>
                  </a:lnTo>
                  <a:lnTo>
                    <a:pt x="218" y="2522"/>
                  </a:lnTo>
                  <a:lnTo>
                    <a:pt x="35" y="2807"/>
                  </a:lnTo>
                  <a:lnTo>
                    <a:pt x="1" y="3104"/>
                  </a:lnTo>
                  <a:lnTo>
                    <a:pt x="492" y="4051"/>
                  </a:lnTo>
                  <a:lnTo>
                    <a:pt x="1017" y="4805"/>
                  </a:lnTo>
                  <a:lnTo>
                    <a:pt x="1850" y="5718"/>
                  </a:lnTo>
                  <a:lnTo>
                    <a:pt x="2454" y="5215"/>
                  </a:lnTo>
                  <a:lnTo>
                    <a:pt x="2158" y="4611"/>
                  </a:lnTo>
                  <a:lnTo>
                    <a:pt x="2432" y="4382"/>
                  </a:lnTo>
                  <a:lnTo>
                    <a:pt x="2968" y="4280"/>
                  </a:lnTo>
                  <a:lnTo>
                    <a:pt x="3048" y="3880"/>
                  </a:lnTo>
                  <a:lnTo>
                    <a:pt x="3470" y="4302"/>
                  </a:lnTo>
                  <a:lnTo>
                    <a:pt x="4166" y="4348"/>
                  </a:lnTo>
                  <a:lnTo>
                    <a:pt x="4417" y="3914"/>
                  </a:lnTo>
                  <a:lnTo>
                    <a:pt x="4531" y="3310"/>
                  </a:lnTo>
                  <a:lnTo>
                    <a:pt x="4440" y="2602"/>
                  </a:lnTo>
                  <a:lnTo>
                    <a:pt x="4052" y="2066"/>
                  </a:lnTo>
                  <a:lnTo>
                    <a:pt x="4395" y="1004"/>
                  </a:lnTo>
                  <a:lnTo>
                    <a:pt x="4201" y="833"/>
                  </a:lnTo>
                  <a:lnTo>
                    <a:pt x="3596" y="913"/>
                  </a:lnTo>
                  <a:lnTo>
                    <a:pt x="3390" y="43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84" name="Google Shape;255;p29">
              <a:extLst>
                <a:ext uri="{FF2B5EF4-FFF2-40B4-BE49-F238E27FC236}">
                  <a16:creationId xmlns:a16="http://schemas.microsoft.com/office/drawing/2014/main" id="{4B57E735-1A7F-4589-9E9A-BEB23039414E}"/>
                </a:ext>
              </a:extLst>
            </p:cNvPr>
            <p:cNvSpPr/>
            <p:nvPr/>
          </p:nvSpPr>
          <p:spPr>
            <a:xfrm>
              <a:off x="3593575" y="1796275"/>
              <a:ext cx="156375" cy="186625"/>
            </a:xfrm>
            <a:custGeom>
              <a:avLst/>
              <a:gdLst/>
              <a:ahLst/>
              <a:cxnLst/>
              <a:rect l="l" t="t" r="r" b="b"/>
              <a:pathLst>
                <a:path w="6255" h="7465" extrusionOk="0">
                  <a:moveTo>
                    <a:pt x="1302" y="3470"/>
                  </a:moveTo>
                  <a:lnTo>
                    <a:pt x="606" y="2945"/>
                  </a:lnTo>
                  <a:lnTo>
                    <a:pt x="47" y="2980"/>
                  </a:lnTo>
                  <a:lnTo>
                    <a:pt x="161" y="3436"/>
                  </a:lnTo>
                  <a:lnTo>
                    <a:pt x="1" y="3892"/>
                  </a:lnTo>
                  <a:lnTo>
                    <a:pt x="423" y="3881"/>
                  </a:lnTo>
                  <a:lnTo>
                    <a:pt x="914" y="4064"/>
                  </a:lnTo>
                  <a:close/>
                  <a:moveTo>
                    <a:pt x="3162" y="1"/>
                  </a:moveTo>
                  <a:lnTo>
                    <a:pt x="2375" y="69"/>
                  </a:lnTo>
                  <a:lnTo>
                    <a:pt x="1861" y="12"/>
                  </a:lnTo>
                  <a:lnTo>
                    <a:pt x="1336" y="697"/>
                  </a:lnTo>
                  <a:lnTo>
                    <a:pt x="1062" y="1576"/>
                  </a:lnTo>
                  <a:lnTo>
                    <a:pt x="1370" y="1998"/>
                  </a:lnTo>
                  <a:lnTo>
                    <a:pt x="1393" y="2831"/>
                  </a:lnTo>
                  <a:lnTo>
                    <a:pt x="1758" y="2432"/>
                  </a:lnTo>
                  <a:lnTo>
                    <a:pt x="1964" y="2660"/>
                  </a:lnTo>
                  <a:lnTo>
                    <a:pt x="1713" y="3037"/>
                  </a:lnTo>
                  <a:lnTo>
                    <a:pt x="1861" y="3265"/>
                  </a:lnTo>
                  <a:lnTo>
                    <a:pt x="2671" y="3425"/>
                  </a:lnTo>
                  <a:lnTo>
                    <a:pt x="2683" y="3425"/>
                  </a:lnTo>
                  <a:lnTo>
                    <a:pt x="3128" y="3961"/>
                  </a:lnTo>
                  <a:lnTo>
                    <a:pt x="3014" y="4463"/>
                  </a:lnTo>
                  <a:lnTo>
                    <a:pt x="3014" y="4463"/>
                  </a:lnTo>
                  <a:lnTo>
                    <a:pt x="1998" y="4383"/>
                  </a:lnTo>
                  <a:lnTo>
                    <a:pt x="1861" y="4954"/>
                  </a:lnTo>
                  <a:lnTo>
                    <a:pt x="2226" y="5422"/>
                  </a:lnTo>
                  <a:lnTo>
                    <a:pt x="1507" y="5696"/>
                  </a:lnTo>
                  <a:lnTo>
                    <a:pt x="1690" y="6038"/>
                  </a:lnTo>
                  <a:lnTo>
                    <a:pt x="2763" y="6175"/>
                  </a:lnTo>
                  <a:lnTo>
                    <a:pt x="2763" y="6175"/>
                  </a:lnTo>
                  <a:lnTo>
                    <a:pt x="2146" y="6369"/>
                  </a:lnTo>
                  <a:lnTo>
                    <a:pt x="1108" y="7293"/>
                  </a:lnTo>
                  <a:lnTo>
                    <a:pt x="1462" y="7464"/>
                  </a:lnTo>
                  <a:lnTo>
                    <a:pt x="1964" y="7134"/>
                  </a:lnTo>
                  <a:lnTo>
                    <a:pt x="2603" y="7236"/>
                  </a:lnTo>
                  <a:lnTo>
                    <a:pt x="3071" y="6814"/>
                  </a:lnTo>
                  <a:lnTo>
                    <a:pt x="3390" y="6985"/>
                  </a:lnTo>
                  <a:lnTo>
                    <a:pt x="4566" y="6746"/>
                  </a:lnTo>
                  <a:lnTo>
                    <a:pt x="5502" y="6757"/>
                  </a:lnTo>
                  <a:lnTo>
                    <a:pt x="6106" y="6289"/>
                  </a:lnTo>
                  <a:lnTo>
                    <a:pt x="5844" y="5844"/>
                  </a:lnTo>
                  <a:lnTo>
                    <a:pt x="6186" y="5593"/>
                  </a:lnTo>
                  <a:lnTo>
                    <a:pt x="6255" y="5034"/>
                  </a:lnTo>
                  <a:lnTo>
                    <a:pt x="5422" y="4863"/>
                  </a:lnTo>
                  <a:lnTo>
                    <a:pt x="5239" y="4532"/>
                  </a:lnTo>
                  <a:lnTo>
                    <a:pt x="4828" y="3550"/>
                  </a:lnTo>
                  <a:lnTo>
                    <a:pt x="4372" y="3413"/>
                  </a:lnTo>
                  <a:lnTo>
                    <a:pt x="3790" y="2397"/>
                  </a:lnTo>
                  <a:lnTo>
                    <a:pt x="3733" y="2306"/>
                  </a:lnTo>
                  <a:lnTo>
                    <a:pt x="3048" y="2249"/>
                  </a:lnTo>
                  <a:lnTo>
                    <a:pt x="3641" y="1496"/>
                  </a:lnTo>
                  <a:lnTo>
                    <a:pt x="3824" y="800"/>
                  </a:lnTo>
                  <a:lnTo>
                    <a:pt x="3116" y="800"/>
                  </a:lnTo>
                  <a:lnTo>
                    <a:pt x="2443" y="91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85" name="Google Shape;256;p29">
              <a:extLst>
                <a:ext uri="{FF2B5EF4-FFF2-40B4-BE49-F238E27FC236}">
                  <a16:creationId xmlns:a16="http://schemas.microsoft.com/office/drawing/2014/main" id="{5BB13C26-DEDA-417E-BAC8-716DD9898F65}"/>
                </a:ext>
              </a:extLst>
            </p:cNvPr>
            <p:cNvSpPr/>
            <p:nvPr/>
          </p:nvSpPr>
          <p:spPr>
            <a:xfrm>
              <a:off x="4445800" y="2124375"/>
              <a:ext cx="131825" cy="54825"/>
            </a:xfrm>
            <a:custGeom>
              <a:avLst/>
              <a:gdLst/>
              <a:ahLst/>
              <a:cxnLst/>
              <a:rect l="l" t="t" r="r" b="b"/>
              <a:pathLst>
                <a:path w="5273" h="2193" extrusionOk="0">
                  <a:moveTo>
                    <a:pt x="2876" y="720"/>
                  </a:moveTo>
                  <a:lnTo>
                    <a:pt x="1803" y="298"/>
                  </a:lnTo>
                  <a:lnTo>
                    <a:pt x="708" y="161"/>
                  </a:lnTo>
                  <a:lnTo>
                    <a:pt x="69" y="1"/>
                  </a:lnTo>
                  <a:lnTo>
                    <a:pt x="0" y="104"/>
                  </a:lnTo>
                  <a:lnTo>
                    <a:pt x="308" y="366"/>
                  </a:lnTo>
                  <a:lnTo>
                    <a:pt x="742" y="469"/>
                  </a:lnTo>
                  <a:lnTo>
                    <a:pt x="1221" y="800"/>
                  </a:lnTo>
                  <a:lnTo>
                    <a:pt x="1518" y="1393"/>
                  </a:lnTo>
                  <a:lnTo>
                    <a:pt x="1484" y="1781"/>
                  </a:lnTo>
                  <a:lnTo>
                    <a:pt x="2248" y="1736"/>
                  </a:lnTo>
                  <a:lnTo>
                    <a:pt x="3047" y="2169"/>
                  </a:lnTo>
                  <a:lnTo>
                    <a:pt x="4029" y="2021"/>
                  </a:lnTo>
                  <a:lnTo>
                    <a:pt x="4188" y="1884"/>
                  </a:lnTo>
                  <a:lnTo>
                    <a:pt x="4793" y="2135"/>
                  </a:lnTo>
                  <a:lnTo>
                    <a:pt x="5193" y="2192"/>
                  </a:lnTo>
                  <a:lnTo>
                    <a:pt x="5273" y="2101"/>
                  </a:lnTo>
                  <a:lnTo>
                    <a:pt x="4816" y="1610"/>
                  </a:lnTo>
                  <a:lnTo>
                    <a:pt x="4976" y="1485"/>
                  </a:lnTo>
                  <a:lnTo>
                    <a:pt x="4474" y="1290"/>
                  </a:lnTo>
                  <a:lnTo>
                    <a:pt x="4177" y="925"/>
                  </a:lnTo>
                  <a:lnTo>
                    <a:pt x="3447" y="743"/>
                  </a:lnTo>
                  <a:lnTo>
                    <a:pt x="3036" y="88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86" name="Google Shape;257;p29">
              <a:extLst>
                <a:ext uri="{FF2B5EF4-FFF2-40B4-BE49-F238E27FC236}">
                  <a16:creationId xmlns:a16="http://schemas.microsoft.com/office/drawing/2014/main" id="{958B54D3-4159-458B-A54D-3B658BC3C7C3}"/>
                </a:ext>
              </a:extLst>
            </p:cNvPr>
            <p:cNvSpPr/>
            <p:nvPr/>
          </p:nvSpPr>
          <p:spPr>
            <a:xfrm>
              <a:off x="3656350" y="2860475"/>
              <a:ext cx="85900" cy="144950"/>
            </a:xfrm>
            <a:custGeom>
              <a:avLst/>
              <a:gdLst/>
              <a:ahLst/>
              <a:cxnLst/>
              <a:rect l="l" t="t" r="r" b="b"/>
              <a:pathLst>
                <a:path w="3436" h="5798" extrusionOk="0">
                  <a:moveTo>
                    <a:pt x="2614" y="69"/>
                  </a:moveTo>
                  <a:lnTo>
                    <a:pt x="2249" y="0"/>
                  </a:lnTo>
                  <a:lnTo>
                    <a:pt x="1986" y="149"/>
                  </a:lnTo>
                  <a:lnTo>
                    <a:pt x="1644" y="69"/>
                  </a:lnTo>
                  <a:lnTo>
                    <a:pt x="263" y="114"/>
                  </a:lnTo>
                  <a:lnTo>
                    <a:pt x="229" y="628"/>
                  </a:lnTo>
                  <a:lnTo>
                    <a:pt x="343" y="1313"/>
                  </a:lnTo>
                  <a:lnTo>
                    <a:pt x="548" y="2614"/>
                  </a:lnTo>
                  <a:lnTo>
                    <a:pt x="217" y="3367"/>
                  </a:lnTo>
                  <a:lnTo>
                    <a:pt x="1" y="4394"/>
                  </a:lnTo>
                  <a:lnTo>
                    <a:pt x="343" y="5181"/>
                  </a:lnTo>
                  <a:lnTo>
                    <a:pt x="320" y="5535"/>
                  </a:lnTo>
                  <a:lnTo>
                    <a:pt x="1028" y="5798"/>
                  </a:lnTo>
                  <a:lnTo>
                    <a:pt x="1747" y="5524"/>
                  </a:lnTo>
                  <a:lnTo>
                    <a:pt x="2203" y="5227"/>
                  </a:lnTo>
                  <a:lnTo>
                    <a:pt x="3436" y="4679"/>
                  </a:lnTo>
                  <a:lnTo>
                    <a:pt x="3264" y="4371"/>
                  </a:lnTo>
                  <a:lnTo>
                    <a:pt x="3059" y="3801"/>
                  </a:lnTo>
                  <a:lnTo>
                    <a:pt x="3002" y="3344"/>
                  </a:lnTo>
                  <a:lnTo>
                    <a:pt x="3173" y="2522"/>
                  </a:lnTo>
                  <a:lnTo>
                    <a:pt x="2968" y="2203"/>
                  </a:lnTo>
                  <a:lnTo>
                    <a:pt x="2888" y="1473"/>
                  </a:lnTo>
                  <a:lnTo>
                    <a:pt x="2899" y="811"/>
                  </a:lnTo>
                  <a:lnTo>
                    <a:pt x="2557" y="34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87" name="Google Shape;258;p29">
              <a:extLst>
                <a:ext uri="{FF2B5EF4-FFF2-40B4-BE49-F238E27FC236}">
                  <a16:creationId xmlns:a16="http://schemas.microsoft.com/office/drawing/2014/main" id="{87FDF5F3-C9DE-495A-96DB-BE56204302F7}"/>
                </a:ext>
              </a:extLst>
            </p:cNvPr>
            <p:cNvSpPr/>
            <p:nvPr/>
          </p:nvSpPr>
          <p:spPr>
            <a:xfrm>
              <a:off x="3419550" y="2826525"/>
              <a:ext cx="145250" cy="119850"/>
            </a:xfrm>
            <a:custGeom>
              <a:avLst/>
              <a:gdLst/>
              <a:ahLst/>
              <a:cxnLst/>
              <a:rect l="l" t="t" r="r" b="b"/>
              <a:pathLst>
                <a:path w="5810" h="4794" extrusionOk="0">
                  <a:moveTo>
                    <a:pt x="2899" y="137"/>
                  </a:moveTo>
                  <a:lnTo>
                    <a:pt x="2785" y="194"/>
                  </a:lnTo>
                  <a:lnTo>
                    <a:pt x="2363" y="114"/>
                  </a:lnTo>
                  <a:lnTo>
                    <a:pt x="2306" y="217"/>
                  </a:lnTo>
                  <a:lnTo>
                    <a:pt x="2112" y="229"/>
                  </a:lnTo>
                  <a:lnTo>
                    <a:pt x="1541" y="23"/>
                  </a:lnTo>
                  <a:lnTo>
                    <a:pt x="1164" y="0"/>
                  </a:lnTo>
                  <a:lnTo>
                    <a:pt x="1142" y="308"/>
                  </a:lnTo>
                  <a:lnTo>
                    <a:pt x="1062" y="400"/>
                  </a:lnTo>
                  <a:lnTo>
                    <a:pt x="1119" y="708"/>
                  </a:lnTo>
                  <a:lnTo>
                    <a:pt x="1005" y="833"/>
                  </a:lnTo>
                  <a:lnTo>
                    <a:pt x="822" y="833"/>
                  </a:lnTo>
                  <a:lnTo>
                    <a:pt x="617" y="970"/>
                  </a:lnTo>
                  <a:lnTo>
                    <a:pt x="377" y="959"/>
                  </a:lnTo>
                  <a:lnTo>
                    <a:pt x="0" y="1404"/>
                  </a:lnTo>
                  <a:lnTo>
                    <a:pt x="229" y="1564"/>
                  </a:lnTo>
                  <a:lnTo>
                    <a:pt x="343" y="1758"/>
                  </a:lnTo>
                  <a:lnTo>
                    <a:pt x="445" y="2157"/>
                  </a:lnTo>
                  <a:lnTo>
                    <a:pt x="628" y="2328"/>
                  </a:lnTo>
                  <a:lnTo>
                    <a:pt x="845" y="2454"/>
                  </a:lnTo>
                  <a:lnTo>
                    <a:pt x="1142" y="2808"/>
                  </a:lnTo>
                  <a:lnTo>
                    <a:pt x="1484" y="3344"/>
                  </a:lnTo>
                  <a:lnTo>
                    <a:pt x="1918" y="2945"/>
                  </a:lnTo>
                  <a:lnTo>
                    <a:pt x="2020" y="2705"/>
                  </a:lnTo>
                  <a:lnTo>
                    <a:pt x="2157" y="2500"/>
                  </a:lnTo>
                  <a:lnTo>
                    <a:pt x="2374" y="2477"/>
                  </a:lnTo>
                  <a:lnTo>
                    <a:pt x="2557" y="2306"/>
                  </a:lnTo>
                  <a:lnTo>
                    <a:pt x="3196" y="2306"/>
                  </a:lnTo>
                  <a:lnTo>
                    <a:pt x="3413" y="2625"/>
                  </a:lnTo>
                  <a:lnTo>
                    <a:pt x="3584" y="3013"/>
                  </a:lnTo>
                  <a:lnTo>
                    <a:pt x="3561" y="3276"/>
                  </a:lnTo>
                  <a:lnTo>
                    <a:pt x="3687" y="3515"/>
                  </a:lnTo>
                  <a:lnTo>
                    <a:pt x="3687" y="3846"/>
                  </a:lnTo>
                  <a:lnTo>
                    <a:pt x="3903" y="3801"/>
                  </a:lnTo>
                  <a:lnTo>
                    <a:pt x="4075" y="3766"/>
                  </a:lnTo>
                  <a:lnTo>
                    <a:pt x="4280" y="3675"/>
                  </a:lnTo>
                  <a:lnTo>
                    <a:pt x="4611" y="4223"/>
                  </a:lnTo>
                  <a:lnTo>
                    <a:pt x="4554" y="4599"/>
                  </a:lnTo>
                  <a:lnTo>
                    <a:pt x="4714" y="4782"/>
                  </a:lnTo>
                  <a:lnTo>
                    <a:pt x="4942" y="4793"/>
                  </a:lnTo>
                  <a:lnTo>
                    <a:pt x="5102" y="4428"/>
                  </a:lnTo>
                  <a:lnTo>
                    <a:pt x="5330" y="4451"/>
                  </a:lnTo>
                  <a:lnTo>
                    <a:pt x="5455" y="4451"/>
                  </a:lnTo>
                  <a:lnTo>
                    <a:pt x="5501" y="4052"/>
                  </a:lnTo>
                  <a:lnTo>
                    <a:pt x="5444" y="3880"/>
                  </a:lnTo>
                  <a:lnTo>
                    <a:pt x="5524" y="3755"/>
                  </a:lnTo>
                  <a:lnTo>
                    <a:pt x="5809" y="3641"/>
                  </a:lnTo>
                  <a:lnTo>
                    <a:pt x="5627" y="2910"/>
                  </a:lnTo>
                  <a:lnTo>
                    <a:pt x="5444" y="2545"/>
                  </a:lnTo>
                  <a:lnTo>
                    <a:pt x="5513" y="2226"/>
                  </a:lnTo>
                  <a:lnTo>
                    <a:pt x="5672" y="2157"/>
                  </a:lnTo>
                  <a:lnTo>
                    <a:pt x="5421" y="1906"/>
                  </a:lnTo>
                  <a:lnTo>
                    <a:pt x="5467" y="1632"/>
                  </a:lnTo>
                  <a:lnTo>
                    <a:pt x="5364" y="1530"/>
                  </a:lnTo>
                  <a:lnTo>
                    <a:pt x="5193" y="1621"/>
                  </a:lnTo>
                  <a:lnTo>
                    <a:pt x="5227" y="1313"/>
                  </a:lnTo>
                  <a:lnTo>
                    <a:pt x="5398" y="1084"/>
                  </a:lnTo>
                  <a:lnTo>
                    <a:pt x="5067" y="708"/>
                  </a:lnTo>
                  <a:lnTo>
                    <a:pt x="4988" y="457"/>
                  </a:lnTo>
                  <a:lnTo>
                    <a:pt x="4794" y="263"/>
                  </a:lnTo>
                  <a:lnTo>
                    <a:pt x="4645" y="229"/>
                  </a:lnTo>
                  <a:lnTo>
                    <a:pt x="4451" y="365"/>
                  </a:lnTo>
                  <a:lnTo>
                    <a:pt x="4200" y="480"/>
                  </a:lnTo>
                  <a:lnTo>
                    <a:pt x="3972" y="674"/>
                  </a:lnTo>
                  <a:lnTo>
                    <a:pt x="3629" y="605"/>
                  </a:lnTo>
                  <a:lnTo>
                    <a:pt x="3413" y="377"/>
                  </a:lnTo>
                  <a:lnTo>
                    <a:pt x="3287" y="343"/>
                  </a:lnTo>
                  <a:lnTo>
                    <a:pt x="3070" y="457"/>
                  </a:lnTo>
                  <a:lnTo>
                    <a:pt x="2945" y="457"/>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88" name="Google Shape;259;p29">
              <a:extLst>
                <a:ext uri="{FF2B5EF4-FFF2-40B4-BE49-F238E27FC236}">
                  <a16:creationId xmlns:a16="http://schemas.microsoft.com/office/drawing/2014/main" id="{5238754E-4E1C-4919-A9A4-2C1F2D96443E}"/>
                </a:ext>
              </a:extLst>
            </p:cNvPr>
            <p:cNvSpPr/>
            <p:nvPr/>
          </p:nvSpPr>
          <p:spPr>
            <a:xfrm>
              <a:off x="3386450" y="2797425"/>
              <a:ext cx="59650" cy="16850"/>
            </a:xfrm>
            <a:custGeom>
              <a:avLst/>
              <a:gdLst/>
              <a:ahLst/>
              <a:cxnLst/>
              <a:rect l="l" t="t" r="r" b="b"/>
              <a:pathLst>
                <a:path w="2386" h="674" extrusionOk="0">
                  <a:moveTo>
                    <a:pt x="1" y="651"/>
                  </a:moveTo>
                  <a:lnTo>
                    <a:pt x="720" y="674"/>
                  </a:lnTo>
                  <a:lnTo>
                    <a:pt x="914" y="537"/>
                  </a:lnTo>
                  <a:lnTo>
                    <a:pt x="1062" y="537"/>
                  </a:lnTo>
                  <a:lnTo>
                    <a:pt x="1359" y="331"/>
                  </a:lnTo>
                  <a:lnTo>
                    <a:pt x="1701" y="525"/>
                  </a:lnTo>
                  <a:lnTo>
                    <a:pt x="2043" y="537"/>
                  </a:lnTo>
                  <a:lnTo>
                    <a:pt x="2386" y="331"/>
                  </a:lnTo>
                  <a:lnTo>
                    <a:pt x="2226" y="69"/>
                  </a:lnTo>
                  <a:lnTo>
                    <a:pt x="1963" y="228"/>
                  </a:lnTo>
                  <a:lnTo>
                    <a:pt x="1712" y="217"/>
                  </a:lnTo>
                  <a:lnTo>
                    <a:pt x="1416" y="0"/>
                  </a:lnTo>
                  <a:lnTo>
                    <a:pt x="1153" y="12"/>
                  </a:lnTo>
                  <a:lnTo>
                    <a:pt x="971" y="228"/>
                  </a:lnTo>
                  <a:lnTo>
                    <a:pt x="103" y="25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89" name="Google Shape;260;p29">
              <a:extLst>
                <a:ext uri="{FF2B5EF4-FFF2-40B4-BE49-F238E27FC236}">
                  <a16:creationId xmlns:a16="http://schemas.microsoft.com/office/drawing/2014/main" id="{EB2123EA-0738-4CAF-AD27-4975A1F69BA5}"/>
                </a:ext>
              </a:extLst>
            </p:cNvPr>
            <p:cNvSpPr/>
            <p:nvPr/>
          </p:nvSpPr>
          <p:spPr>
            <a:xfrm>
              <a:off x="3389300" y="2825675"/>
              <a:ext cx="59375" cy="35950"/>
            </a:xfrm>
            <a:custGeom>
              <a:avLst/>
              <a:gdLst/>
              <a:ahLst/>
              <a:cxnLst/>
              <a:rect l="l" t="t" r="r" b="b"/>
              <a:pathLst>
                <a:path w="2375" h="1438" extrusionOk="0">
                  <a:moveTo>
                    <a:pt x="2374" y="34"/>
                  </a:moveTo>
                  <a:lnTo>
                    <a:pt x="902" y="0"/>
                  </a:lnTo>
                  <a:lnTo>
                    <a:pt x="685" y="91"/>
                  </a:lnTo>
                  <a:lnTo>
                    <a:pt x="434" y="69"/>
                  </a:lnTo>
                  <a:lnTo>
                    <a:pt x="1" y="228"/>
                  </a:lnTo>
                  <a:lnTo>
                    <a:pt x="46" y="411"/>
                  </a:lnTo>
                  <a:lnTo>
                    <a:pt x="286" y="605"/>
                  </a:lnTo>
                  <a:lnTo>
                    <a:pt x="286" y="742"/>
                  </a:lnTo>
                  <a:lnTo>
                    <a:pt x="457" y="993"/>
                  </a:lnTo>
                  <a:lnTo>
                    <a:pt x="800" y="1061"/>
                  </a:lnTo>
                  <a:lnTo>
                    <a:pt x="1210" y="1438"/>
                  </a:lnTo>
                  <a:lnTo>
                    <a:pt x="1587" y="993"/>
                  </a:lnTo>
                  <a:lnTo>
                    <a:pt x="1827" y="1004"/>
                  </a:lnTo>
                  <a:lnTo>
                    <a:pt x="2032" y="867"/>
                  </a:lnTo>
                  <a:lnTo>
                    <a:pt x="2215" y="867"/>
                  </a:lnTo>
                  <a:lnTo>
                    <a:pt x="2329" y="742"/>
                  </a:lnTo>
                  <a:lnTo>
                    <a:pt x="2272" y="434"/>
                  </a:lnTo>
                  <a:lnTo>
                    <a:pt x="2352" y="34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90" name="Google Shape;261;p29">
              <a:extLst>
                <a:ext uri="{FF2B5EF4-FFF2-40B4-BE49-F238E27FC236}">
                  <a16:creationId xmlns:a16="http://schemas.microsoft.com/office/drawing/2014/main" id="{8DDD28C0-47CF-4348-AE5A-2828D654FB47}"/>
                </a:ext>
              </a:extLst>
            </p:cNvPr>
            <p:cNvSpPr/>
            <p:nvPr/>
          </p:nvSpPr>
          <p:spPr>
            <a:xfrm>
              <a:off x="3907700" y="3060175"/>
              <a:ext cx="39675" cy="28850"/>
            </a:xfrm>
            <a:custGeom>
              <a:avLst/>
              <a:gdLst/>
              <a:ahLst/>
              <a:cxnLst/>
              <a:rect l="l" t="t" r="r" b="b"/>
              <a:pathLst>
                <a:path w="1587" h="1154" extrusionOk="0">
                  <a:moveTo>
                    <a:pt x="1587" y="24"/>
                  </a:moveTo>
                  <a:lnTo>
                    <a:pt x="275" y="1"/>
                  </a:lnTo>
                  <a:lnTo>
                    <a:pt x="1" y="1028"/>
                  </a:lnTo>
                  <a:lnTo>
                    <a:pt x="149" y="1153"/>
                  </a:lnTo>
                  <a:lnTo>
                    <a:pt x="423" y="1119"/>
                  </a:lnTo>
                  <a:lnTo>
                    <a:pt x="1587" y="1119"/>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91" name="Google Shape;262;p29">
              <a:extLst>
                <a:ext uri="{FF2B5EF4-FFF2-40B4-BE49-F238E27FC236}">
                  <a16:creationId xmlns:a16="http://schemas.microsoft.com/office/drawing/2014/main" id="{2ED37924-E6C6-45EC-8CFB-4071FA88FEF9}"/>
                </a:ext>
              </a:extLst>
            </p:cNvPr>
            <p:cNvSpPr/>
            <p:nvPr/>
          </p:nvSpPr>
          <p:spPr>
            <a:xfrm>
              <a:off x="4094300" y="2162625"/>
              <a:ext cx="123275" cy="157225"/>
            </a:xfrm>
            <a:custGeom>
              <a:avLst/>
              <a:gdLst/>
              <a:ahLst/>
              <a:cxnLst/>
              <a:rect l="l" t="t" r="r" b="b"/>
              <a:pathLst>
                <a:path w="4931" h="6289" extrusionOk="0">
                  <a:moveTo>
                    <a:pt x="2945" y="5558"/>
                  </a:moveTo>
                  <a:lnTo>
                    <a:pt x="2830" y="5957"/>
                  </a:lnTo>
                  <a:lnTo>
                    <a:pt x="3766" y="6128"/>
                  </a:lnTo>
                  <a:lnTo>
                    <a:pt x="3766" y="6288"/>
                  </a:lnTo>
                  <a:lnTo>
                    <a:pt x="4850" y="6208"/>
                  </a:lnTo>
                  <a:lnTo>
                    <a:pt x="4930" y="5934"/>
                  </a:lnTo>
                  <a:lnTo>
                    <a:pt x="4531" y="6049"/>
                  </a:lnTo>
                  <a:lnTo>
                    <a:pt x="4531" y="5889"/>
                  </a:lnTo>
                  <a:lnTo>
                    <a:pt x="3972" y="5820"/>
                  </a:lnTo>
                  <a:lnTo>
                    <a:pt x="3390" y="5877"/>
                  </a:lnTo>
                  <a:close/>
                  <a:moveTo>
                    <a:pt x="4588" y="228"/>
                  </a:moveTo>
                  <a:lnTo>
                    <a:pt x="4200" y="0"/>
                  </a:lnTo>
                  <a:lnTo>
                    <a:pt x="4246" y="422"/>
                  </a:lnTo>
                  <a:lnTo>
                    <a:pt x="3584" y="514"/>
                  </a:lnTo>
                  <a:lnTo>
                    <a:pt x="3024" y="206"/>
                  </a:lnTo>
                  <a:lnTo>
                    <a:pt x="2465" y="457"/>
                  </a:lnTo>
                  <a:lnTo>
                    <a:pt x="1929" y="422"/>
                  </a:lnTo>
                  <a:lnTo>
                    <a:pt x="1792" y="457"/>
                  </a:lnTo>
                  <a:lnTo>
                    <a:pt x="1689" y="616"/>
                  </a:lnTo>
                  <a:lnTo>
                    <a:pt x="1290" y="594"/>
                  </a:lnTo>
                  <a:lnTo>
                    <a:pt x="1016" y="776"/>
                  </a:lnTo>
                  <a:lnTo>
                    <a:pt x="548" y="867"/>
                  </a:lnTo>
                  <a:lnTo>
                    <a:pt x="548" y="1096"/>
                  </a:lnTo>
                  <a:lnTo>
                    <a:pt x="320" y="1221"/>
                  </a:lnTo>
                  <a:lnTo>
                    <a:pt x="308" y="1529"/>
                  </a:lnTo>
                  <a:lnTo>
                    <a:pt x="0" y="1952"/>
                  </a:lnTo>
                  <a:lnTo>
                    <a:pt x="80" y="2226"/>
                  </a:lnTo>
                  <a:lnTo>
                    <a:pt x="491" y="2739"/>
                  </a:lnTo>
                  <a:lnTo>
                    <a:pt x="822" y="3161"/>
                  </a:lnTo>
                  <a:lnTo>
                    <a:pt x="1005" y="3778"/>
                  </a:lnTo>
                  <a:lnTo>
                    <a:pt x="1335" y="4508"/>
                  </a:lnTo>
                  <a:lnTo>
                    <a:pt x="1986" y="4919"/>
                  </a:lnTo>
                  <a:lnTo>
                    <a:pt x="2477" y="4907"/>
                  </a:lnTo>
                  <a:lnTo>
                    <a:pt x="2134" y="4097"/>
                  </a:lnTo>
                  <a:lnTo>
                    <a:pt x="2602" y="3994"/>
                  </a:lnTo>
                  <a:lnTo>
                    <a:pt x="2328" y="3527"/>
                  </a:lnTo>
                  <a:lnTo>
                    <a:pt x="3036" y="3766"/>
                  </a:lnTo>
                  <a:lnTo>
                    <a:pt x="2979" y="3241"/>
                  </a:lnTo>
                  <a:lnTo>
                    <a:pt x="2602" y="2979"/>
                  </a:lnTo>
                  <a:lnTo>
                    <a:pt x="2146" y="2556"/>
                  </a:lnTo>
                  <a:lnTo>
                    <a:pt x="2397" y="2351"/>
                  </a:lnTo>
                  <a:lnTo>
                    <a:pt x="1997" y="1929"/>
                  </a:lnTo>
                  <a:lnTo>
                    <a:pt x="1769" y="1381"/>
                  </a:lnTo>
                  <a:lnTo>
                    <a:pt x="1895" y="1198"/>
                  </a:lnTo>
                  <a:lnTo>
                    <a:pt x="2328" y="1655"/>
                  </a:lnTo>
                  <a:lnTo>
                    <a:pt x="2739" y="1655"/>
                  </a:lnTo>
                  <a:lnTo>
                    <a:pt x="3104" y="1507"/>
                  </a:lnTo>
                  <a:lnTo>
                    <a:pt x="2545" y="993"/>
                  </a:lnTo>
                  <a:lnTo>
                    <a:pt x="3413" y="765"/>
                  </a:lnTo>
                  <a:lnTo>
                    <a:pt x="3801" y="856"/>
                  </a:lnTo>
                  <a:lnTo>
                    <a:pt x="4257" y="879"/>
                  </a:lnTo>
                  <a:lnTo>
                    <a:pt x="4405" y="776"/>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92" name="Google Shape;263;p29">
              <a:extLst>
                <a:ext uri="{FF2B5EF4-FFF2-40B4-BE49-F238E27FC236}">
                  <a16:creationId xmlns:a16="http://schemas.microsoft.com/office/drawing/2014/main" id="{F2B5FE21-FFC6-4E82-8A24-935C06BE8615}"/>
                </a:ext>
              </a:extLst>
            </p:cNvPr>
            <p:cNvSpPr/>
            <p:nvPr/>
          </p:nvSpPr>
          <p:spPr>
            <a:xfrm>
              <a:off x="2778475" y="1342375"/>
              <a:ext cx="794300" cy="424550"/>
            </a:xfrm>
            <a:custGeom>
              <a:avLst/>
              <a:gdLst/>
              <a:ahLst/>
              <a:cxnLst/>
              <a:rect l="l" t="t" r="r" b="b"/>
              <a:pathLst>
                <a:path w="31772" h="16982" extrusionOk="0">
                  <a:moveTo>
                    <a:pt x="24982" y="57"/>
                  </a:moveTo>
                  <a:lnTo>
                    <a:pt x="21273" y="0"/>
                  </a:lnTo>
                  <a:lnTo>
                    <a:pt x="19584" y="34"/>
                  </a:lnTo>
                  <a:lnTo>
                    <a:pt x="18876" y="228"/>
                  </a:lnTo>
                  <a:lnTo>
                    <a:pt x="17233" y="206"/>
                  </a:lnTo>
                  <a:lnTo>
                    <a:pt x="15418" y="514"/>
                  </a:lnTo>
                  <a:lnTo>
                    <a:pt x="15190" y="753"/>
                  </a:lnTo>
                  <a:lnTo>
                    <a:pt x="16148" y="1050"/>
                  </a:lnTo>
                  <a:lnTo>
                    <a:pt x="15258" y="867"/>
                  </a:lnTo>
                  <a:lnTo>
                    <a:pt x="14619" y="822"/>
                  </a:lnTo>
                  <a:lnTo>
                    <a:pt x="13626" y="628"/>
                  </a:lnTo>
                  <a:lnTo>
                    <a:pt x="12109" y="925"/>
                  </a:lnTo>
                  <a:lnTo>
                    <a:pt x="11721" y="753"/>
                  </a:lnTo>
                  <a:lnTo>
                    <a:pt x="10237" y="753"/>
                  </a:lnTo>
                  <a:lnTo>
                    <a:pt x="8685" y="833"/>
                  </a:lnTo>
                  <a:lnTo>
                    <a:pt x="7418" y="982"/>
                  </a:lnTo>
                  <a:lnTo>
                    <a:pt x="7384" y="1233"/>
                  </a:lnTo>
                  <a:lnTo>
                    <a:pt x="6631" y="1313"/>
                  </a:lnTo>
                  <a:lnTo>
                    <a:pt x="4554" y="1723"/>
                  </a:lnTo>
                  <a:lnTo>
                    <a:pt x="3892" y="1963"/>
                  </a:lnTo>
                  <a:lnTo>
                    <a:pt x="5044" y="2180"/>
                  </a:lnTo>
                  <a:lnTo>
                    <a:pt x="4645" y="2408"/>
                  </a:lnTo>
                  <a:lnTo>
                    <a:pt x="2522" y="2716"/>
                  </a:lnTo>
                  <a:lnTo>
                    <a:pt x="308" y="3036"/>
                  </a:lnTo>
                  <a:lnTo>
                    <a:pt x="0" y="3275"/>
                  </a:lnTo>
                  <a:lnTo>
                    <a:pt x="913" y="3561"/>
                  </a:lnTo>
                  <a:lnTo>
                    <a:pt x="2979" y="3732"/>
                  </a:lnTo>
                  <a:lnTo>
                    <a:pt x="1906" y="3766"/>
                  </a:lnTo>
                  <a:lnTo>
                    <a:pt x="354" y="3972"/>
                  </a:lnTo>
                  <a:lnTo>
                    <a:pt x="890" y="4417"/>
                  </a:lnTo>
                  <a:lnTo>
                    <a:pt x="1324" y="4633"/>
                  </a:lnTo>
                  <a:lnTo>
                    <a:pt x="2659" y="4588"/>
                  </a:lnTo>
                  <a:lnTo>
                    <a:pt x="4109" y="4565"/>
                  </a:lnTo>
                  <a:lnTo>
                    <a:pt x="5193" y="4599"/>
                  </a:lnTo>
                  <a:lnTo>
                    <a:pt x="6334" y="5022"/>
                  </a:lnTo>
                  <a:lnTo>
                    <a:pt x="6129" y="5318"/>
                  </a:lnTo>
                  <a:lnTo>
                    <a:pt x="6642" y="5592"/>
                  </a:lnTo>
                  <a:lnTo>
                    <a:pt x="6848" y="6345"/>
                  </a:lnTo>
                  <a:lnTo>
                    <a:pt x="6984" y="6859"/>
                  </a:lnTo>
                  <a:lnTo>
                    <a:pt x="7190" y="7133"/>
                  </a:lnTo>
                  <a:lnTo>
                    <a:pt x="6186" y="7817"/>
                  </a:lnTo>
                  <a:lnTo>
                    <a:pt x="6562" y="8000"/>
                  </a:lnTo>
                  <a:lnTo>
                    <a:pt x="7190" y="7886"/>
                  </a:lnTo>
                  <a:lnTo>
                    <a:pt x="7555" y="8148"/>
                  </a:lnTo>
                  <a:lnTo>
                    <a:pt x="8308" y="8628"/>
                  </a:lnTo>
                  <a:lnTo>
                    <a:pt x="7247" y="8434"/>
                  </a:lnTo>
                  <a:lnTo>
                    <a:pt x="6699" y="8434"/>
                  </a:lnTo>
                  <a:lnTo>
                    <a:pt x="6277" y="8833"/>
                  </a:lnTo>
                  <a:lnTo>
                    <a:pt x="6060" y="9347"/>
                  </a:lnTo>
                  <a:lnTo>
                    <a:pt x="6665" y="9598"/>
                  </a:lnTo>
                  <a:lnTo>
                    <a:pt x="7236" y="9484"/>
                  </a:lnTo>
                  <a:lnTo>
                    <a:pt x="7601" y="9370"/>
                  </a:lnTo>
                  <a:lnTo>
                    <a:pt x="8388" y="9096"/>
                  </a:lnTo>
                  <a:lnTo>
                    <a:pt x="7989" y="9701"/>
                  </a:lnTo>
                  <a:lnTo>
                    <a:pt x="7612" y="10020"/>
                  </a:lnTo>
                  <a:lnTo>
                    <a:pt x="6608" y="10305"/>
                  </a:lnTo>
                  <a:lnTo>
                    <a:pt x="5604" y="11207"/>
                  </a:lnTo>
                  <a:lnTo>
                    <a:pt x="5889" y="11492"/>
                  </a:lnTo>
                  <a:lnTo>
                    <a:pt x="5410" y="12063"/>
                  </a:lnTo>
                  <a:lnTo>
                    <a:pt x="5935" y="12805"/>
                  </a:lnTo>
                  <a:lnTo>
                    <a:pt x="5718" y="13524"/>
                  </a:lnTo>
                  <a:lnTo>
                    <a:pt x="5820" y="14049"/>
                  </a:lnTo>
                  <a:lnTo>
                    <a:pt x="6505" y="15064"/>
                  </a:lnTo>
                  <a:lnTo>
                    <a:pt x="6619" y="15863"/>
                  </a:lnTo>
                  <a:lnTo>
                    <a:pt x="7064" y="16320"/>
                  </a:lnTo>
                  <a:lnTo>
                    <a:pt x="8331" y="16320"/>
                  </a:lnTo>
                  <a:lnTo>
                    <a:pt x="9039" y="16981"/>
                  </a:lnTo>
                  <a:lnTo>
                    <a:pt x="9974" y="16947"/>
                  </a:lnTo>
                  <a:lnTo>
                    <a:pt x="10556" y="16126"/>
                  </a:lnTo>
                  <a:lnTo>
                    <a:pt x="11059" y="15441"/>
                  </a:lnTo>
                  <a:lnTo>
                    <a:pt x="11013" y="14813"/>
                  </a:lnTo>
                  <a:lnTo>
                    <a:pt x="12234" y="14163"/>
                  </a:lnTo>
                  <a:lnTo>
                    <a:pt x="12713" y="13638"/>
                  </a:lnTo>
                  <a:lnTo>
                    <a:pt x="12907" y="13079"/>
                  </a:lnTo>
                  <a:lnTo>
                    <a:pt x="13581" y="12576"/>
                  </a:lnTo>
                  <a:lnTo>
                    <a:pt x="14505" y="12394"/>
                  </a:lnTo>
                  <a:lnTo>
                    <a:pt x="15372" y="12188"/>
                  </a:lnTo>
                  <a:lnTo>
                    <a:pt x="15806" y="12166"/>
                  </a:lnTo>
                  <a:lnTo>
                    <a:pt x="17255" y="11606"/>
                  </a:lnTo>
                  <a:lnTo>
                    <a:pt x="18317" y="10796"/>
                  </a:lnTo>
                  <a:lnTo>
                    <a:pt x="19002" y="10499"/>
                  </a:lnTo>
                  <a:lnTo>
                    <a:pt x="19652" y="10477"/>
                  </a:lnTo>
                  <a:lnTo>
                    <a:pt x="21444" y="10225"/>
                  </a:lnTo>
                  <a:lnTo>
                    <a:pt x="23167" y="9609"/>
                  </a:lnTo>
                  <a:lnTo>
                    <a:pt x="24867" y="8959"/>
                  </a:lnTo>
                  <a:lnTo>
                    <a:pt x="24080" y="8913"/>
                  </a:lnTo>
                  <a:lnTo>
                    <a:pt x="22562" y="8879"/>
                  </a:lnTo>
                  <a:lnTo>
                    <a:pt x="23327" y="8479"/>
                  </a:lnTo>
                  <a:lnTo>
                    <a:pt x="23247" y="7966"/>
                  </a:lnTo>
                  <a:lnTo>
                    <a:pt x="23852" y="8400"/>
                  </a:lnTo>
                  <a:lnTo>
                    <a:pt x="24240" y="8696"/>
                  </a:lnTo>
                  <a:lnTo>
                    <a:pt x="25278" y="8559"/>
                  </a:lnTo>
                  <a:lnTo>
                    <a:pt x="25187" y="7943"/>
                  </a:lnTo>
                  <a:lnTo>
                    <a:pt x="24548" y="7498"/>
                  </a:lnTo>
                  <a:lnTo>
                    <a:pt x="23840" y="7315"/>
                  </a:lnTo>
                  <a:lnTo>
                    <a:pt x="24183" y="7110"/>
                  </a:lnTo>
                  <a:lnTo>
                    <a:pt x="25210" y="7418"/>
                  </a:lnTo>
                  <a:lnTo>
                    <a:pt x="25278" y="7087"/>
                  </a:lnTo>
                  <a:lnTo>
                    <a:pt x="24696" y="6596"/>
                  </a:lnTo>
                  <a:lnTo>
                    <a:pt x="25461" y="6596"/>
                  </a:lnTo>
                  <a:lnTo>
                    <a:pt x="26260" y="6482"/>
                  </a:lnTo>
                  <a:lnTo>
                    <a:pt x="26499" y="6231"/>
                  </a:lnTo>
                  <a:lnTo>
                    <a:pt x="25929" y="5934"/>
                  </a:lnTo>
                  <a:lnTo>
                    <a:pt x="27161" y="5889"/>
                  </a:lnTo>
                  <a:lnTo>
                    <a:pt x="26591" y="5273"/>
                  </a:lnTo>
                  <a:lnTo>
                    <a:pt x="27173" y="5204"/>
                  </a:lnTo>
                  <a:lnTo>
                    <a:pt x="27184" y="4599"/>
                  </a:lnTo>
                  <a:lnTo>
                    <a:pt x="26305" y="4245"/>
                  </a:lnTo>
                  <a:lnTo>
                    <a:pt x="27218" y="4017"/>
                  </a:lnTo>
                  <a:lnTo>
                    <a:pt x="28040" y="4006"/>
                  </a:lnTo>
                  <a:lnTo>
                    <a:pt x="27526" y="3549"/>
                  </a:lnTo>
                  <a:lnTo>
                    <a:pt x="27686" y="2819"/>
                  </a:lnTo>
                  <a:lnTo>
                    <a:pt x="28200" y="2408"/>
                  </a:lnTo>
                  <a:lnTo>
                    <a:pt x="28896" y="1952"/>
                  </a:lnTo>
                  <a:lnTo>
                    <a:pt x="27755" y="1917"/>
                  </a:lnTo>
                  <a:lnTo>
                    <a:pt x="29375" y="1826"/>
                  </a:lnTo>
                  <a:lnTo>
                    <a:pt x="29683" y="1678"/>
                  </a:lnTo>
                  <a:lnTo>
                    <a:pt x="31772" y="1267"/>
                  </a:lnTo>
                  <a:lnTo>
                    <a:pt x="31544" y="1027"/>
                  </a:lnTo>
                  <a:lnTo>
                    <a:pt x="30117" y="913"/>
                  </a:lnTo>
                  <a:lnTo>
                    <a:pt x="27698" y="1119"/>
                  </a:lnTo>
                  <a:lnTo>
                    <a:pt x="26385" y="1335"/>
                  </a:lnTo>
                  <a:lnTo>
                    <a:pt x="27036" y="1004"/>
                  </a:lnTo>
                  <a:lnTo>
                    <a:pt x="26705" y="810"/>
                  </a:lnTo>
                  <a:lnTo>
                    <a:pt x="25700" y="982"/>
                  </a:lnTo>
                  <a:lnTo>
                    <a:pt x="24320" y="776"/>
                  </a:lnTo>
                  <a:lnTo>
                    <a:pt x="22596" y="856"/>
                  </a:lnTo>
                  <a:lnTo>
                    <a:pt x="22391" y="753"/>
                  </a:lnTo>
                  <a:lnTo>
                    <a:pt x="25004" y="696"/>
                  </a:lnTo>
                  <a:lnTo>
                    <a:pt x="26842" y="662"/>
                  </a:lnTo>
                  <a:lnTo>
                    <a:pt x="27789" y="46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93" name="Google Shape;264;p29">
              <a:extLst>
                <a:ext uri="{FF2B5EF4-FFF2-40B4-BE49-F238E27FC236}">
                  <a16:creationId xmlns:a16="http://schemas.microsoft.com/office/drawing/2014/main" id="{7CD57997-785C-4BD0-9B5E-84D9A4113A84}"/>
                </a:ext>
              </a:extLst>
            </p:cNvPr>
            <p:cNvSpPr/>
            <p:nvPr/>
          </p:nvSpPr>
          <p:spPr>
            <a:xfrm>
              <a:off x="1890025" y="2707825"/>
              <a:ext cx="82475" cy="92750"/>
            </a:xfrm>
            <a:custGeom>
              <a:avLst/>
              <a:gdLst/>
              <a:ahLst/>
              <a:cxnLst/>
              <a:rect l="l" t="t" r="r" b="b"/>
              <a:pathLst>
                <a:path w="3299" h="3710" extrusionOk="0">
                  <a:moveTo>
                    <a:pt x="2797" y="12"/>
                  </a:moveTo>
                  <a:lnTo>
                    <a:pt x="2066" y="1"/>
                  </a:lnTo>
                  <a:lnTo>
                    <a:pt x="1324" y="1"/>
                  </a:lnTo>
                  <a:lnTo>
                    <a:pt x="1267" y="514"/>
                  </a:lnTo>
                  <a:lnTo>
                    <a:pt x="902" y="514"/>
                  </a:lnTo>
                  <a:lnTo>
                    <a:pt x="1153" y="811"/>
                  </a:lnTo>
                  <a:lnTo>
                    <a:pt x="1427" y="1028"/>
                  </a:lnTo>
                  <a:lnTo>
                    <a:pt x="1496" y="1233"/>
                  </a:lnTo>
                  <a:lnTo>
                    <a:pt x="1610" y="1279"/>
                  </a:lnTo>
                  <a:lnTo>
                    <a:pt x="1553" y="1587"/>
                  </a:lnTo>
                  <a:lnTo>
                    <a:pt x="548" y="1587"/>
                  </a:lnTo>
                  <a:lnTo>
                    <a:pt x="69" y="2329"/>
                  </a:lnTo>
                  <a:lnTo>
                    <a:pt x="172" y="2500"/>
                  </a:lnTo>
                  <a:lnTo>
                    <a:pt x="58" y="2706"/>
                  </a:lnTo>
                  <a:lnTo>
                    <a:pt x="1" y="2979"/>
                  </a:lnTo>
                  <a:lnTo>
                    <a:pt x="389" y="3356"/>
                  </a:lnTo>
                  <a:lnTo>
                    <a:pt x="742" y="3539"/>
                  </a:lnTo>
                  <a:lnTo>
                    <a:pt x="1222" y="3550"/>
                  </a:lnTo>
                  <a:lnTo>
                    <a:pt x="1633" y="3710"/>
                  </a:lnTo>
                  <a:lnTo>
                    <a:pt x="1655" y="3573"/>
                  </a:lnTo>
                  <a:lnTo>
                    <a:pt x="1952" y="3345"/>
                  </a:lnTo>
                  <a:lnTo>
                    <a:pt x="2112" y="3242"/>
                  </a:lnTo>
                  <a:lnTo>
                    <a:pt x="2089" y="3139"/>
                  </a:lnTo>
                  <a:lnTo>
                    <a:pt x="2283" y="3082"/>
                  </a:lnTo>
                  <a:lnTo>
                    <a:pt x="2466" y="2854"/>
                  </a:lnTo>
                  <a:lnTo>
                    <a:pt x="2431" y="2671"/>
                  </a:lnTo>
                  <a:lnTo>
                    <a:pt x="2500" y="2500"/>
                  </a:lnTo>
                  <a:lnTo>
                    <a:pt x="2899" y="2238"/>
                  </a:lnTo>
                  <a:lnTo>
                    <a:pt x="3299" y="1895"/>
                  </a:lnTo>
                  <a:lnTo>
                    <a:pt x="3082" y="1781"/>
                  </a:lnTo>
                  <a:lnTo>
                    <a:pt x="3002" y="1918"/>
                  </a:lnTo>
                  <a:lnTo>
                    <a:pt x="2751" y="1758"/>
                  </a:lnTo>
                  <a:lnTo>
                    <a:pt x="2523" y="1758"/>
                  </a:lnTo>
                  <a:lnTo>
                    <a:pt x="2694" y="73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94" name="Google Shape;265;p29">
              <a:extLst>
                <a:ext uri="{FF2B5EF4-FFF2-40B4-BE49-F238E27FC236}">
                  <a16:creationId xmlns:a16="http://schemas.microsoft.com/office/drawing/2014/main" id="{55A35FC8-E97C-4664-9ED7-A0C0DA92AE25}"/>
                </a:ext>
              </a:extLst>
            </p:cNvPr>
            <p:cNvSpPr/>
            <p:nvPr/>
          </p:nvSpPr>
          <p:spPr>
            <a:xfrm>
              <a:off x="2492600" y="2922100"/>
              <a:ext cx="95875" cy="161225"/>
            </a:xfrm>
            <a:custGeom>
              <a:avLst/>
              <a:gdLst/>
              <a:ahLst/>
              <a:cxnLst/>
              <a:rect l="l" t="t" r="r" b="b"/>
              <a:pathLst>
                <a:path w="3835" h="6449" extrusionOk="0">
                  <a:moveTo>
                    <a:pt x="3412" y="2191"/>
                  </a:moveTo>
                  <a:lnTo>
                    <a:pt x="3116" y="1861"/>
                  </a:lnTo>
                  <a:lnTo>
                    <a:pt x="2705" y="1415"/>
                  </a:lnTo>
                  <a:lnTo>
                    <a:pt x="2408" y="1404"/>
                  </a:lnTo>
                  <a:lnTo>
                    <a:pt x="2385" y="936"/>
                  </a:lnTo>
                  <a:lnTo>
                    <a:pt x="1917" y="343"/>
                  </a:lnTo>
                  <a:lnTo>
                    <a:pt x="1404" y="0"/>
                  </a:lnTo>
                  <a:lnTo>
                    <a:pt x="753" y="548"/>
                  </a:lnTo>
                  <a:lnTo>
                    <a:pt x="662" y="879"/>
                  </a:lnTo>
                  <a:lnTo>
                    <a:pt x="936" y="1199"/>
                  </a:lnTo>
                  <a:lnTo>
                    <a:pt x="719" y="1370"/>
                  </a:lnTo>
                  <a:lnTo>
                    <a:pt x="228" y="1530"/>
                  </a:lnTo>
                  <a:lnTo>
                    <a:pt x="228" y="1940"/>
                  </a:lnTo>
                  <a:lnTo>
                    <a:pt x="0" y="2203"/>
                  </a:lnTo>
                  <a:lnTo>
                    <a:pt x="537" y="2888"/>
                  </a:lnTo>
                  <a:lnTo>
                    <a:pt x="947" y="2842"/>
                  </a:lnTo>
                  <a:lnTo>
                    <a:pt x="1130" y="3059"/>
                  </a:lnTo>
                  <a:lnTo>
                    <a:pt x="1016" y="3458"/>
                  </a:lnTo>
                  <a:lnTo>
                    <a:pt x="1290" y="3584"/>
                  </a:lnTo>
                  <a:lnTo>
                    <a:pt x="1461" y="4006"/>
                  </a:lnTo>
                  <a:lnTo>
                    <a:pt x="1233" y="4326"/>
                  </a:lnTo>
                  <a:lnTo>
                    <a:pt x="1084" y="5090"/>
                  </a:lnTo>
                  <a:lnTo>
                    <a:pt x="1290" y="5570"/>
                  </a:lnTo>
                  <a:lnTo>
                    <a:pt x="1335" y="5980"/>
                  </a:lnTo>
                  <a:lnTo>
                    <a:pt x="1826" y="6403"/>
                  </a:lnTo>
                  <a:lnTo>
                    <a:pt x="2214" y="6448"/>
                  </a:lnTo>
                  <a:lnTo>
                    <a:pt x="2317" y="6266"/>
                  </a:lnTo>
                  <a:lnTo>
                    <a:pt x="2557" y="6231"/>
                  </a:lnTo>
                  <a:lnTo>
                    <a:pt x="2933" y="6083"/>
                  </a:lnTo>
                  <a:lnTo>
                    <a:pt x="3184" y="5832"/>
                  </a:lnTo>
                  <a:lnTo>
                    <a:pt x="3629" y="5912"/>
                  </a:lnTo>
                  <a:lnTo>
                    <a:pt x="3835" y="5878"/>
                  </a:lnTo>
                  <a:lnTo>
                    <a:pt x="3355" y="5079"/>
                  </a:lnTo>
                  <a:lnTo>
                    <a:pt x="3264" y="4577"/>
                  </a:lnTo>
                  <a:lnTo>
                    <a:pt x="3002" y="4565"/>
                  </a:lnTo>
                  <a:lnTo>
                    <a:pt x="2659" y="3915"/>
                  </a:lnTo>
                  <a:lnTo>
                    <a:pt x="2819" y="3435"/>
                  </a:lnTo>
                  <a:lnTo>
                    <a:pt x="2773" y="3230"/>
                  </a:lnTo>
                  <a:lnTo>
                    <a:pt x="3275" y="300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95" name="Google Shape;266;p29">
              <a:extLst>
                <a:ext uri="{FF2B5EF4-FFF2-40B4-BE49-F238E27FC236}">
                  <a16:creationId xmlns:a16="http://schemas.microsoft.com/office/drawing/2014/main" id="{6A68392F-31B3-45AB-B666-F6791BE44B9D}"/>
                </a:ext>
              </a:extLst>
            </p:cNvPr>
            <p:cNvSpPr/>
            <p:nvPr/>
          </p:nvSpPr>
          <p:spPr>
            <a:xfrm>
              <a:off x="1947100" y="2748925"/>
              <a:ext cx="124400" cy="68775"/>
            </a:xfrm>
            <a:custGeom>
              <a:avLst/>
              <a:gdLst/>
              <a:ahLst/>
              <a:cxnLst/>
              <a:rect l="l" t="t" r="r" b="b"/>
              <a:pathLst>
                <a:path w="4976" h="2751" extrusionOk="0">
                  <a:moveTo>
                    <a:pt x="4976" y="925"/>
                  </a:moveTo>
                  <a:lnTo>
                    <a:pt x="4793" y="673"/>
                  </a:lnTo>
                  <a:lnTo>
                    <a:pt x="4519" y="525"/>
                  </a:lnTo>
                  <a:lnTo>
                    <a:pt x="4314" y="331"/>
                  </a:lnTo>
                  <a:lnTo>
                    <a:pt x="4086" y="160"/>
                  </a:lnTo>
                  <a:lnTo>
                    <a:pt x="3972" y="137"/>
                  </a:lnTo>
                  <a:lnTo>
                    <a:pt x="3606" y="12"/>
                  </a:lnTo>
                  <a:lnTo>
                    <a:pt x="3458" y="80"/>
                  </a:lnTo>
                  <a:lnTo>
                    <a:pt x="3241" y="114"/>
                  </a:lnTo>
                  <a:lnTo>
                    <a:pt x="3059" y="57"/>
                  </a:lnTo>
                  <a:lnTo>
                    <a:pt x="2807" y="0"/>
                  </a:lnTo>
                  <a:lnTo>
                    <a:pt x="2693" y="103"/>
                  </a:lnTo>
                  <a:lnTo>
                    <a:pt x="2442" y="194"/>
                  </a:lnTo>
                  <a:lnTo>
                    <a:pt x="2066" y="228"/>
                  </a:lnTo>
                  <a:lnTo>
                    <a:pt x="1712" y="137"/>
                  </a:lnTo>
                  <a:lnTo>
                    <a:pt x="1586" y="194"/>
                  </a:lnTo>
                  <a:lnTo>
                    <a:pt x="1518" y="114"/>
                  </a:lnTo>
                  <a:lnTo>
                    <a:pt x="1290" y="126"/>
                  </a:lnTo>
                  <a:lnTo>
                    <a:pt x="1096" y="285"/>
                  </a:lnTo>
                  <a:lnTo>
                    <a:pt x="1016" y="251"/>
                  </a:lnTo>
                  <a:lnTo>
                    <a:pt x="616" y="594"/>
                  </a:lnTo>
                  <a:lnTo>
                    <a:pt x="217" y="856"/>
                  </a:lnTo>
                  <a:lnTo>
                    <a:pt x="137" y="1027"/>
                  </a:lnTo>
                  <a:lnTo>
                    <a:pt x="183" y="1210"/>
                  </a:lnTo>
                  <a:lnTo>
                    <a:pt x="0" y="1438"/>
                  </a:lnTo>
                  <a:lnTo>
                    <a:pt x="217" y="1507"/>
                  </a:lnTo>
                  <a:lnTo>
                    <a:pt x="365" y="1701"/>
                  </a:lnTo>
                  <a:lnTo>
                    <a:pt x="605" y="1838"/>
                  </a:lnTo>
                  <a:lnTo>
                    <a:pt x="616" y="1963"/>
                  </a:lnTo>
                  <a:lnTo>
                    <a:pt x="970" y="1849"/>
                  </a:lnTo>
                  <a:lnTo>
                    <a:pt x="1130" y="1929"/>
                  </a:lnTo>
                  <a:lnTo>
                    <a:pt x="1233" y="2020"/>
                  </a:lnTo>
                  <a:lnTo>
                    <a:pt x="1141" y="2385"/>
                  </a:lnTo>
                  <a:lnTo>
                    <a:pt x="1381" y="2465"/>
                  </a:lnTo>
                  <a:lnTo>
                    <a:pt x="1484" y="2751"/>
                  </a:lnTo>
                  <a:lnTo>
                    <a:pt x="1746" y="2705"/>
                  </a:lnTo>
                  <a:lnTo>
                    <a:pt x="1860" y="2499"/>
                  </a:lnTo>
                  <a:lnTo>
                    <a:pt x="1974" y="2499"/>
                  </a:lnTo>
                  <a:lnTo>
                    <a:pt x="1997" y="2054"/>
                  </a:lnTo>
                  <a:lnTo>
                    <a:pt x="2180" y="2020"/>
                  </a:lnTo>
                  <a:lnTo>
                    <a:pt x="2351" y="2020"/>
                  </a:lnTo>
                  <a:lnTo>
                    <a:pt x="2556" y="1780"/>
                  </a:lnTo>
                  <a:lnTo>
                    <a:pt x="2773" y="1963"/>
                  </a:lnTo>
                  <a:lnTo>
                    <a:pt x="2853" y="1849"/>
                  </a:lnTo>
                  <a:lnTo>
                    <a:pt x="3013" y="1758"/>
                  </a:lnTo>
                  <a:lnTo>
                    <a:pt x="3310" y="1495"/>
                  </a:lnTo>
                  <a:lnTo>
                    <a:pt x="3355" y="1313"/>
                  </a:lnTo>
                  <a:lnTo>
                    <a:pt x="3424" y="1324"/>
                  </a:lnTo>
                  <a:lnTo>
                    <a:pt x="3538" y="1107"/>
                  </a:lnTo>
                  <a:lnTo>
                    <a:pt x="3629" y="1084"/>
                  </a:lnTo>
                  <a:lnTo>
                    <a:pt x="3755" y="1210"/>
                  </a:lnTo>
                  <a:lnTo>
                    <a:pt x="3914" y="1256"/>
                  </a:lnTo>
                  <a:lnTo>
                    <a:pt x="4097" y="1141"/>
                  </a:lnTo>
                  <a:lnTo>
                    <a:pt x="4291" y="1141"/>
                  </a:lnTo>
                  <a:lnTo>
                    <a:pt x="4576" y="1027"/>
                  </a:lnTo>
                  <a:lnTo>
                    <a:pt x="4713" y="90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96" name="Google Shape;267;p29">
              <a:extLst>
                <a:ext uri="{FF2B5EF4-FFF2-40B4-BE49-F238E27FC236}">
                  <a16:creationId xmlns:a16="http://schemas.microsoft.com/office/drawing/2014/main" id="{BD4159D0-4869-4120-B6EC-D796B3BF9B53}"/>
                </a:ext>
              </a:extLst>
            </p:cNvPr>
            <p:cNvSpPr/>
            <p:nvPr/>
          </p:nvSpPr>
          <p:spPr>
            <a:xfrm>
              <a:off x="3966475" y="2059325"/>
              <a:ext cx="102725" cy="88475"/>
            </a:xfrm>
            <a:custGeom>
              <a:avLst/>
              <a:gdLst/>
              <a:ahLst/>
              <a:cxnLst/>
              <a:rect l="l" t="t" r="r" b="b"/>
              <a:pathLst>
                <a:path w="4109" h="3539" extrusionOk="0">
                  <a:moveTo>
                    <a:pt x="2797" y="492"/>
                  </a:moveTo>
                  <a:lnTo>
                    <a:pt x="2226" y="115"/>
                  </a:lnTo>
                  <a:lnTo>
                    <a:pt x="1998" y="1"/>
                  </a:lnTo>
                  <a:lnTo>
                    <a:pt x="1439" y="252"/>
                  </a:lnTo>
                  <a:lnTo>
                    <a:pt x="1393" y="606"/>
                  </a:lnTo>
                  <a:lnTo>
                    <a:pt x="1153" y="686"/>
                  </a:lnTo>
                  <a:lnTo>
                    <a:pt x="1176" y="937"/>
                  </a:lnTo>
                  <a:lnTo>
                    <a:pt x="891" y="914"/>
                  </a:lnTo>
                  <a:lnTo>
                    <a:pt x="640" y="777"/>
                  </a:lnTo>
                  <a:lnTo>
                    <a:pt x="526" y="914"/>
                  </a:lnTo>
                  <a:lnTo>
                    <a:pt x="23" y="891"/>
                  </a:lnTo>
                  <a:lnTo>
                    <a:pt x="1" y="903"/>
                  </a:lnTo>
                  <a:lnTo>
                    <a:pt x="1" y="1222"/>
                  </a:lnTo>
                  <a:lnTo>
                    <a:pt x="240" y="1507"/>
                  </a:lnTo>
                  <a:lnTo>
                    <a:pt x="423" y="1131"/>
                  </a:lnTo>
                  <a:lnTo>
                    <a:pt x="891" y="1279"/>
                  </a:lnTo>
                  <a:lnTo>
                    <a:pt x="936" y="1564"/>
                  </a:lnTo>
                  <a:lnTo>
                    <a:pt x="1290" y="1930"/>
                  </a:lnTo>
                  <a:lnTo>
                    <a:pt x="1153" y="1998"/>
                  </a:lnTo>
                  <a:lnTo>
                    <a:pt x="1804" y="2649"/>
                  </a:lnTo>
                  <a:lnTo>
                    <a:pt x="2488" y="2900"/>
                  </a:lnTo>
                  <a:lnTo>
                    <a:pt x="2934" y="3219"/>
                  </a:lnTo>
                  <a:lnTo>
                    <a:pt x="3641" y="3539"/>
                  </a:lnTo>
                  <a:lnTo>
                    <a:pt x="3641" y="3539"/>
                  </a:lnTo>
                  <a:lnTo>
                    <a:pt x="3721" y="3402"/>
                  </a:lnTo>
                  <a:lnTo>
                    <a:pt x="3048" y="3059"/>
                  </a:lnTo>
                  <a:lnTo>
                    <a:pt x="2728" y="2706"/>
                  </a:lnTo>
                  <a:lnTo>
                    <a:pt x="2443" y="2500"/>
                  </a:lnTo>
                  <a:lnTo>
                    <a:pt x="2089" y="2181"/>
                  </a:lnTo>
                  <a:lnTo>
                    <a:pt x="1906" y="1907"/>
                  </a:lnTo>
                  <a:lnTo>
                    <a:pt x="1518" y="1496"/>
                  </a:lnTo>
                  <a:lnTo>
                    <a:pt x="1644" y="1131"/>
                  </a:lnTo>
                  <a:lnTo>
                    <a:pt x="1918" y="1336"/>
                  </a:lnTo>
                  <a:lnTo>
                    <a:pt x="2066" y="1154"/>
                  </a:lnTo>
                  <a:lnTo>
                    <a:pt x="2386" y="1131"/>
                  </a:lnTo>
                  <a:lnTo>
                    <a:pt x="3013" y="1279"/>
                  </a:lnTo>
                  <a:lnTo>
                    <a:pt x="3516" y="1256"/>
                  </a:lnTo>
                  <a:lnTo>
                    <a:pt x="3858" y="1462"/>
                  </a:lnTo>
                  <a:lnTo>
                    <a:pt x="3858" y="1462"/>
                  </a:lnTo>
                  <a:lnTo>
                    <a:pt x="4109" y="1131"/>
                  </a:lnTo>
                  <a:lnTo>
                    <a:pt x="3858" y="880"/>
                  </a:lnTo>
                  <a:lnTo>
                    <a:pt x="3653" y="537"/>
                  </a:lnTo>
                  <a:lnTo>
                    <a:pt x="3653" y="537"/>
                  </a:lnTo>
                  <a:lnTo>
                    <a:pt x="3390" y="66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97" name="Google Shape;268;p29">
              <a:extLst>
                <a:ext uri="{FF2B5EF4-FFF2-40B4-BE49-F238E27FC236}">
                  <a16:creationId xmlns:a16="http://schemas.microsoft.com/office/drawing/2014/main" id="{C66DC6DB-4222-4523-BEEA-3C750FBBB3CC}"/>
                </a:ext>
              </a:extLst>
            </p:cNvPr>
            <p:cNvSpPr/>
            <p:nvPr/>
          </p:nvSpPr>
          <p:spPr>
            <a:xfrm>
              <a:off x="2251225" y="2660475"/>
              <a:ext cx="58225" cy="42525"/>
            </a:xfrm>
            <a:custGeom>
              <a:avLst/>
              <a:gdLst/>
              <a:ahLst/>
              <a:cxnLst/>
              <a:rect l="l" t="t" r="r" b="b"/>
              <a:pathLst>
                <a:path w="2329" h="1701" extrusionOk="0">
                  <a:moveTo>
                    <a:pt x="2306" y="172"/>
                  </a:moveTo>
                  <a:lnTo>
                    <a:pt x="1644" y="23"/>
                  </a:lnTo>
                  <a:lnTo>
                    <a:pt x="1165" y="0"/>
                  </a:lnTo>
                  <a:lnTo>
                    <a:pt x="959" y="240"/>
                  </a:lnTo>
                  <a:lnTo>
                    <a:pt x="1450" y="388"/>
                  </a:lnTo>
                  <a:lnTo>
                    <a:pt x="1404" y="731"/>
                  </a:lnTo>
                  <a:lnTo>
                    <a:pt x="1712" y="1130"/>
                  </a:lnTo>
                  <a:lnTo>
                    <a:pt x="1416" y="1324"/>
                  </a:lnTo>
                  <a:lnTo>
                    <a:pt x="822" y="1256"/>
                  </a:lnTo>
                  <a:lnTo>
                    <a:pt x="103" y="1130"/>
                  </a:lnTo>
                  <a:lnTo>
                    <a:pt x="0" y="1427"/>
                  </a:lnTo>
                  <a:lnTo>
                    <a:pt x="400" y="1701"/>
                  </a:lnTo>
                  <a:lnTo>
                    <a:pt x="788" y="1541"/>
                  </a:lnTo>
                  <a:lnTo>
                    <a:pt x="1256" y="1598"/>
                  </a:lnTo>
                  <a:lnTo>
                    <a:pt x="1644" y="1541"/>
                  </a:lnTo>
                  <a:lnTo>
                    <a:pt x="2157" y="1701"/>
                  </a:lnTo>
                  <a:lnTo>
                    <a:pt x="2192" y="1438"/>
                  </a:lnTo>
                  <a:lnTo>
                    <a:pt x="2020" y="1164"/>
                  </a:lnTo>
                  <a:lnTo>
                    <a:pt x="2226" y="1016"/>
                  </a:lnTo>
                  <a:lnTo>
                    <a:pt x="2329" y="67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98" name="Google Shape;269;p29">
              <a:extLst>
                <a:ext uri="{FF2B5EF4-FFF2-40B4-BE49-F238E27FC236}">
                  <a16:creationId xmlns:a16="http://schemas.microsoft.com/office/drawing/2014/main" id="{44A06ACF-B782-4FFF-9D28-61AE23678DDE}"/>
                </a:ext>
              </a:extLst>
            </p:cNvPr>
            <p:cNvSpPr/>
            <p:nvPr/>
          </p:nvSpPr>
          <p:spPr>
            <a:xfrm>
              <a:off x="4009275" y="2012550"/>
              <a:ext cx="113000" cy="63350"/>
            </a:xfrm>
            <a:custGeom>
              <a:avLst/>
              <a:gdLst/>
              <a:ahLst/>
              <a:cxnLst/>
              <a:rect l="l" t="t" r="r" b="b"/>
              <a:pathLst>
                <a:path w="4520" h="2534" extrusionOk="0">
                  <a:moveTo>
                    <a:pt x="3093" y="0"/>
                  </a:moveTo>
                  <a:lnTo>
                    <a:pt x="2865" y="57"/>
                  </a:lnTo>
                  <a:lnTo>
                    <a:pt x="2717" y="263"/>
                  </a:lnTo>
                  <a:lnTo>
                    <a:pt x="2408" y="366"/>
                  </a:lnTo>
                  <a:lnTo>
                    <a:pt x="2317" y="308"/>
                  </a:lnTo>
                  <a:lnTo>
                    <a:pt x="1998" y="457"/>
                  </a:lnTo>
                  <a:lnTo>
                    <a:pt x="1724" y="480"/>
                  </a:lnTo>
                  <a:lnTo>
                    <a:pt x="1678" y="651"/>
                  </a:lnTo>
                  <a:lnTo>
                    <a:pt x="1096" y="765"/>
                  </a:lnTo>
                  <a:lnTo>
                    <a:pt x="822" y="662"/>
                  </a:lnTo>
                  <a:lnTo>
                    <a:pt x="457" y="434"/>
                  </a:lnTo>
                  <a:lnTo>
                    <a:pt x="423" y="811"/>
                  </a:lnTo>
                  <a:lnTo>
                    <a:pt x="23" y="811"/>
                  </a:lnTo>
                  <a:lnTo>
                    <a:pt x="183" y="993"/>
                  </a:lnTo>
                  <a:lnTo>
                    <a:pt x="0" y="1564"/>
                  </a:lnTo>
                  <a:lnTo>
                    <a:pt x="115" y="1575"/>
                  </a:lnTo>
                  <a:lnTo>
                    <a:pt x="286" y="1883"/>
                  </a:lnTo>
                  <a:lnTo>
                    <a:pt x="514" y="1997"/>
                  </a:lnTo>
                  <a:lnTo>
                    <a:pt x="1085" y="2363"/>
                  </a:lnTo>
                  <a:lnTo>
                    <a:pt x="1678" y="2534"/>
                  </a:lnTo>
                  <a:lnTo>
                    <a:pt x="1941" y="2408"/>
                  </a:lnTo>
                  <a:lnTo>
                    <a:pt x="1941" y="2408"/>
                  </a:lnTo>
                  <a:lnTo>
                    <a:pt x="2465" y="2180"/>
                  </a:lnTo>
                  <a:lnTo>
                    <a:pt x="2922" y="2203"/>
                  </a:lnTo>
                  <a:lnTo>
                    <a:pt x="3458" y="2055"/>
                  </a:lnTo>
                  <a:lnTo>
                    <a:pt x="3835" y="1438"/>
                  </a:lnTo>
                  <a:lnTo>
                    <a:pt x="4109" y="833"/>
                  </a:lnTo>
                  <a:lnTo>
                    <a:pt x="4520" y="651"/>
                  </a:lnTo>
                  <a:lnTo>
                    <a:pt x="4428" y="423"/>
                  </a:lnTo>
                  <a:lnTo>
                    <a:pt x="4018" y="183"/>
                  </a:lnTo>
                  <a:lnTo>
                    <a:pt x="3881" y="26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99" name="Google Shape;270;p29">
              <a:extLst>
                <a:ext uri="{FF2B5EF4-FFF2-40B4-BE49-F238E27FC236}">
                  <a16:creationId xmlns:a16="http://schemas.microsoft.com/office/drawing/2014/main" id="{BC1F7068-8435-477C-83DD-FEA656D5808B}"/>
                </a:ext>
              </a:extLst>
            </p:cNvPr>
            <p:cNvSpPr/>
            <p:nvPr/>
          </p:nvSpPr>
          <p:spPr>
            <a:xfrm>
              <a:off x="5628375" y="2987725"/>
              <a:ext cx="917850" cy="359500"/>
            </a:xfrm>
            <a:custGeom>
              <a:avLst/>
              <a:gdLst/>
              <a:ahLst/>
              <a:cxnLst/>
              <a:rect l="l" t="t" r="r" b="b"/>
              <a:pathLst>
                <a:path w="36714" h="14380" extrusionOk="0">
                  <a:moveTo>
                    <a:pt x="20040" y="14265"/>
                  </a:moveTo>
                  <a:lnTo>
                    <a:pt x="20109" y="14026"/>
                  </a:lnTo>
                  <a:lnTo>
                    <a:pt x="19858" y="13752"/>
                  </a:lnTo>
                  <a:lnTo>
                    <a:pt x="19458" y="13467"/>
                  </a:lnTo>
                  <a:lnTo>
                    <a:pt x="18694" y="13649"/>
                  </a:lnTo>
                  <a:lnTo>
                    <a:pt x="19698" y="14277"/>
                  </a:lnTo>
                  <a:close/>
                  <a:moveTo>
                    <a:pt x="23019" y="14185"/>
                  </a:moveTo>
                  <a:lnTo>
                    <a:pt x="23590" y="13501"/>
                  </a:lnTo>
                  <a:lnTo>
                    <a:pt x="23601" y="13227"/>
                  </a:lnTo>
                  <a:lnTo>
                    <a:pt x="23533" y="13044"/>
                  </a:lnTo>
                  <a:lnTo>
                    <a:pt x="22722" y="13409"/>
                  </a:lnTo>
                  <a:lnTo>
                    <a:pt x="22323" y="13969"/>
                  </a:lnTo>
                  <a:lnTo>
                    <a:pt x="22220" y="14265"/>
                  </a:lnTo>
                  <a:lnTo>
                    <a:pt x="22311" y="14380"/>
                  </a:lnTo>
                  <a:close/>
                  <a:moveTo>
                    <a:pt x="17941" y="12325"/>
                  </a:moveTo>
                  <a:lnTo>
                    <a:pt x="17712" y="12645"/>
                  </a:lnTo>
                  <a:lnTo>
                    <a:pt x="17267" y="12656"/>
                  </a:lnTo>
                  <a:lnTo>
                    <a:pt x="16959" y="13170"/>
                  </a:lnTo>
                  <a:lnTo>
                    <a:pt x="17381" y="13181"/>
                  </a:lnTo>
                  <a:lnTo>
                    <a:pt x="17941" y="13056"/>
                  </a:lnTo>
                  <a:lnTo>
                    <a:pt x="18888" y="12885"/>
                  </a:lnTo>
                  <a:lnTo>
                    <a:pt x="18717" y="12485"/>
                  </a:lnTo>
                  <a:lnTo>
                    <a:pt x="18215" y="12576"/>
                  </a:lnTo>
                  <a:close/>
                  <a:moveTo>
                    <a:pt x="21946" y="12325"/>
                  </a:moveTo>
                  <a:lnTo>
                    <a:pt x="21205" y="12656"/>
                  </a:lnTo>
                  <a:lnTo>
                    <a:pt x="20668" y="12725"/>
                  </a:lnTo>
                  <a:lnTo>
                    <a:pt x="20177" y="12451"/>
                  </a:lnTo>
                  <a:lnTo>
                    <a:pt x="19538" y="12645"/>
                  </a:lnTo>
                  <a:lnTo>
                    <a:pt x="19516" y="12964"/>
                  </a:lnTo>
                  <a:lnTo>
                    <a:pt x="20565" y="13079"/>
                  </a:lnTo>
                  <a:lnTo>
                    <a:pt x="21798" y="12827"/>
                  </a:lnTo>
                  <a:close/>
                  <a:moveTo>
                    <a:pt x="10614" y="11127"/>
                  </a:moveTo>
                  <a:lnTo>
                    <a:pt x="10511" y="10807"/>
                  </a:lnTo>
                  <a:lnTo>
                    <a:pt x="10180" y="10728"/>
                  </a:lnTo>
                  <a:lnTo>
                    <a:pt x="9553" y="10385"/>
                  </a:lnTo>
                  <a:lnTo>
                    <a:pt x="8583" y="10328"/>
                  </a:lnTo>
                  <a:lnTo>
                    <a:pt x="8001" y="11207"/>
                  </a:lnTo>
                  <a:lnTo>
                    <a:pt x="8731" y="11264"/>
                  </a:lnTo>
                  <a:lnTo>
                    <a:pt x="8845" y="11663"/>
                  </a:lnTo>
                  <a:lnTo>
                    <a:pt x="10272" y="12029"/>
                  </a:lnTo>
                  <a:lnTo>
                    <a:pt x="10614" y="11914"/>
                  </a:lnTo>
                  <a:lnTo>
                    <a:pt x="11196" y="12006"/>
                  </a:lnTo>
                  <a:lnTo>
                    <a:pt x="12098" y="12348"/>
                  </a:lnTo>
                  <a:lnTo>
                    <a:pt x="12839" y="12519"/>
                  </a:lnTo>
                  <a:lnTo>
                    <a:pt x="13661" y="12588"/>
                  </a:lnTo>
                  <a:lnTo>
                    <a:pt x="14391" y="12554"/>
                  </a:lnTo>
                  <a:lnTo>
                    <a:pt x="15236" y="12919"/>
                  </a:lnTo>
                  <a:lnTo>
                    <a:pt x="16172" y="12576"/>
                  </a:lnTo>
                  <a:lnTo>
                    <a:pt x="15236" y="12029"/>
                  </a:lnTo>
                  <a:lnTo>
                    <a:pt x="14049" y="11869"/>
                  </a:lnTo>
                  <a:lnTo>
                    <a:pt x="13787" y="11287"/>
                  </a:lnTo>
                  <a:lnTo>
                    <a:pt x="12326" y="10842"/>
                  </a:lnTo>
                  <a:lnTo>
                    <a:pt x="12132" y="11218"/>
                  </a:lnTo>
                  <a:close/>
                  <a:moveTo>
                    <a:pt x="31521" y="10613"/>
                  </a:moveTo>
                  <a:lnTo>
                    <a:pt x="31555" y="10191"/>
                  </a:lnTo>
                  <a:lnTo>
                    <a:pt x="31384" y="9917"/>
                  </a:lnTo>
                  <a:lnTo>
                    <a:pt x="31190" y="10237"/>
                  </a:lnTo>
                  <a:lnTo>
                    <a:pt x="31019" y="10545"/>
                  </a:lnTo>
                  <a:lnTo>
                    <a:pt x="31065" y="11230"/>
                  </a:lnTo>
                  <a:close/>
                  <a:moveTo>
                    <a:pt x="25678" y="8114"/>
                  </a:moveTo>
                  <a:lnTo>
                    <a:pt x="25473" y="7817"/>
                  </a:lnTo>
                  <a:lnTo>
                    <a:pt x="24662" y="7863"/>
                  </a:lnTo>
                  <a:lnTo>
                    <a:pt x="24799" y="8251"/>
                  </a:lnTo>
                  <a:lnTo>
                    <a:pt x="25359" y="8422"/>
                  </a:lnTo>
                  <a:close/>
                  <a:moveTo>
                    <a:pt x="28257" y="7772"/>
                  </a:moveTo>
                  <a:lnTo>
                    <a:pt x="27390" y="7521"/>
                  </a:lnTo>
                  <a:lnTo>
                    <a:pt x="26397" y="7566"/>
                  </a:lnTo>
                  <a:lnTo>
                    <a:pt x="26192" y="8057"/>
                  </a:lnTo>
                  <a:lnTo>
                    <a:pt x="26739" y="8091"/>
                  </a:lnTo>
                  <a:lnTo>
                    <a:pt x="27196" y="8034"/>
                  </a:lnTo>
                  <a:lnTo>
                    <a:pt x="27858" y="8103"/>
                  </a:lnTo>
                  <a:lnTo>
                    <a:pt x="28531" y="8479"/>
                  </a:lnTo>
                  <a:close/>
                  <a:moveTo>
                    <a:pt x="31247" y="6026"/>
                  </a:moveTo>
                  <a:lnTo>
                    <a:pt x="31133" y="5683"/>
                  </a:lnTo>
                  <a:lnTo>
                    <a:pt x="29855" y="5307"/>
                  </a:lnTo>
                  <a:lnTo>
                    <a:pt x="29444" y="5615"/>
                  </a:lnTo>
                  <a:lnTo>
                    <a:pt x="28360" y="5820"/>
                  </a:lnTo>
                  <a:lnTo>
                    <a:pt x="28679" y="6277"/>
                  </a:lnTo>
                  <a:lnTo>
                    <a:pt x="29398" y="6448"/>
                  </a:lnTo>
                  <a:lnTo>
                    <a:pt x="29695" y="6984"/>
                  </a:lnTo>
                  <a:lnTo>
                    <a:pt x="30882" y="6996"/>
                  </a:lnTo>
                  <a:lnTo>
                    <a:pt x="30939" y="7224"/>
                  </a:lnTo>
                  <a:lnTo>
                    <a:pt x="30369" y="7213"/>
                  </a:lnTo>
                  <a:lnTo>
                    <a:pt x="29478" y="7532"/>
                  </a:lnTo>
                  <a:lnTo>
                    <a:pt x="30083" y="7977"/>
                  </a:lnTo>
                  <a:lnTo>
                    <a:pt x="30072" y="8377"/>
                  </a:lnTo>
                  <a:lnTo>
                    <a:pt x="30243" y="8708"/>
                  </a:lnTo>
                  <a:lnTo>
                    <a:pt x="30540" y="8639"/>
                  </a:lnTo>
                  <a:lnTo>
                    <a:pt x="30791" y="8194"/>
                  </a:lnTo>
                  <a:lnTo>
                    <a:pt x="31966" y="9039"/>
                  </a:lnTo>
                  <a:lnTo>
                    <a:pt x="32617" y="9107"/>
                  </a:lnTo>
                  <a:lnTo>
                    <a:pt x="34135" y="9872"/>
                  </a:lnTo>
                  <a:lnTo>
                    <a:pt x="34454" y="10625"/>
                  </a:lnTo>
                  <a:lnTo>
                    <a:pt x="34602" y="11618"/>
                  </a:lnTo>
                  <a:lnTo>
                    <a:pt x="34077" y="11869"/>
                  </a:lnTo>
                  <a:lnTo>
                    <a:pt x="33678" y="12611"/>
                  </a:lnTo>
                  <a:lnTo>
                    <a:pt x="34682" y="12588"/>
                  </a:lnTo>
                  <a:lnTo>
                    <a:pt x="34911" y="12325"/>
                  </a:lnTo>
                  <a:lnTo>
                    <a:pt x="35698" y="12508"/>
                  </a:lnTo>
                  <a:lnTo>
                    <a:pt x="36360" y="13250"/>
                  </a:lnTo>
                  <a:lnTo>
                    <a:pt x="36565" y="10294"/>
                  </a:lnTo>
                  <a:lnTo>
                    <a:pt x="36714" y="7338"/>
                  </a:lnTo>
                  <a:lnTo>
                    <a:pt x="35858" y="7167"/>
                  </a:lnTo>
                  <a:lnTo>
                    <a:pt x="35276" y="6836"/>
                  </a:lnTo>
                  <a:lnTo>
                    <a:pt x="34602" y="6517"/>
                  </a:lnTo>
                  <a:lnTo>
                    <a:pt x="33883" y="6517"/>
                  </a:lnTo>
                  <a:lnTo>
                    <a:pt x="32948" y="7064"/>
                  </a:lnTo>
                  <a:lnTo>
                    <a:pt x="32252" y="8034"/>
                  </a:lnTo>
                  <a:lnTo>
                    <a:pt x="31430" y="7487"/>
                  </a:lnTo>
                  <a:close/>
                  <a:moveTo>
                    <a:pt x="24115" y="3686"/>
                  </a:moveTo>
                  <a:lnTo>
                    <a:pt x="23978" y="3481"/>
                  </a:lnTo>
                  <a:lnTo>
                    <a:pt x="23190" y="4143"/>
                  </a:lnTo>
                  <a:lnTo>
                    <a:pt x="22266" y="4188"/>
                  </a:lnTo>
                  <a:lnTo>
                    <a:pt x="21250" y="4051"/>
                  </a:lnTo>
                  <a:lnTo>
                    <a:pt x="20622" y="3789"/>
                  </a:lnTo>
                  <a:lnTo>
                    <a:pt x="19949" y="4474"/>
                  </a:lnTo>
                  <a:lnTo>
                    <a:pt x="19778" y="4839"/>
                  </a:lnTo>
                  <a:lnTo>
                    <a:pt x="19367" y="6208"/>
                  </a:lnTo>
                  <a:lnTo>
                    <a:pt x="19242" y="6927"/>
                  </a:lnTo>
                  <a:lnTo>
                    <a:pt x="18899" y="7521"/>
                  </a:lnTo>
                  <a:lnTo>
                    <a:pt x="19127" y="8137"/>
                  </a:lnTo>
                  <a:lnTo>
                    <a:pt x="19447" y="8148"/>
                  </a:lnTo>
                  <a:lnTo>
                    <a:pt x="19538" y="9016"/>
                  </a:lnTo>
                  <a:lnTo>
                    <a:pt x="19264" y="9860"/>
                  </a:lnTo>
                  <a:lnTo>
                    <a:pt x="19595" y="10134"/>
                  </a:lnTo>
                  <a:lnTo>
                    <a:pt x="20109" y="9986"/>
                  </a:lnTo>
                  <a:lnTo>
                    <a:pt x="20155" y="8696"/>
                  </a:lnTo>
                  <a:lnTo>
                    <a:pt x="20120" y="7635"/>
                  </a:lnTo>
                  <a:lnTo>
                    <a:pt x="20668" y="7361"/>
                  </a:lnTo>
                  <a:lnTo>
                    <a:pt x="20565" y="8251"/>
                  </a:lnTo>
                  <a:lnTo>
                    <a:pt x="21125" y="8776"/>
                  </a:lnTo>
                  <a:lnTo>
                    <a:pt x="21010" y="9130"/>
                  </a:lnTo>
                  <a:lnTo>
                    <a:pt x="21193" y="9381"/>
                  </a:lnTo>
                  <a:lnTo>
                    <a:pt x="21992" y="9039"/>
                  </a:lnTo>
                  <a:lnTo>
                    <a:pt x="21558" y="9780"/>
                  </a:lnTo>
                  <a:lnTo>
                    <a:pt x="21866" y="10089"/>
                  </a:lnTo>
                  <a:lnTo>
                    <a:pt x="22300" y="9815"/>
                  </a:lnTo>
                  <a:lnTo>
                    <a:pt x="22346" y="9233"/>
                  </a:lnTo>
                  <a:lnTo>
                    <a:pt x="21672" y="8183"/>
                  </a:lnTo>
                  <a:lnTo>
                    <a:pt x="21832" y="7863"/>
                  </a:lnTo>
                  <a:lnTo>
                    <a:pt x="21102" y="6711"/>
                  </a:lnTo>
                  <a:lnTo>
                    <a:pt x="21821" y="6357"/>
                  </a:lnTo>
                  <a:lnTo>
                    <a:pt x="22186" y="5820"/>
                  </a:lnTo>
                  <a:lnTo>
                    <a:pt x="22528" y="5957"/>
                  </a:lnTo>
                  <a:lnTo>
                    <a:pt x="22608" y="5535"/>
                  </a:lnTo>
                  <a:lnTo>
                    <a:pt x="21102" y="5843"/>
                  </a:lnTo>
                  <a:lnTo>
                    <a:pt x="20668" y="6254"/>
                  </a:lnTo>
                  <a:lnTo>
                    <a:pt x="19949" y="5455"/>
                  </a:lnTo>
                  <a:lnTo>
                    <a:pt x="20075" y="4770"/>
                  </a:lnTo>
                  <a:lnTo>
                    <a:pt x="20782" y="4622"/>
                  </a:lnTo>
                  <a:lnTo>
                    <a:pt x="22106" y="4588"/>
                  </a:lnTo>
                  <a:lnTo>
                    <a:pt x="22871" y="4770"/>
                  </a:lnTo>
                  <a:lnTo>
                    <a:pt x="23487" y="4588"/>
                  </a:lnTo>
                  <a:close/>
                  <a:moveTo>
                    <a:pt x="26888" y="3960"/>
                  </a:moveTo>
                  <a:lnTo>
                    <a:pt x="26796" y="3584"/>
                  </a:lnTo>
                  <a:lnTo>
                    <a:pt x="26329" y="3492"/>
                  </a:lnTo>
                  <a:lnTo>
                    <a:pt x="26260" y="3002"/>
                  </a:lnTo>
                  <a:lnTo>
                    <a:pt x="25998" y="3321"/>
                  </a:lnTo>
                  <a:lnTo>
                    <a:pt x="25861" y="4051"/>
                  </a:lnTo>
                  <a:lnTo>
                    <a:pt x="26100" y="5227"/>
                  </a:lnTo>
                  <a:lnTo>
                    <a:pt x="26420" y="5798"/>
                  </a:lnTo>
                  <a:lnTo>
                    <a:pt x="26648" y="5683"/>
                  </a:lnTo>
                  <a:lnTo>
                    <a:pt x="26317" y="5216"/>
                  </a:lnTo>
                  <a:lnTo>
                    <a:pt x="26443" y="4656"/>
                  </a:lnTo>
                  <a:lnTo>
                    <a:pt x="26854" y="4736"/>
                  </a:lnTo>
                  <a:close/>
                  <a:moveTo>
                    <a:pt x="18203" y="3310"/>
                  </a:moveTo>
                  <a:lnTo>
                    <a:pt x="18329" y="2899"/>
                  </a:lnTo>
                  <a:lnTo>
                    <a:pt x="17712" y="2043"/>
                  </a:lnTo>
                  <a:lnTo>
                    <a:pt x="18146" y="1221"/>
                  </a:lnTo>
                  <a:lnTo>
                    <a:pt x="17427" y="1073"/>
                  </a:lnTo>
                  <a:lnTo>
                    <a:pt x="16514" y="1073"/>
                  </a:lnTo>
                  <a:lnTo>
                    <a:pt x="16274" y="2100"/>
                  </a:lnTo>
                  <a:lnTo>
                    <a:pt x="15989" y="2420"/>
                  </a:lnTo>
                  <a:lnTo>
                    <a:pt x="15601" y="3686"/>
                  </a:lnTo>
                  <a:lnTo>
                    <a:pt x="14962" y="3869"/>
                  </a:lnTo>
                  <a:lnTo>
                    <a:pt x="14186" y="3618"/>
                  </a:lnTo>
                  <a:lnTo>
                    <a:pt x="13798" y="3698"/>
                  </a:lnTo>
                  <a:lnTo>
                    <a:pt x="13342" y="4154"/>
                  </a:lnTo>
                  <a:lnTo>
                    <a:pt x="12839" y="4097"/>
                  </a:lnTo>
                  <a:lnTo>
                    <a:pt x="12326" y="4268"/>
                  </a:lnTo>
                  <a:lnTo>
                    <a:pt x="11767" y="3766"/>
                  </a:lnTo>
                  <a:lnTo>
                    <a:pt x="11618" y="3161"/>
                  </a:lnTo>
                  <a:lnTo>
                    <a:pt x="11150" y="3755"/>
                  </a:lnTo>
                  <a:lnTo>
                    <a:pt x="11070" y="4599"/>
                  </a:lnTo>
                  <a:lnTo>
                    <a:pt x="11185" y="5398"/>
                  </a:lnTo>
                  <a:lnTo>
                    <a:pt x="11550" y="6163"/>
                  </a:lnTo>
                  <a:lnTo>
                    <a:pt x="11949" y="6425"/>
                  </a:lnTo>
                  <a:lnTo>
                    <a:pt x="12052" y="7635"/>
                  </a:lnTo>
                  <a:lnTo>
                    <a:pt x="12702" y="7749"/>
                  </a:lnTo>
                  <a:lnTo>
                    <a:pt x="13216" y="7692"/>
                  </a:lnTo>
                  <a:lnTo>
                    <a:pt x="13501" y="8137"/>
                  </a:lnTo>
                  <a:lnTo>
                    <a:pt x="14460" y="7806"/>
                  </a:lnTo>
                  <a:lnTo>
                    <a:pt x="14859" y="8091"/>
                  </a:lnTo>
                  <a:lnTo>
                    <a:pt x="15430" y="8148"/>
                  </a:lnTo>
                  <a:lnTo>
                    <a:pt x="15715" y="8708"/>
                  </a:lnTo>
                  <a:lnTo>
                    <a:pt x="16640" y="8297"/>
                  </a:lnTo>
                  <a:lnTo>
                    <a:pt x="16754" y="8616"/>
                  </a:lnTo>
                  <a:lnTo>
                    <a:pt x="17108" y="7235"/>
                  </a:lnTo>
                  <a:lnTo>
                    <a:pt x="17153" y="6323"/>
                  </a:lnTo>
                  <a:lnTo>
                    <a:pt x="17941" y="5706"/>
                  </a:lnTo>
                  <a:lnTo>
                    <a:pt x="17906" y="4885"/>
                  </a:lnTo>
                  <a:lnTo>
                    <a:pt x="18169" y="4268"/>
                  </a:lnTo>
                  <a:lnTo>
                    <a:pt x="19127" y="4154"/>
                  </a:lnTo>
                  <a:close/>
                  <a:moveTo>
                    <a:pt x="8400" y="10294"/>
                  </a:moveTo>
                  <a:lnTo>
                    <a:pt x="8503" y="8890"/>
                  </a:lnTo>
                  <a:lnTo>
                    <a:pt x="8742" y="7749"/>
                  </a:lnTo>
                  <a:lnTo>
                    <a:pt x="8366" y="7178"/>
                  </a:lnTo>
                  <a:lnTo>
                    <a:pt x="7784" y="7110"/>
                  </a:lnTo>
                  <a:lnTo>
                    <a:pt x="7510" y="6596"/>
                  </a:lnTo>
                  <a:lnTo>
                    <a:pt x="7384" y="5969"/>
                  </a:lnTo>
                  <a:lnTo>
                    <a:pt x="7099" y="5934"/>
                  </a:lnTo>
                  <a:lnTo>
                    <a:pt x="6643" y="5626"/>
                  </a:lnTo>
                  <a:lnTo>
                    <a:pt x="6973" y="4885"/>
                  </a:lnTo>
                  <a:lnTo>
                    <a:pt x="6357" y="4462"/>
                  </a:lnTo>
                  <a:lnTo>
                    <a:pt x="5889" y="3709"/>
                  </a:lnTo>
                  <a:lnTo>
                    <a:pt x="5205" y="3081"/>
                  </a:lnTo>
                  <a:lnTo>
                    <a:pt x="4394" y="3070"/>
                  </a:lnTo>
                  <a:lnTo>
                    <a:pt x="3607" y="2100"/>
                  </a:lnTo>
                  <a:lnTo>
                    <a:pt x="3150" y="1712"/>
                  </a:lnTo>
                  <a:lnTo>
                    <a:pt x="2511" y="1107"/>
                  </a:lnTo>
                  <a:lnTo>
                    <a:pt x="1770" y="217"/>
                  </a:lnTo>
                  <a:lnTo>
                    <a:pt x="514" y="46"/>
                  </a:lnTo>
                  <a:lnTo>
                    <a:pt x="1" y="0"/>
                  </a:lnTo>
                  <a:lnTo>
                    <a:pt x="81" y="457"/>
                  </a:lnTo>
                  <a:lnTo>
                    <a:pt x="948" y="1461"/>
                  </a:lnTo>
                  <a:lnTo>
                    <a:pt x="1576" y="1974"/>
                  </a:lnTo>
                  <a:lnTo>
                    <a:pt x="2021" y="2762"/>
                  </a:lnTo>
                  <a:lnTo>
                    <a:pt x="2751" y="3333"/>
                  </a:lnTo>
                  <a:lnTo>
                    <a:pt x="3059" y="4029"/>
                  </a:lnTo>
                  <a:lnTo>
                    <a:pt x="3310" y="4816"/>
                  </a:lnTo>
                  <a:lnTo>
                    <a:pt x="4006" y="5569"/>
                  </a:lnTo>
                  <a:lnTo>
                    <a:pt x="4588" y="6836"/>
                  </a:lnTo>
                  <a:lnTo>
                    <a:pt x="4976" y="7521"/>
                  </a:lnTo>
                  <a:lnTo>
                    <a:pt x="5558" y="8263"/>
                  </a:lnTo>
                  <a:lnTo>
                    <a:pt x="5878" y="8799"/>
                  </a:lnTo>
                  <a:lnTo>
                    <a:pt x="6871" y="9541"/>
                  </a:lnTo>
                  <a:lnTo>
                    <a:pt x="7510" y="1030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00" name="Google Shape;271;p29">
              <a:extLst>
                <a:ext uri="{FF2B5EF4-FFF2-40B4-BE49-F238E27FC236}">
                  <a16:creationId xmlns:a16="http://schemas.microsoft.com/office/drawing/2014/main" id="{A1385B8F-B4D5-4CAC-A980-4879020873AB}"/>
                </a:ext>
              </a:extLst>
            </p:cNvPr>
            <p:cNvSpPr/>
            <p:nvPr/>
          </p:nvSpPr>
          <p:spPr>
            <a:xfrm>
              <a:off x="5054350" y="2306700"/>
              <a:ext cx="552950" cy="624825"/>
            </a:xfrm>
            <a:custGeom>
              <a:avLst/>
              <a:gdLst/>
              <a:ahLst/>
              <a:cxnLst/>
              <a:rect l="l" t="t" r="r" b="b"/>
              <a:pathLst>
                <a:path w="22118" h="24993" extrusionOk="0">
                  <a:moveTo>
                    <a:pt x="9073" y="4816"/>
                  </a:moveTo>
                  <a:lnTo>
                    <a:pt x="7863" y="4189"/>
                  </a:lnTo>
                  <a:lnTo>
                    <a:pt x="6985" y="3618"/>
                  </a:lnTo>
                  <a:lnTo>
                    <a:pt x="6517" y="2625"/>
                  </a:lnTo>
                  <a:lnTo>
                    <a:pt x="7110" y="2751"/>
                  </a:lnTo>
                  <a:lnTo>
                    <a:pt x="7019" y="2283"/>
                  </a:lnTo>
                  <a:lnTo>
                    <a:pt x="6597" y="1815"/>
                  </a:lnTo>
                  <a:lnTo>
                    <a:pt x="6482" y="1073"/>
                  </a:lnTo>
                  <a:lnTo>
                    <a:pt x="5398" y="0"/>
                  </a:lnTo>
                  <a:lnTo>
                    <a:pt x="4873" y="765"/>
                  </a:lnTo>
                  <a:lnTo>
                    <a:pt x="4052" y="913"/>
                  </a:lnTo>
                  <a:lnTo>
                    <a:pt x="2842" y="685"/>
                  </a:lnTo>
                  <a:lnTo>
                    <a:pt x="2568" y="1084"/>
                  </a:lnTo>
                  <a:lnTo>
                    <a:pt x="3025" y="1883"/>
                  </a:lnTo>
                  <a:lnTo>
                    <a:pt x="3447" y="2500"/>
                  </a:lnTo>
                  <a:lnTo>
                    <a:pt x="4154" y="2933"/>
                  </a:lnTo>
                  <a:lnTo>
                    <a:pt x="3629" y="3470"/>
                  </a:lnTo>
                  <a:lnTo>
                    <a:pt x="3766" y="4109"/>
                  </a:lnTo>
                  <a:lnTo>
                    <a:pt x="3207" y="5010"/>
                  </a:lnTo>
                  <a:lnTo>
                    <a:pt x="2910" y="5935"/>
                  </a:lnTo>
                  <a:lnTo>
                    <a:pt x="2271" y="6893"/>
                  </a:lnTo>
                  <a:lnTo>
                    <a:pt x="1358" y="6813"/>
                  </a:lnTo>
                  <a:lnTo>
                    <a:pt x="662" y="7761"/>
                  </a:lnTo>
                  <a:lnTo>
                    <a:pt x="1233" y="8171"/>
                  </a:lnTo>
                  <a:lnTo>
                    <a:pt x="1415" y="8868"/>
                  </a:lnTo>
                  <a:lnTo>
                    <a:pt x="1918" y="9324"/>
                  </a:lnTo>
                  <a:lnTo>
                    <a:pt x="2169" y="10111"/>
                  </a:lnTo>
                  <a:lnTo>
                    <a:pt x="457" y="10111"/>
                  </a:lnTo>
                  <a:lnTo>
                    <a:pt x="0" y="10716"/>
                  </a:lnTo>
                  <a:lnTo>
                    <a:pt x="1016" y="11481"/>
                  </a:lnTo>
                  <a:lnTo>
                    <a:pt x="1290" y="11835"/>
                  </a:lnTo>
                  <a:lnTo>
                    <a:pt x="948" y="12166"/>
                  </a:lnTo>
                  <a:lnTo>
                    <a:pt x="2089" y="13261"/>
                  </a:lnTo>
                  <a:lnTo>
                    <a:pt x="2659" y="13375"/>
                  </a:lnTo>
                  <a:lnTo>
                    <a:pt x="3744" y="12839"/>
                  </a:lnTo>
                  <a:lnTo>
                    <a:pt x="3983" y="13672"/>
                  </a:lnTo>
                  <a:lnTo>
                    <a:pt x="4097" y="14790"/>
                  </a:lnTo>
                  <a:lnTo>
                    <a:pt x="4451" y="15943"/>
                  </a:lnTo>
                  <a:lnTo>
                    <a:pt x="4965" y="17701"/>
                  </a:lnTo>
                  <a:lnTo>
                    <a:pt x="5798" y="18956"/>
                  </a:lnTo>
                  <a:lnTo>
                    <a:pt x="5980" y="19515"/>
                  </a:lnTo>
                  <a:lnTo>
                    <a:pt x="6266" y="20656"/>
                  </a:lnTo>
                  <a:lnTo>
                    <a:pt x="6745" y="21524"/>
                  </a:lnTo>
                  <a:lnTo>
                    <a:pt x="7064" y="21957"/>
                  </a:lnTo>
                  <a:lnTo>
                    <a:pt x="7418" y="22870"/>
                  </a:lnTo>
                  <a:lnTo>
                    <a:pt x="7863" y="24137"/>
                  </a:lnTo>
                  <a:lnTo>
                    <a:pt x="8651" y="24993"/>
                  </a:lnTo>
                  <a:lnTo>
                    <a:pt x="8959" y="24730"/>
                  </a:lnTo>
                  <a:lnTo>
                    <a:pt x="9199" y="24103"/>
                  </a:lnTo>
                  <a:lnTo>
                    <a:pt x="9918" y="23852"/>
                  </a:lnTo>
                  <a:lnTo>
                    <a:pt x="9655" y="23555"/>
                  </a:lnTo>
                  <a:lnTo>
                    <a:pt x="9975" y="22870"/>
                  </a:lnTo>
                  <a:lnTo>
                    <a:pt x="10385" y="22825"/>
                  </a:lnTo>
                  <a:lnTo>
                    <a:pt x="10283" y="21284"/>
                  </a:lnTo>
                  <a:lnTo>
                    <a:pt x="10557" y="20417"/>
                  </a:lnTo>
                  <a:lnTo>
                    <a:pt x="10454" y="19652"/>
                  </a:lnTo>
                  <a:lnTo>
                    <a:pt x="10191" y="18488"/>
                  </a:lnTo>
                  <a:lnTo>
                    <a:pt x="10363" y="17792"/>
                  </a:lnTo>
                  <a:lnTo>
                    <a:pt x="10716" y="17746"/>
                  </a:lnTo>
                  <a:lnTo>
                    <a:pt x="11401" y="17415"/>
                  </a:lnTo>
                  <a:lnTo>
                    <a:pt x="11766" y="17187"/>
                  </a:lnTo>
                  <a:lnTo>
                    <a:pt x="11732" y="16776"/>
                  </a:lnTo>
                  <a:lnTo>
                    <a:pt x="12440" y="16171"/>
                  </a:lnTo>
                  <a:lnTo>
                    <a:pt x="12965" y="15601"/>
                  </a:lnTo>
                  <a:lnTo>
                    <a:pt x="13729" y="14539"/>
                  </a:lnTo>
                  <a:lnTo>
                    <a:pt x="14779" y="13935"/>
                  </a:lnTo>
                  <a:lnTo>
                    <a:pt x="15121" y="13398"/>
                  </a:lnTo>
                  <a:lnTo>
                    <a:pt x="14996" y="12713"/>
                  </a:lnTo>
                  <a:lnTo>
                    <a:pt x="15932" y="12519"/>
                  </a:lnTo>
                  <a:lnTo>
                    <a:pt x="16468" y="12542"/>
                  </a:lnTo>
                  <a:lnTo>
                    <a:pt x="16537" y="12200"/>
                  </a:lnTo>
                  <a:lnTo>
                    <a:pt x="16308" y="11458"/>
                  </a:lnTo>
                  <a:lnTo>
                    <a:pt x="15932" y="10773"/>
                  </a:lnTo>
                  <a:lnTo>
                    <a:pt x="15989" y="10226"/>
                  </a:lnTo>
                  <a:lnTo>
                    <a:pt x="15464" y="9986"/>
                  </a:lnTo>
                  <a:lnTo>
                    <a:pt x="15578" y="9655"/>
                  </a:lnTo>
                  <a:lnTo>
                    <a:pt x="16023" y="9313"/>
                  </a:lnTo>
                  <a:lnTo>
                    <a:pt x="15361" y="8833"/>
                  </a:lnTo>
                  <a:lnTo>
                    <a:pt x="15532" y="8217"/>
                  </a:lnTo>
                  <a:lnTo>
                    <a:pt x="16217" y="8605"/>
                  </a:lnTo>
                  <a:lnTo>
                    <a:pt x="16605" y="8662"/>
                  </a:lnTo>
                  <a:lnTo>
                    <a:pt x="16776" y="9290"/>
                  </a:lnTo>
                  <a:lnTo>
                    <a:pt x="17552" y="9415"/>
                  </a:lnTo>
                  <a:lnTo>
                    <a:pt x="18260" y="9404"/>
                  </a:lnTo>
                  <a:lnTo>
                    <a:pt x="18751" y="9552"/>
                  </a:lnTo>
                  <a:lnTo>
                    <a:pt x="18522" y="10317"/>
                  </a:lnTo>
                  <a:lnTo>
                    <a:pt x="18180" y="10374"/>
                  </a:lnTo>
                  <a:lnTo>
                    <a:pt x="18020" y="10888"/>
                  </a:lnTo>
                  <a:lnTo>
                    <a:pt x="18522" y="11355"/>
                  </a:lnTo>
                  <a:lnTo>
                    <a:pt x="18545" y="10785"/>
                  </a:lnTo>
                  <a:lnTo>
                    <a:pt x="18762" y="10773"/>
                  </a:lnTo>
                  <a:lnTo>
                    <a:pt x="19401" y="12211"/>
                  </a:lnTo>
                  <a:lnTo>
                    <a:pt x="19743" y="11994"/>
                  </a:lnTo>
                  <a:lnTo>
                    <a:pt x="19618" y="11606"/>
                  </a:lnTo>
                  <a:lnTo>
                    <a:pt x="19743" y="11310"/>
                  </a:lnTo>
                  <a:lnTo>
                    <a:pt x="19618" y="10374"/>
                  </a:lnTo>
                  <a:lnTo>
                    <a:pt x="20280" y="10568"/>
                  </a:lnTo>
                  <a:lnTo>
                    <a:pt x="20485" y="9826"/>
                  </a:lnTo>
                  <a:lnTo>
                    <a:pt x="20451" y="9381"/>
                  </a:lnTo>
                  <a:lnTo>
                    <a:pt x="20748" y="8616"/>
                  </a:lnTo>
                  <a:lnTo>
                    <a:pt x="20611" y="8103"/>
                  </a:lnTo>
                  <a:lnTo>
                    <a:pt x="21489" y="7475"/>
                  </a:lnTo>
                  <a:lnTo>
                    <a:pt x="22071" y="7635"/>
                  </a:lnTo>
                  <a:lnTo>
                    <a:pt x="21889" y="7076"/>
                  </a:lnTo>
                  <a:lnTo>
                    <a:pt x="22117" y="6905"/>
                  </a:lnTo>
                  <a:lnTo>
                    <a:pt x="21980" y="6562"/>
                  </a:lnTo>
                  <a:lnTo>
                    <a:pt x="21113" y="6437"/>
                  </a:lnTo>
                  <a:lnTo>
                    <a:pt x="21284" y="6049"/>
                  </a:lnTo>
                  <a:lnTo>
                    <a:pt x="20782" y="5490"/>
                  </a:lnTo>
                  <a:lnTo>
                    <a:pt x="20325" y="5866"/>
                  </a:lnTo>
                  <a:lnTo>
                    <a:pt x="19629" y="5649"/>
                  </a:lnTo>
                  <a:lnTo>
                    <a:pt x="18876" y="6220"/>
                  </a:lnTo>
                  <a:lnTo>
                    <a:pt x="18317" y="6905"/>
                  </a:lnTo>
                  <a:lnTo>
                    <a:pt x="17723" y="7019"/>
                  </a:lnTo>
                  <a:lnTo>
                    <a:pt x="18100" y="7304"/>
                  </a:lnTo>
                  <a:lnTo>
                    <a:pt x="18157" y="7863"/>
                  </a:lnTo>
                  <a:lnTo>
                    <a:pt x="17529" y="7886"/>
                  </a:lnTo>
                  <a:lnTo>
                    <a:pt x="16868" y="7829"/>
                  </a:lnTo>
                  <a:lnTo>
                    <a:pt x="16411" y="7977"/>
                  </a:lnTo>
                  <a:lnTo>
                    <a:pt x="15624" y="7612"/>
                  </a:lnTo>
                  <a:lnTo>
                    <a:pt x="15578" y="7441"/>
                  </a:lnTo>
                  <a:lnTo>
                    <a:pt x="15361" y="6722"/>
                  </a:lnTo>
                  <a:lnTo>
                    <a:pt x="14939" y="6916"/>
                  </a:lnTo>
                  <a:lnTo>
                    <a:pt x="14950" y="7304"/>
                  </a:lnTo>
                  <a:lnTo>
                    <a:pt x="15167" y="7886"/>
                  </a:lnTo>
                  <a:lnTo>
                    <a:pt x="15156" y="8240"/>
                  </a:lnTo>
                  <a:lnTo>
                    <a:pt x="14494" y="8263"/>
                  </a:lnTo>
                  <a:lnTo>
                    <a:pt x="13524" y="8046"/>
                  </a:lnTo>
                  <a:lnTo>
                    <a:pt x="12907" y="7955"/>
                  </a:lnTo>
                  <a:lnTo>
                    <a:pt x="12371" y="7498"/>
                  </a:lnTo>
                  <a:lnTo>
                    <a:pt x="11287" y="7373"/>
                  </a:lnTo>
                  <a:lnTo>
                    <a:pt x="10191" y="6870"/>
                  </a:lnTo>
                  <a:lnTo>
                    <a:pt x="9358" y="6437"/>
                  </a:lnTo>
                  <a:lnTo>
                    <a:pt x="8548" y="6072"/>
                  </a:lnTo>
                  <a:lnTo>
                    <a:pt x="8674" y="523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01" name="Google Shape;272;p29">
              <a:extLst>
                <a:ext uri="{FF2B5EF4-FFF2-40B4-BE49-F238E27FC236}">
                  <a16:creationId xmlns:a16="http://schemas.microsoft.com/office/drawing/2014/main" id="{56DA924E-FD38-47AE-B2DD-3CD8F65A633B}"/>
                </a:ext>
              </a:extLst>
            </p:cNvPr>
            <p:cNvSpPr/>
            <p:nvPr/>
          </p:nvSpPr>
          <p:spPr>
            <a:xfrm>
              <a:off x="3550225" y="1870750"/>
              <a:ext cx="68775" cy="74775"/>
            </a:xfrm>
            <a:custGeom>
              <a:avLst/>
              <a:gdLst/>
              <a:ahLst/>
              <a:cxnLst/>
              <a:rect l="l" t="t" r="r" b="b"/>
              <a:pathLst>
                <a:path w="2751" h="2991" extrusionOk="0">
                  <a:moveTo>
                    <a:pt x="2648" y="1085"/>
                  </a:moveTo>
                  <a:lnTo>
                    <a:pt x="2157" y="902"/>
                  </a:lnTo>
                  <a:lnTo>
                    <a:pt x="1735" y="913"/>
                  </a:lnTo>
                  <a:lnTo>
                    <a:pt x="1895" y="457"/>
                  </a:lnTo>
                  <a:lnTo>
                    <a:pt x="1781" y="1"/>
                  </a:lnTo>
                  <a:lnTo>
                    <a:pt x="1256" y="400"/>
                  </a:lnTo>
                  <a:lnTo>
                    <a:pt x="297" y="1073"/>
                  </a:lnTo>
                  <a:lnTo>
                    <a:pt x="594" y="1941"/>
                  </a:lnTo>
                  <a:lnTo>
                    <a:pt x="0" y="2854"/>
                  </a:lnTo>
                  <a:lnTo>
                    <a:pt x="959" y="2990"/>
                  </a:lnTo>
                  <a:lnTo>
                    <a:pt x="2191" y="2477"/>
                  </a:lnTo>
                  <a:lnTo>
                    <a:pt x="2751" y="170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02" name="Google Shape;273;p29">
              <a:extLst>
                <a:ext uri="{FF2B5EF4-FFF2-40B4-BE49-F238E27FC236}">
                  <a16:creationId xmlns:a16="http://schemas.microsoft.com/office/drawing/2014/main" id="{E7839E7E-C798-4A45-A62A-7EB52B9A7260}"/>
                </a:ext>
              </a:extLst>
            </p:cNvPr>
            <p:cNvSpPr/>
            <p:nvPr/>
          </p:nvSpPr>
          <p:spPr>
            <a:xfrm>
              <a:off x="4538525" y="2209700"/>
              <a:ext cx="412575" cy="333525"/>
            </a:xfrm>
            <a:custGeom>
              <a:avLst/>
              <a:gdLst/>
              <a:ahLst/>
              <a:cxnLst/>
              <a:rect l="l" t="t" r="r" b="b"/>
              <a:pathLst>
                <a:path w="16503" h="13341" extrusionOk="0">
                  <a:moveTo>
                    <a:pt x="1096" y="753"/>
                  </a:moveTo>
                  <a:lnTo>
                    <a:pt x="639" y="343"/>
                  </a:lnTo>
                  <a:lnTo>
                    <a:pt x="468" y="0"/>
                  </a:lnTo>
                  <a:lnTo>
                    <a:pt x="0" y="251"/>
                  </a:lnTo>
                  <a:lnTo>
                    <a:pt x="411" y="1301"/>
                  </a:lnTo>
                  <a:lnTo>
                    <a:pt x="308" y="1586"/>
                  </a:lnTo>
                  <a:lnTo>
                    <a:pt x="833" y="2328"/>
                  </a:lnTo>
                  <a:lnTo>
                    <a:pt x="833" y="2328"/>
                  </a:lnTo>
                  <a:lnTo>
                    <a:pt x="1506" y="3435"/>
                  </a:lnTo>
                  <a:lnTo>
                    <a:pt x="2031" y="3709"/>
                  </a:lnTo>
                  <a:lnTo>
                    <a:pt x="2180" y="4245"/>
                  </a:lnTo>
                  <a:lnTo>
                    <a:pt x="1849" y="4565"/>
                  </a:lnTo>
                  <a:lnTo>
                    <a:pt x="1780" y="5273"/>
                  </a:lnTo>
                  <a:lnTo>
                    <a:pt x="2431" y="6151"/>
                  </a:lnTo>
                  <a:lnTo>
                    <a:pt x="3435" y="6631"/>
                  </a:lnTo>
                  <a:lnTo>
                    <a:pt x="3937" y="7327"/>
                  </a:lnTo>
                  <a:lnTo>
                    <a:pt x="3903" y="7989"/>
                  </a:lnTo>
                  <a:lnTo>
                    <a:pt x="4143" y="7989"/>
                  </a:lnTo>
                  <a:lnTo>
                    <a:pt x="4223" y="8457"/>
                  </a:lnTo>
                  <a:lnTo>
                    <a:pt x="4702" y="8947"/>
                  </a:lnTo>
                  <a:lnTo>
                    <a:pt x="4942" y="8582"/>
                  </a:lnTo>
                  <a:lnTo>
                    <a:pt x="5478" y="8890"/>
                  </a:lnTo>
                  <a:lnTo>
                    <a:pt x="5877" y="8742"/>
                  </a:lnTo>
                  <a:lnTo>
                    <a:pt x="6596" y="9940"/>
                  </a:lnTo>
                  <a:lnTo>
                    <a:pt x="7213" y="10807"/>
                  </a:lnTo>
                  <a:lnTo>
                    <a:pt x="8000" y="11070"/>
                  </a:lnTo>
                  <a:lnTo>
                    <a:pt x="8867" y="11766"/>
                  </a:lnTo>
                  <a:lnTo>
                    <a:pt x="9849" y="12063"/>
                  </a:lnTo>
                  <a:lnTo>
                    <a:pt x="10579" y="11629"/>
                  </a:lnTo>
                  <a:lnTo>
                    <a:pt x="11150" y="11469"/>
                  </a:lnTo>
                  <a:lnTo>
                    <a:pt x="11549" y="11629"/>
                  </a:lnTo>
                  <a:lnTo>
                    <a:pt x="12006" y="12736"/>
                  </a:lnTo>
                  <a:lnTo>
                    <a:pt x="12907" y="12850"/>
                  </a:lnTo>
                  <a:lnTo>
                    <a:pt x="13775" y="13067"/>
                  </a:lnTo>
                  <a:lnTo>
                    <a:pt x="15270" y="13341"/>
                  </a:lnTo>
                  <a:lnTo>
                    <a:pt x="15441" y="12280"/>
                  </a:lnTo>
                  <a:lnTo>
                    <a:pt x="16502" y="11812"/>
                  </a:lnTo>
                  <a:lnTo>
                    <a:pt x="16377" y="11401"/>
                  </a:lnTo>
                  <a:lnTo>
                    <a:pt x="15989" y="11253"/>
                  </a:lnTo>
                  <a:lnTo>
                    <a:pt x="15840" y="10442"/>
                  </a:lnTo>
                  <a:lnTo>
                    <a:pt x="15041" y="10054"/>
                  </a:lnTo>
                  <a:lnTo>
                    <a:pt x="14642" y="9495"/>
                  </a:lnTo>
                  <a:lnTo>
                    <a:pt x="14185" y="9027"/>
                  </a:lnTo>
                  <a:lnTo>
                    <a:pt x="14745" y="8206"/>
                  </a:lnTo>
                  <a:lnTo>
                    <a:pt x="14585" y="7635"/>
                  </a:lnTo>
                  <a:lnTo>
                    <a:pt x="13980" y="7475"/>
                  </a:lnTo>
                  <a:lnTo>
                    <a:pt x="13820" y="6905"/>
                  </a:lnTo>
                  <a:lnTo>
                    <a:pt x="13432" y="6174"/>
                  </a:lnTo>
                  <a:lnTo>
                    <a:pt x="13660" y="5672"/>
                  </a:lnTo>
                  <a:lnTo>
                    <a:pt x="13307" y="5546"/>
                  </a:lnTo>
                  <a:lnTo>
                    <a:pt x="13375" y="4873"/>
                  </a:lnTo>
                  <a:lnTo>
                    <a:pt x="13444" y="3732"/>
                  </a:lnTo>
                  <a:lnTo>
                    <a:pt x="13215" y="2956"/>
                  </a:lnTo>
                  <a:lnTo>
                    <a:pt x="12668" y="2922"/>
                  </a:lnTo>
                  <a:lnTo>
                    <a:pt x="11618" y="2111"/>
                  </a:lnTo>
                  <a:lnTo>
                    <a:pt x="11013" y="2009"/>
                  </a:lnTo>
                  <a:lnTo>
                    <a:pt x="10077" y="1541"/>
                  </a:lnTo>
                  <a:lnTo>
                    <a:pt x="9541" y="1450"/>
                  </a:lnTo>
                  <a:lnTo>
                    <a:pt x="9244" y="1621"/>
                  </a:lnTo>
                  <a:lnTo>
                    <a:pt x="8742" y="1598"/>
                  </a:lnTo>
                  <a:lnTo>
                    <a:pt x="8308" y="2123"/>
                  </a:lnTo>
                  <a:lnTo>
                    <a:pt x="7680" y="2294"/>
                  </a:lnTo>
                  <a:lnTo>
                    <a:pt x="7658" y="2522"/>
                  </a:lnTo>
                  <a:lnTo>
                    <a:pt x="6528" y="2762"/>
                  </a:lnTo>
                  <a:lnTo>
                    <a:pt x="5444" y="2614"/>
                  </a:lnTo>
                  <a:lnTo>
                    <a:pt x="4827" y="2134"/>
                  </a:lnTo>
                  <a:lnTo>
                    <a:pt x="4086" y="1952"/>
                  </a:lnTo>
                  <a:lnTo>
                    <a:pt x="3732" y="1267"/>
                  </a:lnTo>
                  <a:lnTo>
                    <a:pt x="3549" y="1313"/>
                  </a:lnTo>
                  <a:lnTo>
                    <a:pt x="3001" y="822"/>
                  </a:lnTo>
                  <a:lnTo>
                    <a:pt x="3173" y="388"/>
                  </a:lnTo>
                  <a:lnTo>
                    <a:pt x="2910" y="114"/>
                  </a:lnTo>
                  <a:lnTo>
                    <a:pt x="2636" y="183"/>
                  </a:lnTo>
                  <a:lnTo>
                    <a:pt x="1883" y="856"/>
                  </a:lnTo>
                  <a:lnTo>
                    <a:pt x="1621" y="879"/>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03" name="Google Shape;274;p29">
              <a:extLst>
                <a:ext uri="{FF2B5EF4-FFF2-40B4-BE49-F238E27FC236}">
                  <a16:creationId xmlns:a16="http://schemas.microsoft.com/office/drawing/2014/main" id="{334CC9A3-F151-48E7-9C52-F4C2982B69D4}"/>
                </a:ext>
              </a:extLst>
            </p:cNvPr>
            <p:cNvSpPr/>
            <p:nvPr/>
          </p:nvSpPr>
          <p:spPr>
            <a:xfrm>
              <a:off x="4458925" y="2262750"/>
              <a:ext cx="197150" cy="189200"/>
            </a:xfrm>
            <a:custGeom>
              <a:avLst/>
              <a:gdLst/>
              <a:ahLst/>
              <a:cxnLst/>
              <a:rect l="l" t="t" r="r" b="b"/>
              <a:pathLst>
                <a:path w="7886" h="7568" extrusionOk="0">
                  <a:moveTo>
                    <a:pt x="3389" y="126"/>
                  </a:moveTo>
                  <a:lnTo>
                    <a:pt x="2511" y="1"/>
                  </a:lnTo>
                  <a:lnTo>
                    <a:pt x="2214" y="149"/>
                  </a:lnTo>
                  <a:lnTo>
                    <a:pt x="1906" y="731"/>
                  </a:lnTo>
                  <a:lnTo>
                    <a:pt x="1529" y="959"/>
                  </a:lnTo>
                  <a:lnTo>
                    <a:pt x="1700" y="1633"/>
                  </a:lnTo>
                  <a:lnTo>
                    <a:pt x="1564" y="2740"/>
                  </a:lnTo>
                  <a:lnTo>
                    <a:pt x="0" y="3698"/>
                  </a:lnTo>
                  <a:lnTo>
                    <a:pt x="434" y="4794"/>
                  </a:lnTo>
                  <a:lnTo>
                    <a:pt x="1392" y="5034"/>
                  </a:lnTo>
                  <a:lnTo>
                    <a:pt x="2613" y="5684"/>
                  </a:lnTo>
                  <a:lnTo>
                    <a:pt x="4987" y="7487"/>
                  </a:lnTo>
                  <a:lnTo>
                    <a:pt x="6448" y="7567"/>
                  </a:lnTo>
                  <a:lnTo>
                    <a:pt x="6904" y="6688"/>
                  </a:lnTo>
                  <a:lnTo>
                    <a:pt x="7429" y="6768"/>
                  </a:lnTo>
                  <a:lnTo>
                    <a:pt x="7886" y="6814"/>
                  </a:lnTo>
                  <a:lnTo>
                    <a:pt x="7407" y="6335"/>
                  </a:lnTo>
                  <a:lnTo>
                    <a:pt x="7327" y="5867"/>
                  </a:lnTo>
                  <a:lnTo>
                    <a:pt x="7087" y="5867"/>
                  </a:lnTo>
                  <a:lnTo>
                    <a:pt x="7121" y="5205"/>
                  </a:lnTo>
                  <a:lnTo>
                    <a:pt x="6619" y="4509"/>
                  </a:lnTo>
                  <a:lnTo>
                    <a:pt x="5615" y="4029"/>
                  </a:lnTo>
                  <a:lnTo>
                    <a:pt x="4964" y="3151"/>
                  </a:lnTo>
                  <a:lnTo>
                    <a:pt x="5033" y="2443"/>
                  </a:lnTo>
                  <a:lnTo>
                    <a:pt x="5364" y="2123"/>
                  </a:lnTo>
                  <a:lnTo>
                    <a:pt x="5215" y="1587"/>
                  </a:lnTo>
                  <a:lnTo>
                    <a:pt x="4690" y="1313"/>
                  </a:lnTo>
                  <a:lnTo>
                    <a:pt x="4017" y="206"/>
                  </a:lnTo>
                  <a:lnTo>
                    <a:pt x="4017" y="206"/>
                  </a:lnTo>
                  <a:lnTo>
                    <a:pt x="3698" y="35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04" name="Google Shape;275;p29">
              <a:extLst>
                <a:ext uri="{FF2B5EF4-FFF2-40B4-BE49-F238E27FC236}">
                  <a16:creationId xmlns:a16="http://schemas.microsoft.com/office/drawing/2014/main" id="{E63A874E-14E8-4BA5-9D50-AF8E4D5226F3}"/>
                </a:ext>
              </a:extLst>
            </p:cNvPr>
            <p:cNvSpPr/>
            <p:nvPr/>
          </p:nvSpPr>
          <p:spPr>
            <a:xfrm>
              <a:off x="3353350" y="1635650"/>
              <a:ext cx="161225" cy="60525"/>
            </a:xfrm>
            <a:custGeom>
              <a:avLst/>
              <a:gdLst/>
              <a:ahLst/>
              <a:cxnLst/>
              <a:rect l="l" t="t" r="r" b="b"/>
              <a:pathLst>
                <a:path w="6449" h="2421" extrusionOk="0">
                  <a:moveTo>
                    <a:pt x="6015" y="69"/>
                  </a:moveTo>
                  <a:lnTo>
                    <a:pt x="5034" y="1"/>
                  </a:lnTo>
                  <a:lnTo>
                    <a:pt x="3995" y="423"/>
                  </a:lnTo>
                  <a:lnTo>
                    <a:pt x="3265" y="206"/>
                  </a:lnTo>
                  <a:lnTo>
                    <a:pt x="2283" y="640"/>
                  </a:lnTo>
                  <a:lnTo>
                    <a:pt x="1439" y="92"/>
                  </a:lnTo>
                  <a:lnTo>
                    <a:pt x="514" y="206"/>
                  </a:lnTo>
                  <a:lnTo>
                    <a:pt x="1" y="731"/>
                  </a:lnTo>
                  <a:lnTo>
                    <a:pt x="1245" y="925"/>
                  </a:lnTo>
                  <a:lnTo>
                    <a:pt x="1222" y="1154"/>
                  </a:lnTo>
                  <a:lnTo>
                    <a:pt x="115" y="1302"/>
                  </a:lnTo>
                  <a:lnTo>
                    <a:pt x="1370" y="1690"/>
                  </a:lnTo>
                  <a:lnTo>
                    <a:pt x="708" y="2044"/>
                  </a:lnTo>
                  <a:lnTo>
                    <a:pt x="2386" y="2306"/>
                  </a:lnTo>
                  <a:lnTo>
                    <a:pt x="3185" y="2420"/>
                  </a:lnTo>
                  <a:lnTo>
                    <a:pt x="3733" y="2272"/>
                  </a:lnTo>
                  <a:lnTo>
                    <a:pt x="5581" y="1724"/>
                  </a:lnTo>
                  <a:lnTo>
                    <a:pt x="6449" y="1119"/>
                  </a:lnTo>
                  <a:lnTo>
                    <a:pt x="5821" y="57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05" name="Google Shape;276;p29">
              <a:extLst>
                <a:ext uri="{FF2B5EF4-FFF2-40B4-BE49-F238E27FC236}">
                  <a16:creationId xmlns:a16="http://schemas.microsoft.com/office/drawing/2014/main" id="{5C9BC364-2D71-4803-BD75-86C9F6AC4708}"/>
                </a:ext>
              </a:extLst>
            </p:cNvPr>
            <p:cNvSpPr/>
            <p:nvPr/>
          </p:nvSpPr>
          <p:spPr>
            <a:xfrm>
              <a:off x="4377875" y="2357200"/>
              <a:ext cx="26000" cy="85600"/>
            </a:xfrm>
            <a:custGeom>
              <a:avLst/>
              <a:gdLst/>
              <a:ahLst/>
              <a:cxnLst/>
              <a:rect l="l" t="t" r="r" b="b"/>
              <a:pathLst>
                <a:path w="1040" h="3424" extrusionOk="0">
                  <a:moveTo>
                    <a:pt x="1005" y="0"/>
                  </a:moveTo>
                  <a:lnTo>
                    <a:pt x="800" y="23"/>
                  </a:lnTo>
                  <a:lnTo>
                    <a:pt x="743" y="171"/>
                  </a:lnTo>
                  <a:lnTo>
                    <a:pt x="480" y="171"/>
                  </a:lnTo>
                  <a:lnTo>
                    <a:pt x="469" y="194"/>
                  </a:lnTo>
                  <a:lnTo>
                    <a:pt x="389" y="423"/>
                  </a:lnTo>
                  <a:lnTo>
                    <a:pt x="298" y="1107"/>
                  </a:lnTo>
                  <a:lnTo>
                    <a:pt x="149" y="1518"/>
                  </a:lnTo>
                  <a:lnTo>
                    <a:pt x="206" y="1575"/>
                  </a:lnTo>
                  <a:lnTo>
                    <a:pt x="1" y="1872"/>
                  </a:lnTo>
                  <a:lnTo>
                    <a:pt x="1" y="1872"/>
                  </a:lnTo>
                  <a:lnTo>
                    <a:pt x="560" y="3184"/>
                  </a:lnTo>
                  <a:lnTo>
                    <a:pt x="663" y="3424"/>
                  </a:lnTo>
                  <a:lnTo>
                    <a:pt x="903" y="1975"/>
                  </a:lnTo>
                  <a:lnTo>
                    <a:pt x="845" y="1632"/>
                  </a:lnTo>
                  <a:lnTo>
                    <a:pt x="503" y="1746"/>
                  </a:lnTo>
                  <a:lnTo>
                    <a:pt x="515" y="1507"/>
                  </a:lnTo>
                  <a:lnTo>
                    <a:pt x="686" y="1393"/>
                  </a:lnTo>
                  <a:lnTo>
                    <a:pt x="492" y="1290"/>
                  </a:lnTo>
                  <a:lnTo>
                    <a:pt x="583" y="674"/>
                  </a:lnTo>
                  <a:lnTo>
                    <a:pt x="868" y="799"/>
                  </a:lnTo>
                  <a:lnTo>
                    <a:pt x="971" y="514"/>
                  </a:lnTo>
                  <a:lnTo>
                    <a:pt x="960" y="514"/>
                  </a:lnTo>
                  <a:lnTo>
                    <a:pt x="1039" y="377"/>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06" name="Google Shape;277;p29">
              <a:extLst>
                <a:ext uri="{FF2B5EF4-FFF2-40B4-BE49-F238E27FC236}">
                  <a16:creationId xmlns:a16="http://schemas.microsoft.com/office/drawing/2014/main" id="{C5A48CDC-2C09-4640-A149-31683B89B9B9}"/>
                </a:ext>
              </a:extLst>
            </p:cNvPr>
            <p:cNvSpPr/>
            <p:nvPr/>
          </p:nvSpPr>
          <p:spPr>
            <a:xfrm>
              <a:off x="3842650" y="2045925"/>
              <a:ext cx="219725" cy="234550"/>
            </a:xfrm>
            <a:custGeom>
              <a:avLst/>
              <a:gdLst/>
              <a:ahLst/>
              <a:cxnLst/>
              <a:rect l="l" t="t" r="r" b="b"/>
              <a:pathLst>
                <a:path w="8789" h="9382" extrusionOk="0">
                  <a:moveTo>
                    <a:pt x="6722" y="7909"/>
                  </a:moveTo>
                  <a:lnTo>
                    <a:pt x="6152" y="7978"/>
                  </a:lnTo>
                  <a:lnTo>
                    <a:pt x="5399" y="8080"/>
                  </a:lnTo>
                  <a:lnTo>
                    <a:pt x="4520" y="7989"/>
                  </a:lnTo>
                  <a:lnTo>
                    <a:pt x="4440" y="8480"/>
                  </a:lnTo>
                  <a:lnTo>
                    <a:pt x="5501" y="8948"/>
                  </a:lnTo>
                  <a:lnTo>
                    <a:pt x="5889" y="9050"/>
                  </a:lnTo>
                  <a:lnTo>
                    <a:pt x="6494" y="9381"/>
                  </a:lnTo>
                  <a:lnTo>
                    <a:pt x="6620" y="8913"/>
                  </a:lnTo>
                  <a:lnTo>
                    <a:pt x="6494" y="8628"/>
                  </a:lnTo>
                  <a:close/>
                  <a:moveTo>
                    <a:pt x="1907" y="5205"/>
                  </a:moveTo>
                  <a:lnTo>
                    <a:pt x="1553" y="5478"/>
                  </a:lnTo>
                  <a:lnTo>
                    <a:pt x="1153" y="5433"/>
                  </a:lnTo>
                  <a:lnTo>
                    <a:pt x="1336" y="5946"/>
                  </a:lnTo>
                  <a:lnTo>
                    <a:pt x="1393" y="7030"/>
                  </a:lnTo>
                  <a:lnTo>
                    <a:pt x="1690" y="7282"/>
                  </a:lnTo>
                  <a:lnTo>
                    <a:pt x="1975" y="6973"/>
                  </a:lnTo>
                  <a:lnTo>
                    <a:pt x="2329" y="7030"/>
                  </a:lnTo>
                  <a:lnTo>
                    <a:pt x="2386" y="5832"/>
                  </a:lnTo>
                  <a:close/>
                  <a:moveTo>
                    <a:pt x="3949" y="320"/>
                  </a:moveTo>
                  <a:lnTo>
                    <a:pt x="3767" y="1"/>
                  </a:lnTo>
                  <a:lnTo>
                    <a:pt x="3082" y="160"/>
                  </a:lnTo>
                  <a:lnTo>
                    <a:pt x="3014" y="332"/>
                  </a:lnTo>
                  <a:lnTo>
                    <a:pt x="2568" y="206"/>
                  </a:lnTo>
                  <a:lnTo>
                    <a:pt x="2523" y="560"/>
                  </a:lnTo>
                  <a:lnTo>
                    <a:pt x="2226" y="720"/>
                  </a:lnTo>
                  <a:lnTo>
                    <a:pt x="1678" y="605"/>
                  </a:lnTo>
                  <a:lnTo>
                    <a:pt x="1553" y="959"/>
                  </a:lnTo>
                  <a:lnTo>
                    <a:pt x="1210" y="982"/>
                  </a:lnTo>
                  <a:lnTo>
                    <a:pt x="1085" y="845"/>
                  </a:lnTo>
                  <a:lnTo>
                    <a:pt x="697" y="1142"/>
                  </a:lnTo>
                  <a:lnTo>
                    <a:pt x="354" y="1187"/>
                  </a:lnTo>
                  <a:lnTo>
                    <a:pt x="46" y="1005"/>
                  </a:lnTo>
                  <a:lnTo>
                    <a:pt x="12" y="1245"/>
                  </a:lnTo>
                  <a:lnTo>
                    <a:pt x="240" y="1587"/>
                  </a:lnTo>
                  <a:lnTo>
                    <a:pt x="1" y="1838"/>
                  </a:lnTo>
                  <a:lnTo>
                    <a:pt x="218" y="2523"/>
                  </a:lnTo>
                  <a:lnTo>
                    <a:pt x="594" y="2637"/>
                  </a:lnTo>
                  <a:lnTo>
                    <a:pt x="526" y="3025"/>
                  </a:lnTo>
                  <a:lnTo>
                    <a:pt x="822" y="2956"/>
                  </a:lnTo>
                  <a:lnTo>
                    <a:pt x="1222" y="2557"/>
                  </a:lnTo>
                  <a:lnTo>
                    <a:pt x="1553" y="2431"/>
                  </a:lnTo>
                  <a:lnTo>
                    <a:pt x="2158" y="2728"/>
                  </a:lnTo>
                  <a:lnTo>
                    <a:pt x="2523" y="2831"/>
                  </a:lnTo>
                  <a:lnTo>
                    <a:pt x="2797" y="3687"/>
                  </a:lnTo>
                  <a:lnTo>
                    <a:pt x="3310" y="4200"/>
                  </a:lnTo>
                  <a:lnTo>
                    <a:pt x="4006" y="4771"/>
                  </a:lnTo>
                  <a:lnTo>
                    <a:pt x="4611" y="5170"/>
                  </a:lnTo>
                  <a:lnTo>
                    <a:pt x="5159" y="5227"/>
                  </a:lnTo>
                  <a:lnTo>
                    <a:pt x="5490" y="5581"/>
                  </a:lnTo>
                  <a:lnTo>
                    <a:pt x="5981" y="5752"/>
                  </a:lnTo>
                  <a:lnTo>
                    <a:pt x="6220" y="6140"/>
                  </a:lnTo>
                  <a:lnTo>
                    <a:pt x="6528" y="6254"/>
                  </a:lnTo>
                  <a:lnTo>
                    <a:pt x="6791" y="6711"/>
                  </a:lnTo>
                  <a:lnTo>
                    <a:pt x="7122" y="7236"/>
                  </a:lnTo>
                  <a:lnTo>
                    <a:pt x="6962" y="7418"/>
                  </a:lnTo>
                  <a:lnTo>
                    <a:pt x="6848" y="7921"/>
                  </a:lnTo>
                  <a:lnTo>
                    <a:pt x="6859" y="8206"/>
                  </a:lnTo>
                  <a:lnTo>
                    <a:pt x="7156" y="8137"/>
                  </a:lnTo>
                  <a:lnTo>
                    <a:pt x="7521" y="7339"/>
                  </a:lnTo>
                  <a:lnTo>
                    <a:pt x="7818" y="7282"/>
                  </a:lnTo>
                  <a:lnTo>
                    <a:pt x="7875" y="6802"/>
                  </a:lnTo>
                  <a:lnTo>
                    <a:pt x="7316" y="6483"/>
                  </a:lnTo>
                  <a:lnTo>
                    <a:pt x="7590" y="5889"/>
                  </a:lnTo>
                  <a:lnTo>
                    <a:pt x="8229" y="6038"/>
                  </a:lnTo>
                  <a:lnTo>
                    <a:pt x="8674" y="6460"/>
                  </a:lnTo>
                  <a:lnTo>
                    <a:pt x="8788" y="6140"/>
                  </a:lnTo>
                  <a:lnTo>
                    <a:pt x="8697" y="5969"/>
                  </a:lnTo>
                  <a:lnTo>
                    <a:pt x="8035" y="5513"/>
                  </a:lnTo>
                  <a:lnTo>
                    <a:pt x="7476" y="5239"/>
                  </a:lnTo>
                  <a:lnTo>
                    <a:pt x="6791" y="4908"/>
                  </a:lnTo>
                  <a:lnTo>
                    <a:pt x="6985" y="4737"/>
                  </a:lnTo>
                  <a:lnTo>
                    <a:pt x="6791" y="4543"/>
                  </a:lnTo>
                  <a:lnTo>
                    <a:pt x="6220" y="4554"/>
                  </a:lnTo>
                  <a:lnTo>
                    <a:pt x="5364" y="3835"/>
                  </a:lnTo>
                  <a:lnTo>
                    <a:pt x="4954" y="3116"/>
                  </a:lnTo>
                  <a:lnTo>
                    <a:pt x="4246" y="2671"/>
                  </a:lnTo>
                  <a:lnTo>
                    <a:pt x="3972" y="2226"/>
                  </a:lnTo>
                  <a:lnTo>
                    <a:pt x="4052" y="1975"/>
                  </a:lnTo>
                  <a:lnTo>
                    <a:pt x="3995" y="1541"/>
                  </a:lnTo>
                  <a:lnTo>
                    <a:pt x="4543" y="1233"/>
                  </a:lnTo>
                  <a:lnTo>
                    <a:pt x="5136" y="1359"/>
                  </a:lnTo>
                  <a:lnTo>
                    <a:pt x="4931" y="971"/>
                  </a:lnTo>
                  <a:lnTo>
                    <a:pt x="4976" y="54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07" name="Google Shape;278;p29">
              <a:extLst>
                <a:ext uri="{FF2B5EF4-FFF2-40B4-BE49-F238E27FC236}">
                  <a16:creationId xmlns:a16="http://schemas.microsoft.com/office/drawing/2014/main" id="{77E463EE-514F-42F6-87E8-AC551812E754}"/>
                </a:ext>
              </a:extLst>
            </p:cNvPr>
            <p:cNvSpPr/>
            <p:nvPr/>
          </p:nvSpPr>
          <p:spPr>
            <a:xfrm>
              <a:off x="2174750" y="2691850"/>
              <a:ext cx="41400" cy="18575"/>
            </a:xfrm>
            <a:custGeom>
              <a:avLst/>
              <a:gdLst/>
              <a:ahLst/>
              <a:cxnLst/>
              <a:rect l="l" t="t" r="r" b="b"/>
              <a:pathLst>
                <a:path w="1656" h="743" extrusionOk="0">
                  <a:moveTo>
                    <a:pt x="1097" y="594"/>
                  </a:moveTo>
                  <a:lnTo>
                    <a:pt x="1656" y="583"/>
                  </a:lnTo>
                  <a:lnTo>
                    <a:pt x="1542" y="332"/>
                  </a:lnTo>
                  <a:lnTo>
                    <a:pt x="1154" y="115"/>
                  </a:lnTo>
                  <a:lnTo>
                    <a:pt x="629" y="24"/>
                  </a:lnTo>
                  <a:lnTo>
                    <a:pt x="446" y="1"/>
                  </a:lnTo>
                  <a:lnTo>
                    <a:pt x="104" y="58"/>
                  </a:lnTo>
                  <a:lnTo>
                    <a:pt x="1" y="263"/>
                  </a:lnTo>
                  <a:lnTo>
                    <a:pt x="412" y="594"/>
                  </a:lnTo>
                  <a:lnTo>
                    <a:pt x="834" y="74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08" name="Google Shape;279;p29">
              <a:extLst>
                <a:ext uri="{FF2B5EF4-FFF2-40B4-BE49-F238E27FC236}">
                  <a16:creationId xmlns:a16="http://schemas.microsoft.com/office/drawing/2014/main" id="{98232B10-2162-416F-BB69-E3AD61DAE4F4}"/>
                </a:ext>
              </a:extLst>
            </p:cNvPr>
            <p:cNvSpPr/>
            <p:nvPr/>
          </p:nvSpPr>
          <p:spPr>
            <a:xfrm>
              <a:off x="4394425" y="2355200"/>
              <a:ext cx="75350" cy="94450"/>
            </a:xfrm>
            <a:custGeom>
              <a:avLst/>
              <a:gdLst/>
              <a:ahLst/>
              <a:cxnLst/>
              <a:rect l="l" t="t" r="r" b="b"/>
              <a:pathLst>
                <a:path w="3014" h="3778" extrusionOk="0">
                  <a:moveTo>
                    <a:pt x="3014" y="1096"/>
                  </a:moveTo>
                  <a:lnTo>
                    <a:pt x="2580" y="0"/>
                  </a:lnTo>
                  <a:lnTo>
                    <a:pt x="1211" y="959"/>
                  </a:lnTo>
                  <a:lnTo>
                    <a:pt x="309" y="594"/>
                  </a:lnTo>
                  <a:lnTo>
                    <a:pt x="206" y="879"/>
                  </a:lnTo>
                  <a:lnTo>
                    <a:pt x="263" y="1438"/>
                  </a:lnTo>
                  <a:lnTo>
                    <a:pt x="183" y="1712"/>
                  </a:lnTo>
                  <a:lnTo>
                    <a:pt x="241" y="2055"/>
                  </a:lnTo>
                  <a:lnTo>
                    <a:pt x="1" y="3504"/>
                  </a:lnTo>
                  <a:lnTo>
                    <a:pt x="35" y="3629"/>
                  </a:lnTo>
                  <a:lnTo>
                    <a:pt x="914" y="3778"/>
                  </a:lnTo>
                  <a:lnTo>
                    <a:pt x="1211" y="3492"/>
                  </a:lnTo>
                  <a:lnTo>
                    <a:pt x="1370" y="3162"/>
                  </a:lnTo>
                  <a:lnTo>
                    <a:pt x="1941" y="3047"/>
                  </a:lnTo>
                  <a:lnTo>
                    <a:pt x="2032" y="2739"/>
                  </a:lnTo>
                  <a:lnTo>
                    <a:pt x="2283" y="2591"/>
                  </a:lnTo>
                  <a:lnTo>
                    <a:pt x="1405" y="1678"/>
                  </a:lnTo>
                  <a:lnTo>
                    <a:pt x="2888" y="123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09" name="Google Shape;280;p29">
              <a:extLst>
                <a:ext uri="{FF2B5EF4-FFF2-40B4-BE49-F238E27FC236}">
                  <a16:creationId xmlns:a16="http://schemas.microsoft.com/office/drawing/2014/main" id="{13AFFD30-4738-4D78-B52B-A964F2872A0A}"/>
                </a:ext>
              </a:extLst>
            </p:cNvPr>
            <p:cNvSpPr/>
            <p:nvPr/>
          </p:nvSpPr>
          <p:spPr>
            <a:xfrm>
              <a:off x="6182725" y="2080450"/>
              <a:ext cx="189475" cy="327850"/>
            </a:xfrm>
            <a:custGeom>
              <a:avLst/>
              <a:gdLst/>
              <a:ahLst/>
              <a:cxnLst/>
              <a:rect l="l" t="t" r="r" b="b"/>
              <a:pathLst>
                <a:path w="7579" h="13114" extrusionOk="0">
                  <a:moveTo>
                    <a:pt x="3652" y="10271"/>
                  </a:moveTo>
                  <a:lnTo>
                    <a:pt x="3013" y="10089"/>
                  </a:lnTo>
                  <a:lnTo>
                    <a:pt x="2854" y="10477"/>
                  </a:lnTo>
                  <a:lnTo>
                    <a:pt x="2386" y="10363"/>
                  </a:lnTo>
                  <a:lnTo>
                    <a:pt x="2203" y="10899"/>
                  </a:lnTo>
                  <a:lnTo>
                    <a:pt x="2374" y="11333"/>
                  </a:lnTo>
                  <a:lnTo>
                    <a:pt x="2968" y="11584"/>
                  </a:lnTo>
                  <a:lnTo>
                    <a:pt x="2956" y="11059"/>
                  </a:lnTo>
                  <a:lnTo>
                    <a:pt x="3253" y="10842"/>
                  </a:lnTo>
                  <a:lnTo>
                    <a:pt x="3698" y="11150"/>
                  </a:lnTo>
                  <a:lnTo>
                    <a:pt x="3881" y="10591"/>
                  </a:lnTo>
                  <a:close/>
                  <a:moveTo>
                    <a:pt x="7133" y="7521"/>
                  </a:moveTo>
                  <a:lnTo>
                    <a:pt x="6620" y="6562"/>
                  </a:lnTo>
                  <a:lnTo>
                    <a:pt x="6814" y="5649"/>
                  </a:lnTo>
                  <a:lnTo>
                    <a:pt x="6414" y="4908"/>
                  </a:lnTo>
                  <a:lnTo>
                    <a:pt x="5250" y="3675"/>
                  </a:lnTo>
                  <a:lnTo>
                    <a:pt x="4565" y="3846"/>
                  </a:lnTo>
                  <a:lnTo>
                    <a:pt x="4600" y="4394"/>
                  </a:lnTo>
                  <a:lnTo>
                    <a:pt x="5330" y="5410"/>
                  </a:lnTo>
                  <a:lnTo>
                    <a:pt x="5467" y="6540"/>
                  </a:lnTo>
                  <a:lnTo>
                    <a:pt x="5227" y="6893"/>
                  </a:lnTo>
                  <a:lnTo>
                    <a:pt x="4588" y="7818"/>
                  </a:lnTo>
                  <a:lnTo>
                    <a:pt x="3869" y="7384"/>
                  </a:lnTo>
                  <a:lnTo>
                    <a:pt x="3869" y="9016"/>
                  </a:lnTo>
                  <a:lnTo>
                    <a:pt x="2968" y="8833"/>
                  </a:lnTo>
                  <a:lnTo>
                    <a:pt x="1598" y="9107"/>
                  </a:lnTo>
                  <a:lnTo>
                    <a:pt x="1336" y="9735"/>
                  </a:lnTo>
                  <a:lnTo>
                    <a:pt x="777" y="10203"/>
                  </a:lnTo>
                  <a:lnTo>
                    <a:pt x="617" y="10774"/>
                  </a:lnTo>
                  <a:lnTo>
                    <a:pt x="1" y="11059"/>
                  </a:lnTo>
                  <a:lnTo>
                    <a:pt x="571" y="11675"/>
                  </a:lnTo>
                  <a:lnTo>
                    <a:pt x="1165" y="11938"/>
                  </a:lnTo>
                  <a:lnTo>
                    <a:pt x="1290" y="12759"/>
                  </a:lnTo>
                  <a:lnTo>
                    <a:pt x="1792" y="13113"/>
                  </a:lnTo>
                  <a:lnTo>
                    <a:pt x="2146" y="12725"/>
                  </a:lnTo>
                  <a:lnTo>
                    <a:pt x="2032" y="11184"/>
                  </a:lnTo>
                  <a:lnTo>
                    <a:pt x="993" y="10511"/>
                  </a:lnTo>
                  <a:lnTo>
                    <a:pt x="1861" y="10500"/>
                  </a:lnTo>
                  <a:lnTo>
                    <a:pt x="2568" y="10077"/>
                  </a:lnTo>
                  <a:lnTo>
                    <a:pt x="3801" y="9872"/>
                  </a:lnTo>
                  <a:lnTo>
                    <a:pt x="4143" y="10557"/>
                  </a:lnTo>
                  <a:lnTo>
                    <a:pt x="4794" y="10899"/>
                  </a:lnTo>
                  <a:lnTo>
                    <a:pt x="5421" y="9861"/>
                  </a:lnTo>
                  <a:lnTo>
                    <a:pt x="6722" y="9804"/>
                  </a:lnTo>
                  <a:lnTo>
                    <a:pt x="7498" y="9370"/>
                  </a:lnTo>
                  <a:lnTo>
                    <a:pt x="7578" y="8719"/>
                  </a:lnTo>
                  <a:lnTo>
                    <a:pt x="7224" y="8263"/>
                  </a:lnTo>
                  <a:close/>
                  <a:moveTo>
                    <a:pt x="5456" y="1210"/>
                  </a:moveTo>
                  <a:lnTo>
                    <a:pt x="4702" y="913"/>
                  </a:lnTo>
                  <a:lnTo>
                    <a:pt x="3219" y="0"/>
                  </a:lnTo>
                  <a:lnTo>
                    <a:pt x="3481" y="685"/>
                  </a:lnTo>
                  <a:lnTo>
                    <a:pt x="4098" y="1906"/>
                  </a:lnTo>
                  <a:lnTo>
                    <a:pt x="3356" y="1952"/>
                  </a:lnTo>
                  <a:lnTo>
                    <a:pt x="3447" y="2625"/>
                  </a:lnTo>
                  <a:lnTo>
                    <a:pt x="4098" y="3493"/>
                  </a:lnTo>
                  <a:lnTo>
                    <a:pt x="4908" y="3493"/>
                  </a:lnTo>
                  <a:lnTo>
                    <a:pt x="4680" y="2523"/>
                  </a:lnTo>
                  <a:lnTo>
                    <a:pt x="6220" y="3127"/>
                  </a:lnTo>
                  <a:lnTo>
                    <a:pt x="6277" y="2260"/>
                  </a:lnTo>
                  <a:lnTo>
                    <a:pt x="7190" y="2009"/>
                  </a:lnTo>
                  <a:lnTo>
                    <a:pt x="6334" y="1028"/>
                  </a:lnTo>
                  <a:lnTo>
                    <a:pt x="6095" y="140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10" name="Google Shape;281;p29">
              <a:extLst>
                <a:ext uri="{FF2B5EF4-FFF2-40B4-BE49-F238E27FC236}">
                  <a16:creationId xmlns:a16="http://schemas.microsoft.com/office/drawing/2014/main" id="{A0411CAB-D663-42D1-981E-E74E517BC666}"/>
                </a:ext>
              </a:extLst>
            </p:cNvPr>
            <p:cNvSpPr/>
            <p:nvPr/>
          </p:nvSpPr>
          <p:spPr>
            <a:xfrm>
              <a:off x="4538525" y="1865050"/>
              <a:ext cx="710700" cy="323275"/>
            </a:xfrm>
            <a:custGeom>
              <a:avLst/>
              <a:gdLst/>
              <a:ahLst/>
              <a:cxnLst/>
              <a:rect l="l" t="t" r="r" b="b"/>
              <a:pathLst>
                <a:path w="28428" h="12931" extrusionOk="0">
                  <a:moveTo>
                    <a:pt x="14688" y="194"/>
                  </a:moveTo>
                  <a:lnTo>
                    <a:pt x="13409" y="0"/>
                  </a:lnTo>
                  <a:lnTo>
                    <a:pt x="12964" y="365"/>
                  </a:lnTo>
                  <a:lnTo>
                    <a:pt x="11424" y="674"/>
                  </a:lnTo>
                  <a:lnTo>
                    <a:pt x="11184" y="890"/>
                  </a:lnTo>
                  <a:lnTo>
                    <a:pt x="8787" y="1187"/>
                  </a:lnTo>
                  <a:lnTo>
                    <a:pt x="8582" y="1484"/>
                  </a:lnTo>
                  <a:lnTo>
                    <a:pt x="9301" y="2066"/>
                  </a:lnTo>
                  <a:lnTo>
                    <a:pt x="8742" y="2294"/>
                  </a:lnTo>
                  <a:lnTo>
                    <a:pt x="8947" y="2545"/>
                  </a:lnTo>
                  <a:lnTo>
                    <a:pt x="8445" y="2956"/>
                  </a:lnTo>
                  <a:lnTo>
                    <a:pt x="9780" y="3549"/>
                  </a:lnTo>
                  <a:lnTo>
                    <a:pt x="9757" y="3983"/>
                  </a:lnTo>
                  <a:lnTo>
                    <a:pt x="8765" y="3937"/>
                  </a:lnTo>
                  <a:lnTo>
                    <a:pt x="8650" y="4200"/>
                  </a:lnTo>
                  <a:lnTo>
                    <a:pt x="7612" y="3743"/>
                  </a:lnTo>
                  <a:lnTo>
                    <a:pt x="6528" y="3766"/>
                  </a:lnTo>
                  <a:lnTo>
                    <a:pt x="5912" y="4120"/>
                  </a:lnTo>
                  <a:lnTo>
                    <a:pt x="4976" y="3778"/>
                  </a:lnTo>
                  <a:lnTo>
                    <a:pt x="3275" y="3173"/>
                  </a:lnTo>
                  <a:lnTo>
                    <a:pt x="2203" y="3196"/>
                  </a:lnTo>
                  <a:lnTo>
                    <a:pt x="1050" y="4143"/>
                  </a:lnTo>
                  <a:lnTo>
                    <a:pt x="1153" y="4793"/>
                  </a:lnTo>
                  <a:lnTo>
                    <a:pt x="297" y="4280"/>
                  </a:lnTo>
                  <a:lnTo>
                    <a:pt x="0" y="5250"/>
                  </a:lnTo>
                  <a:lnTo>
                    <a:pt x="240" y="5421"/>
                  </a:lnTo>
                  <a:lnTo>
                    <a:pt x="0" y="6094"/>
                  </a:lnTo>
                  <a:lnTo>
                    <a:pt x="753" y="6711"/>
                  </a:lnTo>
                  <a:lnTo>
                    <a:pt x="1267" y="6676"/>
                  </a:lnTo>
                  <a:lnTo>
                    <a:pt x="1860" y="7258"/>
                  </a:lnTo>
                  <a:lnTo>
                    <a:pt x="1894" y="7715"/>
                  </a:lnTo>
                  <a:lnTo>
                    <a:pt x="2294" y="7863"/>
                  </a:lnTo>
                  <a:lnTo>
                    <a:pt x="2922" y="7681"/>
                  </a:lnTo>
                  <a:lnTo>
                    <a:pt x="3629" y="7293"/>
                  </a:lnTo>
                  <a:lnTo>
                    <a:pt x="4302" y="7509"/>
                  </a:lnTo>
                  <a:lnTo>
                    <a:pt x="4999" y="7464"/>
                  </a:lnTo>
                  <a:lnTo>
                    <a:pt x="5272" y="8023"/>
                  </a:lnTo>
                  <a:lnTo>
                    <a:pt x="5364" y="8879"/>
                  </a:lnTo>
                  <a:lnTo>
                    <a:pt x="4702" y="8742"/>
                  </a:lnTo>
                  <a:lnTo>
                    <a:pt x="4131" y="8890"/>
                  </a:lnTo>
                  <a:lnTo>
                    <a:pt x="4257" y="9529"/>
                  </a:lnTo>
                  <a:lnTo>
                    <a:pt x="3549" y="9450"/>
                  </a:lnTo>
                  <a:lnTo>
                    <a:pt x="3629" y="9735"/>
                  </a:lnTo>
                  <a:lnTo>
                    <a:pt x="4086" y="9963"/>
                  </a:lnTo>
                  <a:lnTo>
                    <a:pt x="4622" y="10739"/>
                  </a:lnTo>
                  <a:lnTo>
                    <a:pt x="5535" y="11047"/>
                  </a:lnTo>
                  <a:lnTo>
                    <a:pt x="5740" y="11344"/>
                  </a:lnTo>
                  <a:lnTo>
                    <a:pt x="5649" y="11709"/>
                  </a:lnTo>
                  <a:lnTo>
                    <a:pt x="5740" y="11926"/>
                  </a:lnTo>
                  <a:lnTo>
                    <a:pt x="6003" y="11641"/>
                  </a:lnTo>
                  <a:lnTo>
                    <a:pt x="6790" y="11458"/>
                  </a:lnTo>
                  <a:lnTo>
                    <a:pt x="7327" y="11698"/>
                  </a:lnTo>
                  <a:lnTo>
                    <a:pt x="8023" y="12394"/>
                  </a:lnTo>
                  <a:lnTo>
                    <a:pt x="8388" y="12360"/>
                  </a:lnTo>
                  <a:lnTo>
                    <a:pt x="7498" y="9107"/>
                  </a:lnTo>
                  <a:lnTo>
                    <a:pt x="9198" y="8594"/>
                  </a:lnTo>
                  <a:lnTo>
                    <a:pt x="9358" y="8662"/>
                  </a:lnTo>
                  <a:lnTo>
                    <a:pt x="10648" y="9301"/>
                  </a:lnTo>
                  <a:lnTo>
                    <a:pt x="11332" y="9632"/>
                  </a:lnTo>
                  <a:lnTo>
                    <a:pt x="12268" y="10420"/>
                  </a:lnTo>
                  <a:lnTo>
                    <a:pt x="13078" y="10283"/>
                  </a:lnTo>
                  <a:lnTo>
                    <a:pt x="14300" y="10214"/>
                  </a:lnTo>
                  <a:lnTo>
                    <a:pt x="15372" y="10853"/>
                  </a:lnTo>
                  <a:lnTo>
                    <a:pt x="15589" y="11743"/>
                  </a:lnTo>
                  <a:lnTo>
                    <a:pt x="15943" y="11755"/>
                  </a:lnTo>
                  <a:lnTo>
                    <a:pt x="16319" y="12474"/>
                  </a:lnTo>
                  <a:lnTo>
                    <a:pt x="17255" y="12497"/>
                  </a:lnTo>
                  <a:lnTo>
                    <a:pt x="17586" y="12930"/>
                  </a:lnTo>
                  <a:lnTo>
                    <a:pt x="17860" y="12930"/>
                  </a:lnTo>
                  <a:lnTo>
                    <a:pt x="17986" y="12280"/>
                  </a:lnTo>
                  <a:lnTo>
                    <a:pt x="18750" y="11675"/>
                  </a:lnTo>
                  <a:lnTo>
                    <a:pt x="19115" y="11504"/>
                  </a:lnTo>
                  <a:lnTo>
                    <a:pt x="19150" y="11116"/>
                  </a:lnTo>
                  <a:lnTo>
                    <a:pt x="19595" y="11002"/>
                  </a:lnTo>
                  <a:lnTo>
                    <a:pt x="20896" y="11298"/>
                  </a:lnTo>
                  <a:lnTo>
                    <a:pt x="20827" y="10785"/>
                  </a:lnTo>
                  <a:lnTo>
                    <a:pt x="21181" y="10602"/>
                  </a:lnTo>
                  <a:lnTo>
                    <a:pt x="22334" y="10967"/>
                  </a:lnTo>
                  <a:lnTo>
                    <a:pt x="22562" y="10876"/>
                  </a:lnTo>
                  <a:lnTo>
                    <a:pt x="23794" y="10899"/>
                  </a:lnTo>
                  <a:lnTo>
                    <a:pt x="24901" y="10990"/>
                  </a:lnTo>
                  <a:lnTo>
                    <a:pt x="25369" y="11298"/>
                  </a:lnTo>
                  <a:lnTo>
                    <a:pt x="25872" y="11424"/>
                  </a:lnTo>
                  <a:lnTo>
                    <a:pt x="25632" y="10933"/>
                  </a:lnTo>
                  <a:lnTo>
                    <a:pt x="26043" y="10705"/>
                  </a:lnTo>
                  <a:lnTo>
                    <a:pt x="24799" y="9176"/>
                  </a:lnTo>
                  <a:lnTo>
                    <a:pt x="26088" y="8833"/>
                  </a:lnTo>
                  <a:lnTo>
                    <a:pt x="26374" y="8628"/>
                  </a:lnTo>
                  <a:lnTo>
                    <a:pt x="26225" y="7053"/>
                  </a:lnTo>
                  <a:lnTo>
                    <a:pt x="27755" y="7338"/>
                  </a:lnTo>
                  <a:lnTo>
                    <a:pt x="27983" y="6939"/>
                  </a:lnTo>
                  <a:lnTo>
                    <a:pt x="27629" y="6049"/>
                  </a:lnTo>
                  <a:lnTo>
                    <a:pt x="28165" y="5969"/>
                  </a:lnTo>
                  <a:lnTo>
                    <a:pt x="28428" y="5364"/>
                  </a:lnTo>
                  <a:lnTo>
                    <a:pt x="27812" y="4828"/>
                  </a:lnTo>
                  <a:lnTo>
                    <a:pt x="26956" y="4953"/>
                  </a:lnTo>
                  <a:lnTo>
                    <a:pt x="26488" y="4577"/>
                  </a:lnTo>
                  <a:lnTo>
                    <a:pt x="25929" y="4405"/>
                  </a:lnTo>
                  <a:lnTo>
                    <a:pt x="25347" y="3892"/>
                  </a:lnTo>
                  <a:lnTo>
                    <a:pt x="24890" y="3743"/>
                  </a:lnTo>
                  <a:lnTo>
                    <a:pt x="24000" y="3972"/>
                  </a:lnTo>
                  <a:lnTo>
                    <a:pt x="22824" y="3458"/>
                  </a:lnTo>
                  <a:lnTo>
                    <a:pt x="22665" y="3926"/>
                  </a:lnTo>
                  <a:lnTo>
                    <a:pt x="20086" y="1712"/>
                  </a:lnTo>
                  <a:lnTo>
                    <a:pt x="18899" y="1039"/>
                  </a:lnTo>
                  <a:lnTo>
                    <a:pt x="19013" y="776"/>
                  </a:lnTo>
                  <a:lnTo>
                    <a:pt x="17712" y="1587"/>
                  </a:lnTo>
                  <a:lnTo>
                    <a:pt x="17084" y="1644"/>
                  </a:lnTo>
                  <a:lnTo>
                    <a:pt x="16913" y="1176"/>
                  </a:lnTo>
                  <a:lnTo>
                    <a:pt x="15920" y="868"/>
                  </a:lnTo>
                  <a:lnTo>
                    <a:pt x="15304" y="108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11" name="Google Shape;282;p29">
              <a:extLst>
                <a:ext uri="{FF2B5EF4-FFF2-40B4-BE49-F238E27FC236}">
                  <a16:creationId xmlns:a16="http://schemas.microsoft.com/office/drawing/2014/main" id="{03601F97-B848-46EE-90BF-DD9303B4AD87}"/>
                </a:ext>
              </a:extLst>
            </p:cNvPr>
            <p:cNvSpPr/>
            <p:nvPr/>
          </p:nvSpPr>
          <p:spPr>
            <a:xfrm>
              <a:off x="4400700" y="2987150"/>
              <a:ext cx="158675" cy="231125"/>
            </a:xfrm>
            <a:custGeom>
              <a:avLst/>
              <a:gdLst/>
              <a:ahLst/>
              <a:cxnLst/>
              <a:rect l="l" t="t" r="r" b="b"/>
              <a:pathLst>
                <a:path w="6347" h="9245" extrusionOk="0">
                  <a:moveTo>
                    <a:pt x="6346" y="1438"/>
                  </a:moveTo>
                  <a:lnTo>
                    <a:pt x="5810" y="1438"/>
                  </a:lnTo>
                  <a:lnTo>
                    <a:pt x="5479" y="1142"/>
                  </a:lnTo>
                  <a:lnTo>
                    <a:pt x="4748" y="1507"/>
                  </a:lnTo>
                  <a:lnTo>
                    <a:pt x="4520" y="1895"/>
                  </a:lnTo>
                  <a:lnTo>
                    <a:pt x="3984" y="1826"/>
                  </a:lnTo>
                  <a:lnTo>
                    <a:pt x="3813" y="1724"/>
                  </a:lnTo>
                  <a:lnTo>
                    <a:pt x="3630" y="1735"/>
                  </a:lnTo>
                  <a:lnTo>
                    <a:pt x="3368" y="1735"/>
                  </a:lnTo>
                  <a:lnTo>
                    <a:pt x="2340" y="970"/>
                  </a:lnTo>
                  <a:lnTo>
                    <a:pt x="1781" y="970"/>
                  </a:lnTo>
                  <a:lnTo>
                    <a:pt x="1496" y="674"/>
                  </a:lnTo>
                  <a:lnTo>
                    <a:pt x="1496" y="160"/>
                  </a:lnTo>
                  <a:lnTo>
                    <a:pt x="1085" y="0"/>
                  </a:lnTo>
                  <a:lnTo>
                    <a:pt x="549" y="594"/>
                  </a:lnTo>
                  <a:lnTo>
                    <a:pt x="58" y="1142"/>
                  </a:lnTo>
                  <a:lnTo>
                    <a:pt x="446" y="1769"/>
                  </a:lnTo>
                  <a:lnTo>
                    <a:pt x="549" y="2226"/>
                  </a:lnTo>
                  <a:lnTo>
                    <a:pt x="914" y="3264"/>
                  </a:lnTo>
                  <a:lnTo>
                    <a:pt x="617" y="3938"/>
                  </a:lnTo>
                  <a:lnTo>
                    <a:pt x="229" y="4531"/>
                  </a:lnTo>
                  <a:lnTo>
                    <a:pt x="1" y="4908"/>
                  </a:lnTo>
                  <a:lnTo>
                    <a:pt x="1" y="4953"/>
                  </a:lnTo>
                  <a:lnTo>
                    <a:pt x="206" y="5296"/>
                  </a:lnTo>
                  <a:lnTo>
                    <a:pt x="149" y="5957"/>
                  </a:lnTo>
                  <a:lnTo>
                    <a:pt x="3025" y="7818"/>
                  </a:lnTo>
                  <a:lnTo>
                    <a:pt x="3082" y="8343"/>
                  </a:lnTo>
                  <a:lnTo>
                    <a:pt x="4223" y="9244"/>
                  </a:lnTo>
                  <a:lnTo>
                    <a:pt x="4543" y="8947"/>
                  </a:lnTo>
                  <a:lnTo>
                    <a:pt x="4714" y="8343"/>
                  </a:lnTo>
                  <a:lnTo>
                    <a:pt x="4965" y="7977"/>
                  </a:lnTo>
                  <a:lnTo>
                    <a:pt x="5091" y="7327"/>
                  </a:lnTo>
                  <a:lnTo>
                    <a:pt x="5399" y="7270"/>
                  </a:lnTo>
                  <a:lnTo>
                    <a:pt x="5593" y="6893"/>
                  </a:lnTo>
                  <a:lnTo>
                    <a:pt x="6164" y="6528"/>
                  </a:lnTo>
                  <a:lnTo>
                    <a:pt x="5696" y="5775"/>
                  </a:lnTo>
                  <a:lnTo>
                    <a:pt x="5661" y="246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12" name="Google Shape;283;p29">
              <a:extLst>
                <a:ext uri="{FF2B5EF4-FFF2-40B4-BE49-F238E27FC236}">
                  <a16:creationId xmlns:a16="http://schemas.microsoft.com/office/drawing/2014/main" id="{3707F716-9C61-41DD-B438-921FC17EC20D}"/>
                </a:ext>
              </a:extLst>
            </p:cNvPr>
            <p:cNvSpPr/>
            <p:nvPr/>
          </p:nvSpPr>
          <p:spPr>
            <a:xfrm>
              <a:off x="5005550" y="2130100"/>
              <a:ext cx="179775" cy="89325"/>
            </a:xfrm>
            <a:custGeom>
              <a:avLst/>
              <a:gdLst/>
              <a:ahLst/>
              <a:cxnLst/>
              <a:rect l="l" t="t" r="r" b="b"/>
              <a:pathLst>
                <a:path w="7191" h="3573" extrusionOk="0">
                  <a:moveTo>
                    <a:pt x="7191" y="833"/>
                  </a:moveTo>
                  <a:lnTo>
                    <a:pt x="6688" y="696"/>
                  </a:lnTo>
                  <a:lnTo>
                    <a:pt x="6220" y="388"/>
                  </a:lnTo>
                  <a:lnTo>
                    <a:pt x="5113" y="297"/>
                  </a:lnTo>
                  <a:lnTo>
                    <a:pt x="3881" y="274"/>
                  </a:lnTo>
                  <a:lnTo>
                    <a:pt x="3653" y="377"/>
                  </a:lnTo>
                  <a:lnTo>
                    <a:pt x="2500" y="0"/>
                  </a:lnTo>
                  <a:lnTo>
                    <a:pt x="2146" y="183"/>
                  </a:lnTo>
                  <a:lnTo>
                    <a:pt x="2215" y="696"/>
                  </a:lnTo>
                  <a:lnTo>
                    <a:pt x="914" y="400"/>
                  </a:lnTo>
                  <a:lnTo>
                    <a:pt x="469" y="514"/>
                  </a:lnTo>
                  <a:lnTo>
                    <a:pt x="434" y="902"/>
                  </a:lnTo>
                  <a:lnTo>
                    <a:pt x="686" y="982"/>
                  </a:lnTo>
                  <a:lnTo>
                    <a:pt x="240" y="1575"/>
                  </a:lnTo>
                  <a:lnTo>
                    <a:pt x="902" y="1895"/>
                  </a:lnTo>
                  <a:lnTo>
                    <a:pt x="1359" y="1666"/>
                  </a:lnTo>
                  <a:lnTo>
                    <a:pt x="2375" y="2146"/>
                  </a:lnTo>
                  <a:lnTo>
                    <a:pt x="1633" y="2785"/>
                  </a:lnTo>
                  <a:lnTo>
                    <a:pt x="1039" y="2693"/>
                  </a:lnTo>
                  <a:lnTo>
                    <a:pt x="845" y="2979"/>
                  </a:lnTo>
                  <a:lnTo>
                    <a:pt x="1" y="2830"/>
                  </a:lnTo>
                  <a:lnTo>
                    <a:pt x="92" y="3355"/>
                  </a:lnTo>
                  <a:lnTo>
                    <a:pt x="857" y="3287"/>
                  </a:lnTo>
                  <a:lnTo>
                    <a:pt x="1872" y="3572"/>
                  </a:lnTo>
                  <a:lnTo>
                    <a:pt x="3230" y="3435"/>
                  </a:lnTo>
                  <a:lnTo>
                    <a:pt x="3367" y="3230"/>
                  </a:lnTo>
                  <a:lnTo>
                    <a:pt x="3208" y="3013"/>
                  </a:lnTo>
                  <a:lnTo>
                    <a:pt x="3778" y="2579"/>
                  </a:lnTo>
                  <a:lnTo>
                    <a:pt x="4235" y="2408"/>
                  </a:lnTo>
                  <a:lnTo>
                    <a:pt x="5056" y="2545"/>
                  </a:lnTo>
                  <a:lnTo>
                    <a:pt x="5136" y="1974"/>
                  </a:lnTo>
                  <a:lnTo>
                    <a:pt x="6049" y="1860"/>
                  </a:lnTo>
                  <a:lnTo>
                    <a:pt x="6198" y="1518"/>
                  </a:lnTo>
                  <a:lnTo>
                    <a:pt x="7168" y="1027"/>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13" name="Google Shape;284;p29">
              <a:extLst>
                <a:ext uri="{FF2B5EF4-FFF2-40B4-BE49-F238E27FC236}">
                  <a16:creationId xmlns:a16="http://schemas.microsoft.com/office/drawing/2014/main" id="{7B38BB65-0236-426C-909F-BC553A730376}"/>
                </a:ext>
              </a:extLst>
            </p:cNvPr>
            <p:cNvSpPr/>
            <p:nvPr/>
          </p:nvSpPr>
          <p:spPr>
            <a:xfrm>
              <a:off x="5756200" y="2781725"/>
              <a:ext cx="105000" cy="92475"/>
            </a:xfrm>
            <a:custGeom>
              <a:avLst/>
              <a:gdLst/>
              <a:ahLst/>
              <a:cxnLst/>
              <a:rect l="l" t="t" r="r" b="b"/>
              <a:pathLst>
                <a:path w="4200" h="3699" extrusionOk="0">
                  <a:moveTo>
                    <a:pt x="3926" y="332"/>
                  </a:moveTo>
                  <a:lnTo>
                    <a:pt x="3184" y="1"/>
                  </a:lnTo>
                  <a:lnTo>
                    <a:pt x="2899" y="617"/>
                  </a:lnTo>
                  <a:lnTo>
                    <a:pt x="2203" y="274"/>
                  </a:lnTo>
                  <a:lnTo>
                    <a:pt x="1450" y="126"/>
                  </a:lnTo>
                  <a:lnTo>
                    <a:pt x="434" y="309"/>
                  </a:lnTo>
                  <a:lnTo>
                    <a:pt x="0" y="1050"/>
                  </a:lnTo>
                  <a:lnTo>
                    <a:pt x="308" y="2157"/>
                  </a:lnTo>
                  <a:lnTo>
                    <a:pt x="788" y="3093"/>
                  </a:lnTo>
                  <a:lnTo>
                    <a:pt x="1164" y="3561"/>
                  </a:lnTo>
                  <a:lnTo>
                    <a:pt x="1826" y="3698"/>
                  </a:lnTo>
                  <a:lnTo>
                    <a:pt x="2500" y="3333"/>
                  </a:lnTo>
                  <a:lnTo>
                    <a:pt x="3333" y="3264"/>
                  </a:lnTo>
                  <a:lnTo>
                    <a:pt x="2933" y="2728"/>
                  </a:lnTo>
                  <a:lnTo>
                    <a:pt x="4200" y="2021"/>
                  </a:lnTo>
                  <a:lnTo>
                    <a:pt x="4189" y="92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14" name="Google Shape;285;p29">
              <a:extLst>
                <a:ext uri="{FF2B5EF4-FFF2-40B4-BE49-F238E27FC236}">
                  <a16:creationId xmlns:a16="http://schemas.microsoft.com/office/drawing/2014/main" id="{E6EA07FB-A98F-4697-A226-34D0A3838CCB}"/>
                </a:ext>
              </a:extLst>
            </p:cNvPr>
            <p:cNvSpPr/>
            <p:nvPr/>
          </p:nvSpPr>
          <p:spPr>
            <a:xfrm>
              <a:off x="6077175" y="2234525"/>
              <a:ext cx="84175" cy="97575"/>
            </a:xfrm>
            <a:custGeom>
              <a:avLst/>
              <a:gdLst/>
              <a:ahLst/>
              <a:cxnLst/>
              <a:rect l="l" t="t" r="r" b="b"/>
              <a:pathLst>
                <a:path w="3367" h="3903" extrusionOk="0">
                  <a:moveTo>
                    <a:pt x="0" y="799"/>
                  </a:moveTo>
                  <a:lnTo>
                    <a:pt x="890" y="1586"/>
                  </a:lnTo>
                  <a:lnTo>
                    <a:pt x="399" y="1746"/>
                  </a:lnTo>
                  <a:lnTo>
                    <a:pt x="1141" y="2716"/>
                  </a:lnTo>
                  <a:lnTo>
                    <a:pt x="1301" y="3401"/>
                  </a:lnTo>
                  <a:lnTo>
                    <a:pt x="1598" y="3903"/>
                  </a:lnTo>
                  <a:lnTo>
                    <a:pt x="2237" y="3823"/>
                  </a:lnTo>
                  <a:lnTo>
                    <a:pt x="2693" y="3446"/>
                  </a:lnTo>
                  <a:lnTo>
                    <a:pt x="3298" y="3275"/>
                  </a:lnTo>
                  <a:lnTo>
                    <a:pt x="3367" y="2762"/>
                  </a:lnTo>
                  <a:lnTo>
                    <a:pt x="2887" y="1689"/>
                  </a:lnTo>
                  <a:lnTo>
                    <a:pt x="2408" y="1084"/>
                  </a:lnTo>
                  <a:lnTo>
                    <a:pt x="1244" y="0"/>
                  </a:lnTo>
                  <a:lnTo>
                    <a:pt x="1255" y="228"/>
                  </a:lnTo>
                  <a:lnTo>
                    <a:pt x="959" y="285"/>
                  </a:lnTo>
                  <a:lnTo>
                    <a:pt x="457" y="331"/>
                  </a:lnTo>
                  <a:lnTo>
                    <a:pt x="354" y="742"/>
                  </a:lnTo>
                  <a:lnTo>
                    <a:pt x="11" y="719"/>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15" name="Google Shape;286;p29">
              <a:extLst>
                <a:ext uri="{FF2B5EF4-FFF2-40B4-BE49-F238E27FC236}">
                  <a16:creationId xmlns:a16="http://schemas.microsoft.com/office/drawing/2014/main" id="{173092DC-F2B1-40F4-934A-0B3948624C71}"/>
                </a:ext>
              </a:extLst>
            </p:cNvPr>
            <p:cNvSpPr/>
            <p:nvPr/>
          </p:nvSpPr>
          <p:spPr>
            <a:xfrm>
              <a:off x="4620100" y="2429950"/>
              <a:ext cx="37125" cy="35125"/>
            </a:xfrm>
            <a:custGeom>
              <a:avLst/>
              <a:gdLst/>
              <a:ahLst/>
              <a:cxnLst/>
              <a:rect l="l" t="t" r="r" b="b"/>
              <a:pathLst>
                <a:path w="1485" h="1405" extrusionOk="0">
                  <a:moveTo>
                    <a:pt x="982" y="80"/>
                  </a:moveTo>
                  <a:lnTo>
                    <a:pt x="457" y="0"/>
                  </a:lnTo>
                  <a:lnTo>
                    <a:pt x="1" y="879"/>
                  </a:lnTo>
                  <a:lnTo>
                    <a:pt x="697" y="959"/>
                  </a:lnTo>
                  <a:lnTo>
                    <a:pt x="937" y="1404"/>
                  </a:lnTo>
                  <a:lnTo>
                    <a:pt x="1485" y="1370"/>
                  </a:lnTo>
                  <a:lnTo>
                    <a:pt x="1142" y="685"/>
                  </a:lnTo>
                  <a:lnTo>
                    <a:pt x="1176" y="48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16" name="Google Shape;287;p29">
              <a:extLst>
                <a:ext uri="{FF2B5EF4-FFF2-40B4-BE49-F238E27FC236}">
                  <a16:creationId xmlns:a16="http://schemas.microsoft.com/office/drawing/2014/main" id="{986CF969-BB99-467D-948A-419534678A27}"/>
                </a:ext>
              </a:extLst>
            </p:cNvPr>
            <p:cNvSpPr/>
            <p:nvPr/>
          </p:nvSpPr>
          <p:spPr>
            <a:xfrm>
              <a:off x="5691150" y="2602275"/>
              <a:ext cx="164075" cy="194600"/>
            </a:xfrm>
            <a:custGeom>
              <a:avLst/>
              <a:gdLst/>
              <a:ahLst/>
              <a:cxnLst/>
              <a:rect l="l" t="t" r="r" b="b"/>
              <a:pathLst>
                <a:path w="6563" h="7784" extrusionOk="0">
                  <a:moveTo>
                    <a:pt x="6528" y="7510"/>
                  </a:moveTo>
                  <a:lnTo>
                    <a:pt x="6562" y="6597"/>
                  </a:lnTo>
                  <a:lnTo>
                    <a:pt x="6277" y="5946"/>
                  </a:lnTo>
                  <a:lnTo>
                    <a:pt x="5592" y="5318"/>
                  </a:lnTo>
                  <a:lnTo>
                    <a:pt x="4976" y="4520"/>
                  </a:lnTo>
                  <a:lnTo>
                    <a:pt x="4166" y="3458"/>
                  </a:lnTo>
                  <a:lnTo>
                    <a:pt x="3116" y="2910"/>
                  </a:lnTo>
                  <a:lnTo>
                    <a:pt x="3310" y="2579"/>
                  </a:lnTo>
                  <a:lnTo>
                    <a:pt x="3778" y="2340"/>
                  </a:lnTo>
                  <a:lnTo>
                    <a:pt x="3344" y="1552"/>
                  </a:lnTo>
                  <a:lnTo>
                    <a:pt x="2374" y="1541"/>
                  </a:lnTo>
                  <a:lnTo>
                    <a:pt x="1895" y="731"/>
                  </a:lnTo>
                  <a:lnTo>
                    <a:pt x="1324" y="0"/>
                  </a:lnTo>
                  <a:lnTo>
                    <a:pt x="936" y="149"/>
                  </a:lnTo>
                  <a:lnTo>
                    <a:pt x="1210" y="1176"/>
                  </a:lnTo>
                  <a:lnTo>
                    <a:pt x="799" y="1153"/>
                  </a:lnTo>
                  <a:lnTo>
                    <a:pt x="696" y="936"/>
                  </a:lnTo>
                  <a:lnTo>
                    <a:pt x="114" y="1530"/>
                  </a:lnTo>
                  <a:lnTo>
                    <a:pt x="0" y="1872"/>
                  </a:lnTo>
                  <a:lnTo>
                    <a:pt x="366" y="2134"/>
                  </a:lnTo>
                  <a:lnTo>
                    <a:pt x="491" y="2682"/>
                  </a:lnTo>
                  <a:lnTo>
                    <a:pt x="1039" y="2728"/>
                  </a:lnTo>
                  <a:lnTo>
                    <a:pt x="982" y="3675"/>
                  </a:lnTo>
                  <a:lnTo>
                    <a:pt x="1119" y="4497"/>
                  </a:lnTo>
                  <a:lnTo>
                    <a:pt x="1872" y="3949"/>
                  </a:lnTo>
                  <a:lnTo>
                    <a:pt x="2134" y="4120"/>
                  </a:lnTo>
                  <a:lnTo>
                    <a:pt x="2591" y="4097"/>
                  </a:lnTo>
                  <a:lnTo>
                    <a:pt x="2705" y="3778"/>
                  </a:lnTo>
                  <a:lnTo>
                    <a:pt x="3321" y="3835"/>
                  </a:lnTo>
                  <a:lnTo>
                    <a:pt x="4017" y="4577"/>
                  </a:lnTo>
                  <a:lnTo>
                    <a:pt x="4200" y="5478"/>
                  </a:lnTo>
                  <a:lnTo>
                    <a:pt x="4942" y="6266"/>
                  </a:lnTo>
                  <a:lnTo>
                    <a:pt x="5010" y="7030"/>
                  </a:lnTo>
                  <a:lnTo>
                    <a:pt x="4805" y="7441"/>
                  </a:lnTo>
                  <a:lnTo>
                    <a:pt x="5501" y="7783"/>
                  </a:lnTo>
                  <a:lnTo>
                    <a:pt x="5786" y="7179"/>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17" name="Google Shape;288;p29">
              <a:extLst>
                <a:ext uri="{FF2B5EF4-FFF2-40B4-BE49-F238E27FC236}">
                  <a16:creationId xmlns:a16="http://schemas.microsoft.com/office/drawing/2014/main" id="{0817E752-CB79-4172-B678-591F969A9105}"/>
                </a:ext>
              </a:extLst>
            </p:cNvPr>
            <p:cNvSpPr/>
            <p:nvPr/>
          </p:nvSpPr>
          <p:spPr>
            <a:xfrm>
              <a:off x="4390150" y="2326375"/>
              <a:ext cx="25125" cy="35125"/>
            </a:xfrm>
            <a:custGeom>
              <a:avLst/>
              <a:gdLst/>
              <a:ahLst/>
              <a:cxnLst/>
              <a:rect l="l" t="t" r="r" b="b"/>
              <a:pathLst>
                <a:path w="1005" h="1405" extrusionOk="0">
                  <a:moveTo>
                    <a:pt x="514" y="1233"/>
                  </a:moveTo>
                  <a:lnTo>
                    <a:pt x="640" y="743"/>
                  </a:lnTo>
                  <a:lnTo>
                    <a:pt x="1005" y="400"/>
                  </a:lnTo>
                  <a:lnTo>
                    <a:pt x="834" y="35"/>
                  </a:lnTo>
                  <a:lnTo>
                    <a:pt x="491" y="1"/>
                  </a:lnTo>
                  <a:lnTo>
                    <a:pt x="480" y="24"/>
                  </a:lnTo>
                  <a:lnTo>
                    <a:pt x="183" y="663"/>
                  </a:lnTo>
                  <a:lnTo>
                    <a:pt x="1" y="1404"/>
                  </a:lnTo>
                  <a:lnTo>
                    <a:pt x="252" y="1404"/>
                  </a:lnTo>
                  <a:lnTo>
                    <a:pt x="309" y="1256"/>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18" name="Google Shape;289;p29">
              <a:extLst>
                <a:ext uri="{FF2B5EF4-FFF2-40B4-BE49-F238E27FC236}">
                  <a16:creationId xmlns:a16="http://schemas.microsoft.com/office/drawing/2014/main" id="{8B00B7E5-6B56-4452-AED8-D99E36AD57B8}"/>
                </a:ext>
              </a:extLst>
            </p:cNvPr>
            <p:cNvSpPr/>
            <p:nvPr/>
          </p:nvSpPr>
          <p:spPr>
            <a:xfrm>
              <a:off x="3492575" y="2918100"/>
              <a:ext cx="77925" cy="95325"/>
            </a:xfrm>
            <a:custGeom>
              <a:avLst/>
              <a:gdLst/>
              <a:ahLst/>
              <a:cxnLst/>
              <a:rect l="l" t="t" r="r" b="b"/>
              <a:pathLst>
                <a:path w="3117" h="3813" extrusionOk="0">
                  <a:moveTo>
                    <a:pt x="2409" y="788"/>
                  </a:moveTo>
                  <a:lnTo>
                    <a:pt x="2181" y="765"/>
                  </a:lnTo>
                  <a:lnTo>
                    <a:pt x="2021" y="1130"/>
                  </a:lnTo>
                  <a:lnTo>
                    <a:pt x="1793" y="1119"/>
                  </a:lnTo>
                  <a:lnTo>
                    <a:pt x="1633" y="936"/>
                  </a:lnTo>
                  <a:lnTo>
                    <a:pt x="1690" y="560"/>
                  </a:lnTo>
                  <a:lnTo>
                    <a:pt x="1359" y="1"/>
                  </a:lnTo>
                  <a:lnTo>
                    <a:pt x="1142" y="103"/>
                  </a:lnTo>
                  <a:lnTo>
                    <a:pt x="971" y="138"/>
                  </a:lnTo>
                  <a:lnTo>
                    <a:pt x="606" y="560"/>
                  </a:lnTo>
                  <a:lnTo>
                    <a:pt x="229" y="1051"/>
                  </a:lnTo>
                  <a:lnTo>
                    <a:pt x="195" y="1324"/>
                  </a:lnTo>
                  <a:lnTo>
                    <a:pt x="1" y="1610"/>
                  </a:lnTo>
                  <a:lnTo>
                    <a:pt x="537" y="2192"/>
                  </a:lnTo>
                  <a:lnTo>
                    <a:pt x="1222" y="2694"/>
                  </a:lnTo>
                  <a:lnTo>
                    <a:pt x="1952" y="3379"/>
                  </a:lnTo>
                  <a:lnTo>
                    <a:pt x="2763" y="3812"/>
                  </a:lnTo>
                  <a:lnTo>
                    <a:pt x="2980" y="3801"/>
                  </a:lnTo>
                  <a:lnTo>
                    <a:pt x="3048" y="3059"/>
                  </a:lnTo>
                  <a:lnTo>
                    <a:pt x="3116" y="2945"/>
                  </a:lnTo>
                  <a:lnTo>
                    <a:pt x="3094" y="2591"/>
                  </a:lnTo>
                  <a:lnTo>
                    <a:pt x="2763" y="2203"/>
                  </a:lnTo>
                  <a:lnTo>
                    <a:pt x="2500" y="2146"/>
                  </a:lnTo>
                  <a:lnTo>
                    <a:pt x="2272" y="1895"/>
                  </a:lnTo>
                  <a:lnTo>
                    <a:pt x="2443" y="1496"/>
                  </a:lnTo>
                  <a:lnTo>
                    <a:pt x="2363" y="105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19" name="Google Shape;290;p29">
              <a:extLst>
                <a:ext uri="{FF2B5EF4-FFF2-40B4-BE49-F238E27FC236}">
                  <a16:creationId xmlns:a16="http://schemas.microsoft.com/office/drawing/2014/main" id="{26436FF5-0C5A-49B7-983E-E89FC4591C94}"/>
                </a:ext>
              </a:extLst>
            </p:cNvPr>
            <p:cNvSpPr/>
            <p:nvPr/>
          </p:nvSpPr>
          <p:spPr>
            <a:xfrm>
              <a:off x="3902575" y="2360625"/>
              <a:ext cx="311000" cy="307300"/>
            </a:xfrm>
            <a:custGeom>
              <a:avLst/>
              <a:gdLst/>
              <a:ahLst/>
              <a:cxnLst/>
              <a:rect l="l" t="t" r="r" b="b"/>
              <a:pathLst>
                <a:path w="12440" h="12292" extrusionOk="0">
                  <a:moveTo>
                    <a:pt x="12029" y="1427"/>
                  </a:moveTo>
                  <a:lnTo>
                    <a:pt x="11812" y="1119"/>
                  </a:lnTo>
                  <a:lnTo>
                    <a:pt x="11036" y="1004"/>
                  </a:lnTo>
                  <a:lnTo>
                    <a:pt x="10785" y="845"/>
                  </a:lnTo>
                  <a:lnTo>
                    <a:pt x="10499" y="845"/>
                  </a:lnTo>
                  <a:lnTo>
                    <a:pt x="10214" y="445"/>
                  </a:lnTo>
                  <a:lnTo>
                    <a:pt x="9176" y="263"/>
                  </a:lnTo>
                  <a:lnTo>
                    <a:pt x="8662" y="377"/>
                  </a:lnTo>
                  <a:lnTo>
                    <a:pt x="8126" y="810"/>
                  </a:lnTo>
                  <a:lnTo>
                    <a:pt x="7920" y="1244"/>
                  </a:lnTo>
                  <a:lnTo>
                    <a:pt x="8126" y="1929"/>
                  </a:lnTo>
                  <a:lnTo>
                    <a:pt x="7783" y="2363"/>
                  </a:lnTo>
                  <a:lnTo>
                    <a:pt x="7430" y="2591"/>
                  </a:lnTo>
                  <a:lnTo>
                    <a:pt x="6585" y="2146"/>
                  </a:lnTo>
                  <a:lnTo>
                    <a:pt x="5490" y="1758"/>
                  </a:lnTo>
                  <a:lnTo>
                    <a:pt x="4793" y="1598"/>
                  </a:lnTo>
                  <a:lnTo>
                    <a:pt x="4394" y="776"/>
                  </a:lnTo>
                  <a:lnTo>
                    <a:pt x="3367" y="377"/>
                  </a:lnTo>
                  <a:lnTo>
                    <a:pt x="2716" y="217"/>
                  </a:lnTo>
                  <a:lnTo>
                    <a:pt x="2408" y="308"/>
                  </a:lnTo>
                  <a:lnTo>
                    <a:pt x="1495" y="0"/>
                  </a:lnTo>
                  <a:lnTo>
                    <a:pt x="1484" y="696"/>
                  </a:lnTo>
                  <a:lnTo>
                    <a:pt x="1107" y="947"/>
                  </a:lnTo>
                  <a:lnTo>
                    <a:pt x="890" y="1233"/>
                  </a:lnTo>
                  <a:lnTo>
                    <a:pt x="365" y="1598"/>
                  </a:lnTo>
                  <a:lnTo>
                    <a:pt x="468" y="1963"/>
                  </a:lnTo>
                  <a:lnTo>
                    <a:pt x="411" y="2351"/>
                  </a:lnTo>
                  <a:lnTo>
                    <a:pt x="35" y="2545"/>
                  </a:lnTo>
                  <a:lnTo>
                    <a:pt x="308" y="3344"/>
                  </a:lnTo>
                  <a:lnTo>
                    <a:pt x="365" y="3778"/>
                  </a:lnTo>
                  <a:lnTo>
                    <a:pt x="240" y="4519"/>
                  </a:lnTo>
                  <a:lnTo>
                    <a:pt x="308" y="4930"/>
                  </a:lnTo>
                  <a:lnTo>
                    <a:pt x="229" y="5432"/>
                  </a:lnTo>
                  <a:lnTo>
                    <a:pt x="297" y="6003"/>
                  </a:lnTo>
                  <a:lnTo>
                    <a:pt x="0" y="6368"/>
                  </a:lnTo>
                  <a:lnTo>
                    <a:pt x="480" y="7042"/>
                  </a:lnTo>
                  <a:lnTo>
                    <a:pt x="514" y="7430"/>
                  </a:lnTo>
                  <a:lnTo>
                    <a:pt x="799" y="7943"/>
                  </a:lnTo>
                  <a:lnTo>
                    <a:pt x="1164" y="7772"/>
                  </a:lnTo>
                  <a:lnTo>
                    <a:pt x="1781" y="8183"/>
                  </a:lnTo>
                  <a:lnTo>
                    <a:pt x="2134" y="8753"/>
                  </a:lnTo>
                  <a:lnTo>
                    <a:pt x="3390" y="9153"/>
                  </a:lnTo>
                  <a:lnTo>
                    <a:pt x="3835" y="9655"/>
                  </a:lnTo>
                  <a:lnTo>
                    <a:pt x="4394" y="9313"/>
                  </a:lnTo>
                  <a:lnTo>
                    <a:pt x="5159" y="8810"/>
                  </a:lnTo>
                  <a:lnTo>
                    <a:pt x="8343" y="10556"/>
                  </a:lnTo>
                  <a:lnTo>
                    <a:pt x="11538" y="12291"/>
                  </a:lnTo>
                  <a:lnTo>
                    <a:pt x="11538" y="11903"/>
                  </a:lnTo>
                  <a:lnTo>
                    <a:pt x="12440" y="11903"/>
                  </a:lnTo>
                  <a:lnTo>
                    <a:pt x="12371" y="10100"/>
                  </a:lnTo>
                  <a:lnTo>
                    <a:pt x="12223" y="6756"/>
                  </a:lnTo>
                  <a:lnTo>
                    <a:pt x="12040" y="3515"/>
                  </a:lnTo>
                  <a:lnTo>
                    <a:pt x="11755" y="2796"/>
                  </a:lnTo>
                  <a:lnTo>
                    <a:pt x="11926" y="2237"/>
                  </a:lnTo>
                  <a:lnTo>
                    <a:pt x="11766" y="1849"/>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20" name="Google Shape;291;p29">
              <a:extLst>
                <a:ext uri="{FF2B5EF4-FFF2-40B4-BE49-F238E27FC236}">
                  <a16:creationId xmlns:a16="http://schemas.microsoft.com/office/drawing/2014/main" id="{7F5E5314-7DBD-4AFA-89E6-C629C404C4EB}"/>
                </a:ext>
              </a:extLst>
            </p:cNvPr>
            <p:cNvSpPr/>
            <p:nvPr/>
          </p:nvSpPr>
          <p:spPr>
            <a:xfrm>
              <a:off x="5313675" y="2889275"/>
              <a:ext cx="42550" cy="87625"/>
            </a:xfrm>
            <a:custGeom>
              <a:avLst/>
              <a:gdLst/>
              <a:ahLst/>
              <a:cxnLst/>
              <a:rect l="l" t="t" r="r" b="b"/>
              <a:pathLst>
                <a:path w="1702" h="3505" extrusionOk="0">
                  <a:moveTo>
                    <a:pt x="1291" y="3288"/>
                  </a:moveTo>
                  <a:lnTo>
                    <a:pt x="1610" y="3025"/>
                  </a:lnTo>
                  <a:lnTo>
                    <a:pt x="1701" y="2089"/>
                  </a:lnTo>
                  <a:lnTo>
                    <a:pt x="1268" y="1142"/>
                  </a:lnTo>
                  <a:lnTo>
                    <a:pt x="857" y="503"/>
                  </a:lnTo>
                  <a:lnTo>
                    <a:pt x="275" y="1"/>
                  </a:lnTo>
                  <a:lnTo>
                    <a:pt x="1" y="1473"/>
                  </a:lnTo>
                  <a:lnTo>
                    <a:pt x="206" y="2774"/>
                  </a:lnTo>
                  <a:lnTo>
                    <a:pt x="606" y="350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21" name="Google Shape;292;p29">
              <a:extLst>
                <a:ext uri="{FF2B5EF4-FFF2-40B4-BE49-F238E27FC236}">
                  <a16:creationId xmlns:a16="http://schemas.microsoft.com/office/drawing/2014/main" id="{3C01DF50-A76F-4CCF-85C9-FC1DCA39EF5D}"/>
                </a:ext>
              </a:extLst>
            </p:cNvPr>
            <p:cNvSpPr/>
            <p:nvPr/>
          </p:nvSpPr>
          <p:spPr>
            <a:xfrm>
              <a:off x="4240950" y="3762025"/>
              <a:ext cx="45950" cy="45400"/>
            </a:xfrm>
            <a:custGeom>
              <a:avLst/>
              <a:gdLst/>
              <a:ahLst/>
              <a:cxnLst/>
              <a:rect l="l" t="t" r="r" b="b"/>
              <a:pathLst>
                <a:path w="1838" h="1816" extrusionOk="0">
                  <a:moveTo>
                    <a:pt x="810" y="1724"/>
                  </a:moveTo>
                  <a:lnTo>
                    <a:pt x="970" y="1439"/>
                  </a:lnTo>
                  <a:lnTo>
                    <a:pt x="1415" y="1302"/>
                  </a:lnTo>
                  <a:lnTo>
                    <a:pt x="1564" y="1005"/>
                  </a:lnTo>
                  <a:lnTo>
                    <a:pt x="1837" y="560"/>
                  </a:lnTo>
                  <a:lnTo>
                    <a:pt x="1598" y="286"/>
                  </a:lnTo>
                  <a:lnTo>
                    <a:pt x="1267" y="1"/>
                  </a:lnTo>
                  <a:lnTo>
                    <a:pt x="902" y="183"/>
                  </a:lnTo>
                  <a:lnTo>
                    <a:pt x="457" y="549"/>
                  </a:lnTo>
                  <a:lnTo>
                    <a:pt x="0" y="1119"/>
                  </a:lnTo>
                  <a:lnTo>
                    <a:pt x="525" y="181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22" name="Google Shape;293;p29">
              <a:extLst>
                <a:ext uri="{FF2B5EF4-FFF2-40B4-BE49-F238E27FC236}">
                  <a16:creationId xmlns:a16="http://schemas.microsoft.com/office/drawing/2014/main" id="{DA66535A-34C4-4383-83E6-43A670A8131A}"/>
                </a:ext>
              </a:extLst>
            </p:cNvPr>
            <p:cNvSpPr/>
            <p:nvPr/>
          </p:nvSpPr>
          <p:spPr>
            <a:xfrm>
              <a:off x="4070900" y="1843925"/>
              <a:ext cx="94750" cy="52825"/>
            </a:xfrm>
            <a:custGeom>
              <a:avLst/>
              <a:gdLst/>
              <a:ahLst/>
              <a:cxnLst/>
              <a:rect l="l" t="t" r="r" b="b"/>
              <a:pathLst>
                <a:path w="3790" h="2113" extrusionOk="0">
                  <a:moveTo>
                    <a:pt x="3664" y="663"/>
                  </a:moveTo>
                  <a:lnTo>
                    <a:pt x="2956" y="252"/>
                  </a:lnTo>
                  <a:lnTo>
                    <a:pt x="2591" y="195"/>
                  </a:lnTo>
                  <a:lnTo>
                    <a:pt x="2465" y="1"/>
                  </a:lnTo>
                  <a:lnTo>
                    <a:pt x="1838" y="92"/>
                  </a:lnTo>
                  <a:lnTo>
                    <a:pt x="708" y="35"/>
                  </a:lnTo>
                  <a:lnTo>
                    <a:pt x="0" y="309"/>
                  </a:lnTo>
                  <a:lnTo>
                    <a:pt x="240" y="1016"/>
                  </a:lnTo>
                  <a:lnTo>
                    <a:pt x="948" y="1176"/>
                  </a:lnTo>
                  <a:lnTo>
                    <a:pt x="1267" y="1302"/>
                  </a:lnTo>
                  <a:lnTo>
                    <a:pt x="1233" y="1541"/>
                  </a:lnTo>
                  <a:lnTo>
                    <a:pt x="1324" y="1758"/>
                  </a:lnTo>
                  <a:lnTo>
                    <a:pt x="1678" y="1850"/>
                  </a:lnTo>
                  <a:lnTo>
                    <a:pt x="1883" y="2112"/>
                  </a:lnTo>
                  <a:lnTo>
                    <a:pt x="2534" y="2112"/>
                  </a:lnTo>
                  <a:lnTo>
                    <a:pt x="3219" y="1804"/>
                  </a:lnTo>
                  <a:lnTo>
                    <a:pt x="3287" y="1313"/>
                  </a:lnTo>
                  <a:lnTo>
                    <a:pt x="3789" y="102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23" name="Google Shape;294;p29">
              <a:extLst>
                <a:ext uri="{FF2B5EF4-FFF2-40B4-BE49-F238E27FC236}">
                  <a16:creationId xmlns:a16="http://schemas.microsoft.com/office/drawing/2014/main" id="{B2AB1C12-0A27-49BE-A763-24F7D3F2932B}"/>
                </a:ext>
              </a:extLst>
            </p:cNvPr>
            <p:cNvSpPr/>
            <p:nvPr/>
          </p:nvSpPr>
          <p:spPr>
            <a:xfrm>
              <a:off x="3820400" y="1979175"/>
              <a:ext cx="9725" cy="15125"/>
            </a:xfrm>
            <a:custGeom>
              <a:avLst/>
              <a:gdLst/>
              <a:ahLst/>
              <a:cxnLst/>
              <a:rect l="l" t="t" r="r" b="b"/>
              <a:pathLst>
                <a:path w="389" h="605" extrusionOk="0">
                  <a:moveTo>
                    <a:pt x="366" y="594"/>
                  </a:moveTo>
                  <a:lnTo>
                    <a:pt x="389" y="206"/>
                  </a:lnTo>
                  <a:lnTo>
                    <a:pt x="252" y="0"/>
                  </a:lnTo>
                  <a:lnTo>
                    <a:pt x="58" y="34"/>
                  </a:lnTo>
                  <a:lnTo>
                    <a:pt x="1" y="536"/>
                  </a:lnTo>
                  <a:lnTo>
                    <a:pt x="160" y="60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24" name="Google Shape;295;p29">
              <a:extLst>
                <a:ext uri="{FF2B5EF4-FFF2-40B4-BE49-F238E27FC236}">
                  <a16:creationId xmlns:a16="http://schemas.microsoft.com/office/drawing/2014/main" id="{55EF3D4A-87BC-44EF-AC3A-21F9BC932AFA}"/>
                </a:ext>
              </a:extLst>
            </p:cNvPr>
            <p:cNvSpPr/>
            <p:nvPr/>
          </p:nvSpPr>
          <p:spPr>
            <a:xfrm>
              <a:off x="4068900" y="1810550"/>
              <a:ext cx="119275" cy="49950"/>
            </a:xfrm>
            <a:custGeom>
              <a:avLst/>
              <a:gdLst/>
              <a:ahLst/>
              <a:cxnLst/>
              <a:rect l="l" t="t" r="r" b="b"/>
              <a:pathLst>
                <a:path w="4771" h="1998" extrusionOk="0">
                  <a:moveTo>
                    <a:pt x="3983" y="411"/>
                  </a:moveTo>
                  <a:lnTo>
                    <a:pt x="3447" y="411"/>
                  </a:lnTo>
                  <a:lnTo>
                    <a:pt x="2819" y="103"/>
                  </a:lnTo>
                  <a:lnTo>
                    <a:pt x="2523" y="1"/>
                  </a:lnTo>
                  <a:lnTo>
                    <a:pt x="1986" y="149"/>
                  </a:lnTo>
                  <a:lnTo>
                    <a:pt x="1963" y="799"/>
                  </a:lnTo>
                  <a:lnTo>
                    <a:pt x="1450" y="811"/>
                  </a:lnTo>
                  <a:lnTo>
                    <a:pt x="822" y="172"/>
                  </a:lnTo>
                  <a:lnTo>
                    <a:pt x="252" y="468"/>
                  </a:lnTo>
                  <a:lnTo>
                    <a:pt x="1" y="1005"/>
                  </a:lnTo>
                  <a:lnTo>
                    <a:pt x="80" y="1644"/>
                  </a:lnTo>
                  <a:lnTo>
                    <a:pt x="788" y="1370"/>
                  </a:lnTo>
                  <a:lnTo>
                    <a:pt x="1918" y="1427"/>
                  </a:lnTo>
                  <a:lnTo>
                    <a:pt x="2545" y="1347"/>
                  </a:lnTo>
                  <a:lnTo>
                    <a:pt x="2671" y="1530"/>
                  </a:lnTo>
                  <a:lnTo>
                    <a:pt x="3036" y="1587"/>
                  </a:lnTo>
                  <a:lnTo>
                    <a:pt x="3744" y="1998"/>
                  </a:lnTo>
                  <a:lnTo>
                    <a:pt x="4120" y="1861"/>
                  </a:lnTo>
                  <a:lnTo>
                    <a:pt x="4771" y="1530"/>
                  </a:lnTo>
                  <a:lnTo>
                    <a:pt x="4474" y="1016"/>
                  </a:lnTo>
                  <a:lnTo>
                    <a:pt x="4326" y="617"/>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25" name="Google Shape;296;p29">
              <a:extLst>
                <a:ext uri="{FF2B5EF4-FFF2-40B4-BE49-F238E27FC236}">
                  <a16:creationId xmlns:a16="http://schemas.microsoft.com/office/drawing/2014/main" id="{08C7D65F-9383-4CFA-8337-F43EAF9CDEB8}"/>
                </a:ext>
              </a:extLst>
            </p:cNvPr>
            <p:cNvSpPr/>
            <p:nvPr/>
          </p:nvSpPr>
          <p:spPr>
            <a:xfrm>
              <a:off x="3387025" y="2300700"/>
              <a:ext cx="313000" cy="325550"/>
            </a:xfrm>
            <a:custGeom>
              <a:avLst/>
              <a:gdLst/>
              <a:ahLst/>
              <a:cxnLst/>
              <a:rect l="l" t="t" r="r" b="b"/>
              <a:pathLst>
                <a:path w="12520" h="13022" extrusionOk="0">
                  <a:moveTo>
                    <a:pt x="11732" y="537"/>
                  </a:moveTo>
                  <a:lnTo>
                    <a:pt x="11401" y="526"/>
                  </a:lnTo>
                  <a:lnTo>
                    <a:pt x="10625" y="320"/>
                  </a:lnTo>
                  <a:lnTo>
                    <a:pt x="9906" y="377"/>
                  </a:lnTo>
                  <a:lnTo>
                    <a:pt x="9461" y="1"/>
                  </a:lnTo>
                  <a:lnTo>
                    <a:pt x="8913" y="1"/>
                  </a:lnTo>
                  <a:lnTo>
                    <a:pt x="8651" y="548"/>
                  </a:lnTo>
                  <a:lnTo>
                    <a:pt x="8126" y="1507"/>
                  </a:lnTo>
                  <a:lnTo>
                    <a:pt x="7555" y="1872"/>
                  </a:lnTo>
                  <a:lnTo>
                    <a:pt x="6779" y="2294"/>
                  </a:lnTo>
                  <a:lnTo>
                    <a:pt x="6289" y="2899"/>
                  </a:lnTo>
                  <a:lnTo>
                    <a:pt x="6152" y="3390"/>
                  </a:lnTo>
                  <a:lnTo>
                    <a:pt x="5855" y="4155"/>
                  </a:lnTo>
                  <a:lnTo>
                    <a:pt x="6015" y="5284"/>
                  </a:lnTo>
                  <a:lnTo>
                    <a:pt x="5341" y="6038"/>
                  </a:lnTo>
                  <a:lnTo>
                    <a:pt x="4953" y="6289"/>
                  </a:lnTo>
                  <a:lnTo>
                    <a:pt x="4326" y="6916"/>
                  </a:lnTo>
                  <a:lnTo>
                    <a:pt x="3607" y="7008"/>
                  </a:lnTo>
                  <a:lnTo>
                    <a:pt x="3207" y="7350"/>
                  </a:lnTo>
                  <a:lnTo>
                    <a:pt x="3184" y="7373"/>
                  </a:lnTo>
                  <a:lnTo>
                    <a:pt x="2671" y="8297"/>
                  </a:lnTo>
                  <a:lnTo>
                    <a:pt x="2146" y="8628"/>
                  </a:lnTo>
                  <a:lnTo>
                    <a:pt x="1849" y="9199"/>
                  </a:lnTo>
                  <a:lnTo>
                    <a:pt x="1815" y="9667"/>
                  </a:lnTo>
                  <a:lnTo>
                    <a:pt x="1587" y="10203"/>
                  </a:lnTo>
                  <a:lnTo>
                    <a:pt x="1324" y="10351"/>
                  </a:lnTo>
                  <a:lnTo>
                    <a:pt x="879" y="10922"/>
                  </a:lnTo>
                  <a:lnTo>
                    <a:pt x="594" y="11561"/>
                  </a:lnTo>
                  <a:lnTo>
                    <a:pt x="628" y="11881"/>
                  </a:lnTo>
                  <a:lnTo>
                    <a:pt x="366" y="12349"/>
                  </a:lnTo>
                  <a:lnTo>
                    <a:pt x="46" y="12588"/>
                  </a:lnTo>
                  <a:lnTo>
                    <a:pt x="0" y="13022"/>
                  </a:lnTo>
                  <a:lnTo>
                    <a:pt x="23" y="13022"/>
                  </a:lnTo>
                  <a:lnTo>
                    <a:pt x="1792" y="12942"/>
                  </a:lnTo>
                  <a:lnTo>
                    <a:pt x="1895" y="12623"/>
                  </a:lnTo>
                  <a:lnTo>
                    <a:pt x="2214" y="12200"/>
                  </a:lnTo>
                  <a:lnTo>
                    <a:pt x="2500" y="10945"/>
                  </a:lnTo>
                  <a:lnTo>
                    <a:pt x="3618" y="9975"/>
                  </a:lnTo>
                  <a:lnTo>
                    <a:pt x="4018" y="8822"/>
                  </a:lnTo>
                  <a:lnTo>
                    <a:pt x="4257" y="8765"/>
                  </a:lnTo>
                  <a:lnTo>
                    <a:pt x="4531" y="8058"/>
                  </a:lnTo>
                  <a:lnTo>
                    <a:pt x="5182" y="7955"/>
                  </a:lnTo>
                  <a:lnTo>
                    <a:pt x="5455" y="8080"/>
                  </a:lnTo>
                  <a:lnTo>
                    <a:pt x="5809" y="8080"/>
                  </a:lnTo>
                  <a:lnTo>
                    <a:pt x="6072" y="7864"/>
                  </a:lnTo>
                  <a:lnTo>
                    <a:pt x="6551" y="7841"/>
                  </a:lnTo>
                  <a:lnTo>
                    <a:pt x="6540" y="7350"/>
                  </a:lnTo>
                  <a:lnTo>
                    <a:pt x="6540" y="7350"/>
                  </a:lnTo>
                  <a:lnTo>
                    <a:pt x="6654" y="7350"/>
                  </a:lnTo>
                  <a:lnTo>
                    <a:pt x="6665" y="6289"/>
                  </a:lnTo>
                  <a:lnTo>
                    <a:pt x="7932" y="5615"/>
                  </a:lnTo>
                  <a:lnTo>
                    <a:pt x="8708" y="5467"/>
                  </a:lnTo>
                  <a:lnTo>
                    <a:pt x="9336" y="5227"/>
                  </a:lnTo>
                  <a:lnTo>
                    <a:pt x="9632" y="4771"/>
                  </a:lnTo>
                  <a:lnTo>
                    <a:pt x="10534" y="4417"/>
                  </a:lnTo>
                  <a:lnTo>
                    <a:pt x="10580" y="3744"/>
                  </a:lnTo>
                  <a:lnTo>
                    <a:pt x="11013" y="3675"/>
                  </a:lnTo>
                  <a:lnTo>
                    <a:pt x="11378" y="3333"/>
                  </a:lnTo>
                  <a:lnTo>
                    <a:pt x="12371" y="3185"/>
                  </a:lnTo>
                  <a:lnTo>
                    <a:pt x="12520" y="2831"/>
                  </a:lnTo>
                  <a:lnTo>
                    <a:pt x="12314" y="2637"/>
                  </a:lnTo>
                  <a:lnTo>
                    <a:pt x="12063" y="1678"/>
                  </a:lnTo>
                  <a:lnTo>
                    <a:pt x="12017" y="1119"/>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26" name="Google Shape;297;p29">
              <a:extLst>
                <a:ext uri="{FF2B5EF4-FFF2-40B4-BE49-F238E27FC236}">
                  <a16:creationId xmlns:a16="http://schemas.microsoft.com/office/drawing/2014/main" id="{0348EC98-801C-4F6F-9A5D-E7FBBF8D4863}"/>
                </a:ext>
              </a:extLst>
            </p:cNvPr>
            <p:cNvSpPr/>
            <p:nvPr/>
          </p:nvSpPr>
          <p:spPr>
            <a:xfrm>
              <a:off x="4189875" y="2015975"/>
              <a:ext cx="65925" cy="65925"/>
            </a:xfrm>
            <a:custGeom>
              <a:avLst/>
              <a:gdLst/>
              <a:ahLst/>
              <a:cxnLst/>
              <a:rect l="l" t="t" r="r" b="b"/>
              <a:pathLst>
                <a:path w="2637" h="2637" extrusionOk="0">
                  <a:moveTo>
                    <a:pt x="1484" y="2637"/>
                  </a:moveTo>
                  <a:lnTo>
                    <a:pt x="1655" y="2545"/>
                  </a:lnTo>
                  <a:lnTo>
                    <a:pt x="1735" y="2237"/>
                  </a:lnTo>
                  <a:lnTo>
                    <a:pt x="1883" y="1952"/>
                  </a:lnTo>
                  <a:lnTo>
                    <a:pt x="1815" y="1792"/>
                  </a:lnTo>
                  <a:lnTo>
                    <a:pt x="1963" y="1724"/>
                  </a:lnTo>
                  <a:lnTo>
                    <a:pt x="2043" y="1849"/>
                  </a:lnTo>
                  <a:lnTo>
                    <a:pt x="2465" y="1883"/>
                  </a:lnTo>
                  <a:lnTo>
                    <a:pt x="2637" y="1815"/>
                  </a:lnTo>
                  <a:lnTo>
                    <a:pt x="2500" y="1724"/>
                  </a:lnTo>
                  <a:lnTo>
                    <a:pt x="2534" y="1587"/>
                  </a:lnTo>
                  <a:lnTo>
                    <a:pt x="2249" y="1370"/>
                  </a:lnTo>
                  <a:lnTo>
                    <a:pt x="2089" y="993"/>
                  </a:lnTo>
                  <a:lnTo>
                    <a:pt x="1815" y="845"/>
                  </a:lnTo>
                  <a:lnTo>
                    <a:pt x="1815" y="537"/>
                  </a:lnTo>
                  <a:lnTo>
                    <a:pt x="1461" y="308"/>
                  </a:lnTo>
                  <a:lnTo>
                    <a:pt x="1176" y="274"/>
                  </a:lnTo>
                  <a:lnTo>
                    <a:pt x="617" y="0"/>
                  </a:lnTo>
                  <a:lnTo>
                    <a:pt x="160" y="80"/>
                  </a:lnTo>
                  <a:lnTo>
                    <a:pt x="0" y="217"/>
                  </a:lnTo>
                  <a:lnTo>
                    <a:pt x="229" y="297"/>
                  </a:lnTo>
                  <a:lnTo>
                    <a:pt x="491" y="571"/>
                  </a:lnTo>
                  <a:lnTo>
                    <a:pt x="754" y="936"/>
                  </a:lnTo>
                  <a:lnTo>
                    <a:pt x="1244" y="1472"/>
                  </a:lnTo>
                  <a:lnTo>
                    <a:pt x="1324" y="1849"/>
                  </a:lnTo>
                  <a:lnTo>
                    <a:pt x="1301" y="2237"/>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27" name="Google Shape;298;p29">
              <a:extLst>
                <a:ext uri="{FF2B5EF4-FFF2-40B4-BE49-F238E27FC236}">
                  <a16:creationId xmlns:a16="http://schemas.microsoft.com/office/drawing/2014/main" id="{774BECD4-3DE6-4BDA-A511-E2DF261768D6}"/>
                </a:ext>
              </a:extLst>
            </p:cNvPr>
            <p:cNvSpPr/>
            <p:nvPr/>
          </p:nvSpPr>
          <p:spPr>
            <a:xfrm>
              <a:off x="4569600" y="3385425"/>
              <a:ext cx="153250" cy="307875"/>
            </a:xfrm>
            <a:custGeom>
              <a:avLst/>
              <a:gdLst/>
              <a:ahLst/>
              <a:cxnLst/>
              <a:rect l="l" t="t" r="r" b="b"/>
              <a:pathLst>
                <a:path w="6130" h="12315" extrusionOk="0">
                  <a:moveTo>
                    <a:pt x="5867" y="1370"/>
                  </a:moveTo>
                  <a:lnTo>
                    <a:pt x="5718" y="765"/>
                  </a:lnTo>
                  <a:lnTo>
                    <a:pt x="5513" y="389"/>
                  </a:lnTo>
                  <a:lnTo>
                    <a:pt x="5262" y="1"/>
                  </a:lnTo>
                  <a:lnTo>
                    <a:pt x="4977" y="400"/>
                  </a:lnTo>
                  <a:lnTo>
                    <a:pt x="4931" y="937"/>
                  </a:lnTo>
                  <a:lnTo>
                    <a:pt x="4463" y="1587"/>
                  </a:lnTo>
                  <a:lnTo>
                    <a:pt x="4132" y="1473"/>
                  </a:lnTo>
                  <a:lnTo>
                    <a:pt x="4212" y="1850"/>
                  </a:lnTo>
                  <a:lnTo>
                    <a:pt x="3961" y="2306"/>
                  </a:lnTo>
                  <a:lnTo>
                    <a:pt x="3276" y="2865"/>
                  </a:lnTo>
                  <a:lnTo>
                    <a:pt x="2786" y="3390"/>
                  </a:lnTo>
                  <a:lnTo>
                    <a:pt x="2443" y="3390"/>
                  </a:lnTo>
                  <a:lnTo>
                    <a:pt x="2135" y="3573"/>
                  </a:lnTo>
                  <a:lnTo>
                    <a:pt x="1690" y="3755"/>
                  </a:lnTo>
                  <a:lnTo>
                    <a:pt x="1291" y="3778"/>
                  </a:lnTo>
                  <a:lnTo>
                    <a:pt x="1154" y="4372"/>
                  </a:lnTo>
                  <a:lnTo>
                    <a:pt x="834" y="4862"/>
                  </a:lnTo>
                  <a:lnTo>
                    <a:pt x="845" y="5707"/>
                  </a:lnTo>
                  <a:lnTo>
                    <a:pt x="960" y="6277"/>
                  </a:lnTo>
                  <a:lnTo>
                    <a:pt x="1119" y="6711"/>
                  </a:lnTo>
                  <a:lnTo>
                    <a:pt x="1005" y="7293"/>
                  </a:lnTo>
                  <a:lnTo>
                    <a:pt x="594" y="7978"/>
                  </a:lnTo>
                  <a:lnTo>
                    <a:pt x="560" y="8275"/>
                  </a:lnTo>
                  <a:lnTo>
                    <a:pt x="195" y="8434"/>
                  </a:lnTo>
                  <a:lnTo>
                    <a:pt x="1" y="9085"/>
                  </a:lnTo>
                  <a:lnTo>
                    <a:pt x="35" y="9747"/>
                  </a:lnTo>
                  <a:lnTo>
                    <a:pt x="263" y="10454"/>
                  </a:lnTo>
                  <a:lnTo>
                    <a:pt x="252" y="11276"/>
                  </a:lnTo>
                  <a:lnTo>
                    <a:pt x="423" y="11744"/>
                  </a:lnTo>
                  <a:lnTo>
                    <a:pt x="1017" y="12075"/>
                  </a:lnTo>
                  <a:lnTo>
                    <a:pt x="1450" y="12314"/>
                  </a:lnTo>
                  <a:lnTo>
                    <a:pt x="2158" y="11926"/>
                  </a:lnTo>
                  <a:lnTo>
                    <a:pt x="2820" y="11710"/>
                  </a:lnTo>
                  <a:lnTo>
                    <a:pt x="3253" y="10660"/>
                  </a:lnTo>
                  <a:lnTo>
                    <a:pt x="3653" y="9393"/>
                  </a:lnTo>
                  <a:lnTo>
                    <a:pt x="4269" y="7681"/>
                  </a:lnTo>
                  <a:lnTo>
                    <a:pt x="4737" y="6426"/>
                  </a:lnTo>
                  <a:lnTo>
                    <a:pt x="5125" y="5364"/>
                  </a:lnTo>
                  <a:lnTo>
                    <a:pt x="5239" y="4600"/>
                  </a:lnTo>
                  <a:lnTo>
                    <a:pt x="5467" y="4383"/>
                  </a:lnTo>
                  <a:lnTo>
                    <a:pt x="5570" y="3995"/>
                  </a:lnTo>
                  <a:lnTo>
                    <a:pt x="5456" y="3322"/>
                  </a:lnTo>
                  <a:lnTo>
                    <a:pt x="5627" y="3059"/>
                  </a:lnTo>
                  <a:lnTo>
                    <a:pt x="5855" y="3596"/>
                  </a:lnTo>
                  <a:lnTo>
                    <a:pt x="6015" y="3322"/>
                  </a:lnTo>
                  <a:lnTo>
                    <a:pt x="6129" y="2888"/>
                  </a:lnTo>
                  <a:lnTo>
                    <a:pt x="5935" y="2466"/>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28" name="Google Shape;299;p29">
              <a:extLst>
                <a:ext uri="{FF2B5EF4-FFF2-40B4-BE49-F238E27FC236}">
                  <a16:creationId xmlns:a16="http://schemas.microsoft.com/office/drawing/2014/main" id="{5BBF8447-EE40-4768-9A9D-018A3E2F78EC}"/>
                </a:ext>
              </a:extLst>
            </p:cNvPr>
            <p:cNvSpPr/>
            <p:nvPr/>
          </p:nvSpPr>
          <p:spPr>
            <a:xfrm>
              <a:off x="1486900" y="2369750"/>
              <a:ext cx="529250" cy="412575"/>
            </a:xfrm>
            <a:custGeom>
              <a:avLst/>
              <a:gdLst/>
              <a:ahLst/>
              <a:cxnLst/>
              <a:rect l="l" t="t" r="r" b="b"/>
              <a:pathLst>
                <a:path w="21170" h="16503" extrusionOk="0">
                  <a:moveTo>
                    <a:pt x="13444" y="6254"/>
                  </a:moveTo>
                  <a:lnTo>
                    <a:pt x="12930" y="6049"/>
                  </a:lnTo>
                  <a:lnTo>
                    <a:pt x="12371" y="5764"/>
                  </a:lnTo>
                  <a:lnTo>
                    <a:pt x="12257" y="5341"/>
                  </a:lnTo>
                  <a:lnTo>
                    <a:pt x="12234" y="4691"/>
                  </a:lnTo>
                  <a:lnTo>
                    <a:pt x="11892" y="4177"/>
                  </a:lnTo>
                  <a:lnTo>
                    <a:pt x="11743" y="3652"/>
                  </a:lnTo>
                  <a:lnTo>
                    <a:pt x="11515" y="3025"/>
                  </a:lnTo>
                  <a:lnTo>
                    <a:pt x="11070" y="2671"/>
                  </a:lnTo>
                  <a:lnTo>
                    <a:pt x="10454" y="2682"/>
                  </a:lnTo>
                  <a:lnTo>
                    <a:pt x="9769" y="3401"/>
                  </a:lnTo>
                  <a:lnTo>
                    <a:pt x="9198" y="3127"/>
                  </a:lnTo>
                  <a:lnTo>
                    <a:pt x="8879" y="2853"/>
                  </a:lnTo>
                  <a:lnTo>
                    <a:pt x="8822" y="2351"/>
                  </a:lnTo>
                  <a:lnTo>
                    <a:pt x="8708" y="1883"/>
                  </a:lnTo>
                  <a:lnTo>
                    <a:pt x="8365" y="1484"/>
                  </a:lnTo>
                  <a:lnTo>
                    <a:pt x="8069" y="1199"/>
                  </a:lnTo>
                  <a:lnTo>
                    <a:pt x="7886" y="891"/>
                  </a:lnTo>
                  <a:lnTo>
                    <a:pt x="6551" y="891"/>
                  </a:lnTo>
                  <a:lnTo>
                    <a:pt x="6437" y="1256"/>
                  </a:lnTo>
                  <a:lnTo>
                    <a:pt x="5820" y="1256"/>
                  </a:lnTo>
                  <a:lnTo>
                    <a:pt x="4303" y="1256"/>
                  </a:lnTo>
                  <a:lnTo>
                    <a:pt x="2773" y="628"/>
                  </a:lnTo>
                  <a:lnTo>
                    <a:pt x="1758" y="183"/>
                  </a:lnTo>
                  <a:lnTo>
                    <a:pt x="1906" y="0"/>
                  </a:lnTo>
                  <a:lnTo>
                    <a:pt x="902" y="103"/>
                  </a:lnTo>
                  <a:lnTo>
                    <a:pt x="0" y="172"/>
                  </a:lnTo>
                  <a:lnTo>
                    <a:pt x="34" y="982"/>
                  </a:lnTo>
                  <a:lnTo>
                    <a:pt x="137" y="1712"/>
                  </a:lnTo>
                  <a:lnTo>
                    <a:pt x="228" y="2294"/>
                  </a:lnTo>
                  <a:lnTo>
                    <a:pt x="343" y="2865"/>
                  </a:lnTo>
                  <a:lnTo>
                    <a:pt x="719" y="3127"/>
                  </a:lnTo>
                  <a:lnTo>
                    <a:pt x="1130" y="3766"/>
                  </a:lnTo>
                  <a:lnTo>
                    <a:pt x="993" y="4177"/>
                  </a:lnTo>
                  <a:lnTo>
                    <a:pt x="605" y="4508"/>
                  </a:lnTo>
                  <a:lnTo>
                    <a:pt x="308" y="4463"/>
                  </a:lnTo>
                  <a:lnTo>
                    <a:pt x="217" y="4542"/>
                  </a:lnTo>
                  <a:lnTo>
                    <a:pt x="548" y="5067"/>
                  </a:lnTo>
                  <a:lnTo>
                    <a:pt x="959" y="5284"/>
                  </a:lnTo>
                  <a:lnTo>
                    <a:pt x="1107" y="5524"/>
                  </a:lnTo>
                  <a:lnTo>
                    <a:pt x="1233" y="5398"/>
                  </a:lnTo>
                  <a:lnTo>
                    <a:pt x="1678" y="5809"/>
                  </a:lnTo>
                  <a:lnTo>
                    <a:pt x="1974" y="6094"/>
                  </a:lnTo>
                  <a:lnTo>
                    <a:pt x="1986" y="6574"/>
                  </a:lnTo>
                  <a:lnTo>
                    <a:pt x="1815" y="7247"/>
                  </a:lnTo>
                  <a:lnTo>
                    <a:pt x="2169" y="7475"/>
                  </a:lnTo>
                  <a:lnTo>
                    <a:pt x="2648" y="7920"/>
                  </a:lnTo>
                  <a:lnTo>
                    <a:pt x="3059" y="8434"/>
                  </a:lnTo>
                  <a:lnTo>
                    <a:pt x="3161" y="8993"/>
                  </a:lnTo>
                  <a:lnTo>
                    <a:pt x="3298" y="8993"/>
                  </a:lnTo>
                  <a:lnTo>
                    <a:pt x="3686" y="8662"/>
                  </a:lnTo>
                  <a:lnTo>
                    <a:pt x="3743" y="8491"/>
                  </a:lnTo>
                  <a:lnTo>
                    <a:pt x="3527" y="8092"/>
                  </a:lnTo>
                  <a:lnTo>
                    <a:pt x="3298" y="7681"/>
                  </a:lnTo>
                  <a:lnTo>
                    <a:pt x="2933" y="7647"/>
                  </a:lnTo>
                  <a:lnTo>
                    <a:pt x="2990" y="7167"/>
                  </a:lnTo>
                  <a:lnTo>
                    <a:pt x="2853" y="6734"/>
                  </a:lnTo>
                  <a:lnTo>
                    <a:pt x="2716" y="6334"/>
                  </a:lnTo>
                  <a:lnTo>
                    <a:pt x="2648" y="5490"/>
                  </a:lnTo>
                  <a:lnTo>
                    <a:pt x="2271" y="5033"/>
                  </a:lnTo>
                  <a:lnTo>
                    <a:pt x="2191" y="4714"/>
                  </a:lnTo>
                  <a:lnTo>
                    <a:pt x="2020" y="4485"/>
                  </a:lnTo>
                  <a:lnTo>
                    <a:pt x="2020" y="3892"/>
                  </a:lnTo>
                  <a:lnTo>
                    <a:pt x="1872" y="3915"/>
                  </a:lnTo>
                  <a:lnTo>
                    <a:pt x="1860" y="3595"/>
                  </a:lnTo>
                  <a:lnTo>
                    <a:pt x="1758" y="3527"/>
                  </a:lnTo>
                  <a:lnTo>
                    <a:pt x="1701" y="3321"/>
                  </a:lnTo>
                  <a:lnTo>
                    <a:pt x="1313" y="2694"/>
                  </a:lnTo>
                  <a:lnTo>
                    <a:pt x="1164" y="2328"/>
                  </a:lnTo>
                  <a:lnTo>
                    <a:pt x="1301" y="1644"/>
                  </a:lnTo>
                  <a:lnTo>
                    <a:pt x="1313" y="1210"/>
                  </a:lnTo>
                  <a:lnTo>
                    <a:pt x="1575" y="845"/>
                  </a:lnTo>
                  <a:lnTo>
                    <a:pt x="1917" y="1085"/>
                  </a:lnTo>
                  <a:lnTo>
                    <a:pt x="2191" y="1062"/>
                  </a:lnTo>
                  <a:lnTo>
                    <a:pt x="2625" y="1416"/>
                  </a:lnTo>
                  <a:lnTo>
                    <a:pt x="2499" y="1758"/>
                  </a:lnTo>
                  <a:lnTo>
                    <a:pt x="2557" y="2454"/>
                  </a:lnTo>
                  <a:lnTo>
                    <a:pt x="2773" y="3127"/>
                  </a:lnTo>
                  <a:lnTo>
                    <a:pt x="2716" y="3413"/>
                  </a:lnTo>
                  <a:lnTo>
                    <a:pt x="2956" y="3858"/>
                  </a:lnTo>
                  <a:lnTo>
                    <a:pt x="3287" y="4337"/>
                  </a:lnTo>
                  <a:lnTo>
                    <a:pt x="3675" y="4405"/>
                  </a:lnTo>
                  <a:lnTo>
                    <a:pt x="3709" y="5033"/>
                  </a:lnTo>
                  <a:lnTo>
                    <a:pt x="4052" y="5478"/>
                  </a:lnTo>
                  <a:lnTo>
                    <a:pt x="4417" y="5695"/>
                  </a:lnTo>
                  <a:lnTo>
                    <a:pt x="4154" y="6266"/>
                  </a:lnTo>
                  <a:lnTo>
                    <a:pt x="4257" y="6483"/>
                  </a:lnTo>
                  <a:lnTo>
                    <a:pt x="4839" y="6848"/>
                  </a:lnTo>
                  <a:lnTo>
                    <a:pt x="5113" y="7418"/>
                  </a:lnTo>
                  <a:lnTo>
                    <a:pt x="5752" y="8114"/>
                  </a:lnTo>
                  <a:lnTo>
                    <a:pt x="6300" y="9027"/>
                  </a:lnTo>
                  <a:lnTo>
                    <a:pt x="6482" y="9484"/>
                  </a:lnTo>
                  <a:lnTo>
                    <a:pt x="6482" y="9849"/>
                  </a:lnTo>
                  <a:lnTo>
                    <a:pt x="6676" y="10260"/>
                  </a:lnTo>
                  <a:lnTo>
                    <a:pt x="6642" y="10568"/>
                  </a:lnTo>
                  <a:lnTo>
                    <a:pt x="6414" y="10796"/>
                  </a:lnTo>
                  <a:lnTo>
                    <a:pt x="6448" y="11059"/>
                  </a:lnTo>
                  <a:lnTo>
                    <a:pt x="6186" y="11161"/>
                  </a:lnTo>
                  <a:lnTo>
                    <a:pt x="6300" y="11595"/>
                  </a:lnTo>
                  <a:lnTo>
                    <a:pt x="6608" y="12166"/>
                  </a:lnTo>
                  <a:lnTo>
                    <a:pt x="7361" y="12679"/>
                  </a:lnTo>
                  <a:lnTo>
                    <a:pt x="7635" y="13102"/>
                  </a:lnTo>
                  <a:lnTo>
                    <a:pt x="8411" y="13387"/>
                  </a:lnTo>
                  <a:lnTo>
                    <a:pt x="8833" y="13444"/>
                  </a:lnTo>
                  <a:lnTo>
                    <a:pt x="9004" y="13684"/>
                  </a:lnTo>
                  <a:lnTo>
                    <a:pt x="9609" y="14106"/>
                  </a:lnTo>
                  <a:lnTo>
                    <a:pt x="10442" y="14540"/>
                  </a:lnTo>
                  <a:lnTo>
                    <a:pt x="11013" y="14665"/>
                  </a:lnTo>
                  <a:lnTo>
                    <a:pt x="11698" y="15076"/>
                  </a:lnTo>
                  <a:lnTo>
                    <a:pt x="12268" y="15247"/>
                  </a:lnTo>
                  <a:lnTo>
                    <a:pt x="12805" y="15498"/>
                  </a:lnTo>
                  <a:lnTo>
                    <a:pt x="13216" y="15395"/>
                  </a:lnTo>
                  <a:lnTo>
                    <a:pt x="13900" y="15053"/>
                  </a:lnTo>
                  <a:lnTo>
                    <a:pt x="14345" y="14996"/>
                  </a:lnTo>
                  <a:lnTo>
                    <a:pt x="14973" y="15224"/>
                  </a:lnTo>
                  <a:lnTo>
                    <a:pt x="15338" y="15521"/>
                  </a:lnTo>
                  <a:lnTo>
                    <a:pt x="16126" y="16502"/>
                  </a:lnTo>
                  <a:lnTo>
                    <a:pt x="16183" y="16240"/>
                  </a:lnTo>
                  <a:lnTo>
                    <a:pt x="16297" y="16023"/>
                  </a:lnTo>
                  <a:lnTo>
                    <a:pt x="16194" y="15852"/>
                  </a:lnTo>
                  <a:lnTo>
                    <a:pt x="16662" y="15110"/>
                  </a:lnTo>
                  <a:lnTo>
                    <a:pt x="17678" y="15110"/>
                  </a:lnTo>
                  <a:lnTo>
                    <a:pt x="17735" y="14813"/>
                  </a:lnTo>
                  <a:lnTo>
                    <a:pt x="17621" y="14756"/>
                  </a:lnTo>
                  <a:lnTo>
                    <a:pt x="17552" y="14551"/>
                  </a:lnTo>
                  <a:lnTo>
                    <a:pt x="17278" y="14334"/>
                  </a:lnTo>
                  <a:lnTo>
                    <a:pt x="17027" y="14037"/>
                  </a:lnTo>
                  <a:lnTo>
                    <a:pt x="17392" y="14037"/>
                  </a:lnTo>
                  <a:lnTo>
                    <a:pt x="17449" y="13524"/>
                  </a:lnTo>
                  <a:lnTo>
                    <a:pt x="18191" y="13524"/>
                  </a:lnTo>
                  <a:lnTo>
                    <a:pt x="18922" y="13535"/>
                  </a:lnTo>
                  <a:lnTo>
                    <a:pt x="18933" y="13398"/>
                  </a:lnTo>
                  <a:lnTo>
                    <a:pt x="19036" y="13353"/>
                  </a:lnTo>
                  <a:lnTo>
                    <a:pt x="19161" y="13467"/>
                  </a:lnTo>
                  <a:lnTo>
                    <a:pt x="19515" y="12908"/>
                  </a:lnTo>
                  <a:lnTo>
                    <a:pt x="19663" y="12908"/>
                  </a:lnTo>
                  <a:lnTo>
                    <a:pt x="19835" y="12896"/>
                  </a:lnTo>
                  <a:lnTo>
                    <a:pt x="20006" y="13124"/>
                  </a:lnTo>
                  <a:lnTo>
                    <a:pt x="20291" y="12417"/>
                  </a:lnTo>
                  <a:lnTo>
                    <a:pt x="20462" y="12029"/>
                  </a:lnTo>
                  <a:lnTo>
                    <a:pt x="20337" y="11869"/>
                  </a:lnTo>
                  <a:lnTo>
                    <a:pt x="20588" y="11310"/>
                  </a:lnTo>
                  <a:lnTo>
                    <a:pt x="21090" y="10773"/>
                  </a:lnTo>
                  <a:lnTo>
                    <a:pt x="21170" y="10328"/>
                  </a:lnTo>
                  <a:lnTo>
                    <a:pt x="20999" y="10146"/>
                  </a:lnTo>
                  <a:lnTo>
                    <a:pt x="20519" y="10214"/>
                  </a:lnTo>
                  <a:lnTo>
                    <a:pt x="19835" y="10191"/>
                  </a:lnTo>
                  <a:lnTo>
                    <a:pt x="18979" y="10397"/>
                  </a:lnTo>
                  <a:lnTo>
                    <a:pt x="18408" y="10648"/>
                  </a:lnTo>
                  <a:lnTo>
                    <a:pt x="18237" y="10899"/>
                  </a:lnTo>
                  <a:lnTo>
                    <a:pt x="18066" y="11675"/>
                  </a:lnTo>
                  <a:lnTo>
                    <a:pt x="17803" y="12200"/>
                  </a:lnTo>
                  <a:lnTo>
                    <a:pt x="17255" y="12565"/>
                  </a:lnTo>
                  <a:lnTo>
                    <a:pt x="16742" y="12725"/>
                  </a:lnTo>
                  <a:lnTo>
                    <a:pt x="16126" y="12885"/>
                  </a:lnTo>
                  <a:lnTo>
                    <a:pt x="15509" y="12965"/>
                  </a:lnTo>
                  <a:lnTo>
                    <a:pt x="14779" y="13227"/>
                  </a:lnTo>
                  <a:lnTo>
                    <a:pt x="14517" y="12851"/>
                  </a:lnTo>
                  <a:lnTo>
                    <a:pt x="13718" y="12611"/>
                  </a:lnTo>
                  <a:lnTo>
                    <a:pt x="13455" y="12154"/>
                  </a:lnTo>
                  <a:lnTo>
                    <a:pt x="13352" y="11641"/>
                  </a:lnTo>
                  <a:lnTo>
                    <a:pt x="12930" y="10967"/>
                  </a:lnTo>
                  <a:lnTo>
                    <a:pt x="12873" y="10260"/>
                  </a:lnTo>
                  <a:lnTo>
                    <a:pt x="12702" y="9815"/>
                  </a:lnTo>
                  <a:lnTo>
                    <a:pt x="12633" y="9336"/>
                  </a:lnTo>
                  <a:lnTo>
                    <a:pt x="12782" y="8890"/>
                  </a:lnTo>
                  <a:lnTo>
                    <a:pt x="13044" y="7658"/>
                  </a:lnTo>
                  <a:lnTo>
                    <a:pt x="13295" y="7019"/>
                  </a:lnTo>
                  <a:lnTo>
                    <a:pt x="13740" y="622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29" name="Google Shape;300;p29">
              <a:extLst>
                <a:ext uri="{FF2B5EF4-FFF2-40B4-BE49-F238E27FC236}">
                  <a16:creationId xmlns:a16="http://schemas.microsoft.com/office/drawing/2014/main" id="{0A53B739-9FE3-4DA7-9E0A-44EF1F75D581}"/>
                </a:ext>
              </a:extLst>
            </p:cNvPr>
            <p:cNvSpPr/>
            <p:nvPr/>
          </p:nvSpPr>
          <p:spPr>
            <a:xfrm>
              <a:off x="4096575" y="2151500"/>
              <a:ext cx="45950" cy="32825"/>
            </a:xfrm>
            <a:custGeom>
              <a:avLst/>
              <a:gdLst/>
              <a:ahLst/>
              <a:cxnLst/>
              <a:rect l="l" t="t" r="r" b="b"/>
              <a:pathLst>
                <a:path w="1838" h="1313" extrusionOk="0">
                  <a:moveTo>
                    <a:pt x="1724" y="285"/>
                  </a:moveTo>
                  <a:lnTo>
                    <a:pt x="1324" y="0"/>
                  </a:lnTo>
                  <a:lnTo>
                    <a:pt x="982" y="11"/>
                  </a:lnTo>
                  <a:lnTo>
                    <a:pt x="742" y="69"/>
                  </a:lnTo>
                  <a:lnTo>
                    <a:pt x="583" y="103"/>
                  </a:lnTo>
                  <a:lnTo>
                    <a:pt x="172" y="240"/>
                  </a:lnTo>
                  <a:lnTo>
                    <a:pt x="160" y="411"/>
                  </a:lnTo>
                  <a:lnTo>
                    <a:pt x="58" y="411"/>
                  </a:lnTo>
                  <a:lnTo>
                    <a:pt x="58" y="411"/>
                  </a:lnTo>
                  <a:lnTo>
                    <a:pt x="1" y="719"/>
                  </a:lnTo>
                  <a:lnTo>
                    <a:pt x="126" y="1084"/>
                  </a:lnTo>
                  <a:lnTo>
                    <a:pt x="457" y="1312"/>
                  </a:lnTo>
                  <a:lnTo>
                    <a:pt x="925" y="1233"/>
                  </a:lnTo>
                  <a:lnTo>
                    <a:pt x="1199" y="1039"/>
                  </a:lnTo>
                  <a:lnTo>
                    <a:pt x="1598" y="1061"/>
                  </a:lnTo>
                  <a:lnTo>
                    <a:pt x="1701" y="902"/>
                  </a:lnTo>
                  <a:lnTo>
                    <a:pt x="1838" y="867"/>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30" name="Google Shape;301;p29">
              <a:extLst>
                <a:ext uri="{FF2B5EF4-FFF2-40B4-BE49-F238E27FC236}">
                  <a16:creationId xmlns:a16="http://schemas.microsoft.com/office/drawing/2014/main" id="{113C57CA-1852-46E2-B72C-E11850B4B561}"/>
                </a:ext>
              </a:extLst>
            </p:cNvPr>
            <p:cNvSpPr/>
            <p:nvPr/>
          </p:nvSpPr>
          <p:spPr>
            <a:xfrm>
              <a:off x="3479450" y="2545500"/>
              <a:ext cx="326425" cy="337525"/>
            </a:xfrm>
            <a:custGeom>
              <a:avLst/>
              <a:gdLst/>
              <a:ahLst/>
              <a:cxnLst/>
              <a:rect l="l" t="t" r="r" b="b"/>
              <a:pathLst>
                <a:path w="13057" h="13501" extrusionOk="0">
                  <a:moveTo>
                    <a:pt x="13045" y="5284"/>
                  </a:moveTo>
                  <a:lnTo>
                    <a:pt x="12178" y="5364"/>
                  </a:lnTo>
                  <a:lnTo>
                    <a:pt x="12155" y="4793"/>
                  </a:lnTo>
                  <a:lnTo>
                    <a:pt x="11790" y="4645"/>
                  </a:lnTo>
                  <a:lnTo>
                    <a:pt x="11299" y="4383"/>
                  </a:lnTo>
                  <a:lnTo>
                    <a:pt x="11116" y="3960"/>
                  </a:lnTo>
                  <a:lnTo>
                    <a:pt x="8469" y="1986"/>
                  </a:lnTo>
                  <a:lnTo>
                    <a:pt x="5844" y="0"/>
                  </a:lnTo>
                  <a:lnTo>
                    <a:pt x="4646" y="23"/>
                  </a:lnTo>
                  <a:lnTo>
                    <a:pt x="4988" y="3926"/>
                  </a:lnTo>
                  <a:lnTo>
                    <a:pt x="5330" y="7852"/>
                  </a:lnTo>
                  <a:lnTo>
                    <a:pt x="5467" y="7966"/>
                  </a:lnTo>
                  <a:lnTo>
                    <a:pt x="5285" y="8594"/>
                  </a:lnTo>
                  <a:lnTo>
                    <a:pt x="2101" y="8605"/>
                  </a:lnTo>
                  <a:lnTo>
                    <a:pt x="1975" y="8810"/>
                  </a:lnTo>
                  <a:lnTo>
                    <a:pt x="1679" y="8753"/>
                  </a:lnTo>
                  <a:lnTo>
                    <a:pt x="1222" y="8936"/>
                  </a:lnTo>
                  <a:lnTo>
                    <a:pt x="674" y="8674"/>
                  </a:lnTo>
                  <a:lnTo>
                    <a:pt x="423" y="8708"/>
                  </a:lnTo>
                  <a:lnTo>
                    <a:pt x="275" y="9233"/>
                  </a:lnTo>
                  <a:lnTo>
                    <a:pt x="1" y="9404"/>
                  </a:lnTo>
                  <a:lnTo>
                    <a:pt x="35" y="9963"/>
                  </a:lnTo>
                  <a:lnTo>
                    <a:pt x="195" y="10488"/>
                  </a:lnTo>
                  <a:lnTo>
                    <a:pt x="492" y="10751"/>
                  </a:lnTo>
                  <a:lnTo>
                    <a:pt x="549" y="11082"/>
                  </a:lnTo>
                  <a:lnTo>
                    <a:pt x="503" y="11367"/>
                  </a:lnTo>
                  <a:lnTo>
                    <a:pt x="549" y="11698"/>
                  </a:lnTo>
                  <a:lnTo>
                    <a:pt x="674" y="11698"/>
                  </a:lnTo>
                  <a:lnTo>
                    <a:pt x="891" y="11584"/>
                  </a:lnTo>
                  <a:lnTo>
                    <a:pt x="1017" y="11618"/>
                  </a:lnTo>
                  <a:lnTo>
                    <a:pt x="1233" y="11846"/>
                  </a:lnTo>
                  <a:lnTo>
                    <a:pt x="1576" y="11915"/>
                  </a:lnTo>
                  <a:lnTo>
                    <a:pt x="1804" y="11721"/>
                  </a:lnTo>
                  <a:lnTo>
                    <a:pt x="2055" y="11606"/>
                  </a:lnTo>
                  <a:lnTo>
                    <a:pt x="2249" y="11470"/>
                  </a:lnTo>
                  <a:lnTo>
                    <a:pt x="2398" y="11504"/>
                  </a:lnTo>
                  <a:lnTo>
                    <a:pt x="2592" y="11698"/>
                  </a:lnTo>
                  <a:lnTo>
                    <a:pt x="2671" y="11937"/>
                  </a:lnTo>
                  <a:lnTo>
                    <a:pt x="3002" y="12325"/>
                  </a:lnTo>
                  <a:lnTo>
                    <a:pt x="2831" y="12554"/>
                  </a:lnTo>
                  <a:lnTo>
                    <a:pt x="2797" y="12862"/>
                  </a:lnTo>
                  <a:lnTo>
                    <a:pt x="2968" y="12771"/>
                  </a:lnTo>
                  <a:lnTo>
                    <a:pt x="3071" y="12873"/>
                  </a:lnTo>
                  <a:lnTo>
                    <a:pt x="3025" y="13136"/>
                  </a:lnTo>
                  <a:lnTo>
                    <a:pt x="3276" y="13398"/>
                  </a:lnTo>
                  <a:lnTo>
                    <a:pt x="3368" y="13307"/>
                  </a:lnTo>
                  <a:lnTo>
                    <a:pt x="3596" y="13455"/>
                  </a:lnTo>
                  <a:lnTo>
                    <a:pt x="4212" y="13467"/>
                  </a:lnTo>
                  <a:lnTo>
                    <a:pt x="4360" y="13193"/>
                  </a:lnTo>
                  <a:lnTo>
                    <a:pt x="4497" y="13216"/>
                  </a:lnTo>
                  <a:lnTo>
                    <a:pt x="4726" y="13113"/>
                  </a:lnTo>
                  <a:lnTo>
                    <a:pt x="4851" y="13501"/>
                  </a:lnTo>
                  <a:lnTo>
                    <a:pt x="5045" y="13387"/>
                  </a:lnTo>
                  <a:lnTo>
                    <a:pt x="5365" y="13261"/>
                  </a:lnTo>
                  <a:lnTo>
                    <a:pt x="5308" y="12725"/>
                  </a:lnTo>
                  <a:lnTo>
                    <a:pt x="5536" y="12348"/>
                  </a:lnTo>
                  <a:lnTo>
                    <a:pt x="5513" y="12029"/>
                  </a:lnTo>
                  <a:lnTo>
                    <a:pt x="6152" y="11287"/>
                  </a:lnTo>
                  <a:lnTo>
                    <a:pt x="6266" y="10659"/>
                  </a:lnTo>
                  <a:lnTo>
                    <a:pt x="6495" y="10431"/>
                  </a:lnTo>
                  <a:lnTo>
                    <a:pt x="6883" y="10557"/>
                  </a:lnTo>
                  <a:lnTo>
                    <a:pt x="7213" y="10374"/>
                  </a:lnTo>
                  <a:lnTo>
                    <a:pt x="7328" y="10146"/>
                  </a:lnTo>
                  <a:lnTo>
                    <a:pt x="7932" y="9735"/>
                  </a:lnTo>
                  <a:lnTo>
                    <a:pt x="8092" y="9450"/>
                  </a:lnTo>
                  <a:lnTo>
                    <a:pt x="8834" y="9073"/>
                  </a:lnTo>
                  <a:lnTo>
                    <a:pt x="9268" y="8947"/>
                  </a:lnTo>
                  <a:lnTo>
                    <a:pt x="9462" y="9119"/>
                  </a:lnTo>
                  <a:lnTo>
                    <a:pt x="9975" y="9119"/>
                  </a:lnTo>
                  <a:lnTo>
                    <a:pt x="10489" y="9073"/>
                  </a:lnTo>
                  <a:lnTo>
                    <a:pt x="10774" y="8765"/>
                  </a:lnTo>
                  <a:lnTo>
                    <a:pt x="11858" y="8674"/>
                  </a:lnTo>
                  <a:lnTo>
                    <a:pt x="12554" y="8537"/>
                  </a:lnTo>
                  <a:lnTo>
                    <a:pt x="12634" y="7977"/>
                  </a:lnTo>
                  <a:lnTo>
                    <a:pt x="13057" y="736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31" name="Google Shape;302;p29">
              <a:extLst>
                <a:ext uri="{FF2B5EF4-FFF2-40B4-BE49-F238E27FC236}">
                  <a16:creationId xmlns:a16="http://schemas.microsoft.com/office/drawing/2014/main" id="{2581710E-234C-4E2A-8A70-0F3DFFA8CC31}"/>
                </a:ext>
              </a:extLst>
            </p:cNvPr>
            <p:cNvSpPr/>
            <p:nvPr/>
          </p:nvSpPr>
          <p:spPr>
            <a:xfrm>
              <a:off x="5533650" y="2469325"/>
              <a:ext cx="174925" cy="417425"/>
            </a:xfrm>
            <a:custGeom>
              <a:avLst/>
              <a:gdLst/>
              <a:ahLst/>
              <a:cxnLst/>
              <a:rect l="l" t="t" r="r" b="b"/>
              <a:pathLst>
                <a:path w="6997" h="16697" extrusionOk="0">
                  <a:moveTo>
                    <a:pt x="6996" y="6266"/>
                  </a:moveTo>
                  <a:lnTo>
                    <a:pt x="6905" y="5889"/>
                  </a:lnTo>
                  <a:lnTo>
                    <a:pt x="6369" y="6151"/>
                  </a:lnTo>
                  <a:lnTo>
                    <a:pt x="6015" y="5980"/>
                  </a:lnTo>
                  <a:lnTo>
                    <a:pt x="5365" y="5638"/>
                  </a:lnTo>
                  <a:lnTo>
                    <a:pt x="5479" y="4896"/>
                  </a:lnTo>
                  <a:lnTo>
                    <a:pt x="4954" y="4702"/>
                  </a:lnTo>
                  <a:lnTo>
                    <a:pt x="4623" y="3880"/>
                  </a:lnTo>
                  <a:lnTo>
                    <a:pt x="3824" y="4017"/>
                  </a:lnTo>
                  <a:lnTo>
                    <a:pt x="3733" y="2956"/>
                  </a:lnTo>
                  <a:lnTo>
                    <a:pt x="4315" y="2191"/>
                  </a:lnTo>
                  <a:lnTo>
                    <a:pt x="4200" y="1438"/>
                  </a:lnTo>
                  <a:lnTo>
                    <a:pt x="4018" y="742"/>
                  </a:lnTo>
                  <a:lnTo>
                    <a:pt x="3630" y="525"/>
                  </a:lnTo>
                  <a:lnTo>
                    <a:pt x="3242" y="0"/>
                  </a:lnTo>
                  <a:lnTo>
                    <a:pt x="2820" y="57"/>
                  </a:lnTo>
                  <a:lnTo>
                    <a:pt x="2945" y="400"/>
                  </a:lnTo>
                  <a:lnTo>
                    <a:pt x="2717" y="571"/>
                  </a:lnTo>
                  <a:lnTo>
                    <a:pt x="2899" y="1119"/>
                  </a:lnTo>
                  <a:lnTo>
                    <a:pt x="2317" y="970"/>
                  </a:lnTo>
                  <a:lnTo>
                    <a:pt x="1450" y="1598"/>
                  </a:lnTo>
                  <a:lnTo>
                    <a:pt x="1576" y="2111"/>
                  </a:lnTo>
                  <a:lnTo>
                    <a:pt x="1279" y="2876"/>
                  </a:lnTo>
                  <a:lnTo>
                    <a:pt x="1313" y="3321"/>
                  </a:lnTo>
                  <a:lnTo>
                    <a:pt x="1108" y="4063"/>
                  </a:lnTo>
                  <a:lnTo>
                    <a:pt x="446" y="3858"/>
                  </a:lnTo>
                  <a:lnTo>
                    <a:pt x="571" y="4805"/>
                  </a:lnTo>
                  <a:lnTo>
                    <a:pt x="446" y="5101"/>
                  </a:lnTo>
                  <a:lnTo>
                    <a:pt x="571" y="5489"/>
                  </a:lnTo>
                  <a:lnTo>
                    <a:pt x="229" y="5706"/>
                  </a:lnTo>
                  <a:lnTo>
                    <a:pt x="309" y="6357"/>
                  </a:lnTo>
                  <a:lnTo>
                    <a:pt x="1" y="6220"/>
                  </a:lnTo>
                  <a:lnTo>
                    <a:pt x="161" y="6950"/>
                  </a:lnTo>
                  <a:lnTo>
                    <a:pt x="822" y="7692"/>
                  </a:lnTo>
                  <a:lnTo>
                    <a:pt x="1302" y="7818"/>
                  </a:lnTo>
                  <a:lnTo>
                    <a:pt x="1245" y="8126"/>
                  </a:lnTo>
                  <a:lnTo>
                    <a:pt x="2021" y="9187"/>
                  </a:lnTo>
                  <a:lnTo>
                    <a:pt x="2283" y="10020"/>
                  </a:lnTo>
                  <a:lnTo>
                    <a:pt x="2158" y="11150"/>
                  </a:lnTo>
                  <a:lnTo>
                    <a:pt x="2671" y="11367"/>
                  </a:lnTo>
                  <a:lnTo>
                    <a:pt x="3128" y="11447"/>
                  </a:lnTo>
                  <a:lnTo>
                    <a:pt x="3961" y="10796"/>
                  </a:lnTo>
                  <a:lnTo>
                    <a:pt x="4417" y="10351"/>
                  </a:lnTo>
                  <a:lnTo>
                    <a:pt x="4851" y="11093"/>
                  </a:lnTo>
                  <a:lnTo>
                    <a:pt x="5136" y="12246"/>
                  </a:lnTo>
                  <a:lnTo>
                    <a:pt x="5513" y="13330"/>
                  </a:lnTo>
                  <a:lnTo>
                    <a:pt x="5878" y="13809"/>
                  </a:lnTo>
                  <a:lnTo>
                    <a:pt x="5912" y="14790"/>
                  </a:lnTo>
                  <a:lnTo>
                    <a:pt x="6220" y="15327"/>
                  </a:lnTo>
                  <a:lnTo>
                    <a:pt x="6038" y="16012"/>
                  </a:lnTo>
                  <a:lnTo>
                    <a:pt x="6163" y="16696"/>
                  </a:lnTo>
                  <a:lnTo>
                    <a:pt x="6483" y="15760"/>
                  </a:lnTo>
                  <a:lnTo>
                    <a:pt x="6848" y="14916"/>
                  </a:lnTo>
                  <a:lnTo>
                    <a:pt x="6449" y="14094"/>
                  </a:lnTo>
                  <a:lnTo>
                    <a:pt x="6426" y="13661"/>
                  </a:lnTo>
                  <a:lnTo>
                    <a:pt x="6278" y="13158"/>
                  </a:lnTo>
                  <a:lnTo>
                    <a:pt x="5684" y="12440"/>
                  </a:lnTo>
                  <a:lnTo>
                    <a:pt x="5444" y="11983"/>
                  </a:lnTo>
                  <a:lnTo>
                    <a:pt x="5684" y="11823"/>
                  </a:lnTo>
                  <a:lnTo>
                    <a:pt x="5878" y="11024"/>
                  </a:lnTo>
                  <a:lnTo>
                    <a:pt x="5467" y="10420"/>
                  </a:lnTo>
                  <a:lnTo>
                    <a:pt x="4885" y="9769"/>
                  </a:lnTo>
                  <a:lnTo>
                    <a:pt x="4383" y="8970"/>
                  </a:lnTo>
                  <a:lnTo>
                    <a:pt x="4703" y="8810"/>
                  </a:lnTo>
                  <a:lnTo>
                    <a:pt x="4908" y="7829"/>
                  </a:lnTo>
                  <a:lnTo>
                    <a:pt x="5467" y="7783"/>
                  </a:lnTo>
                  <a:lnTo>
                    <a:pt x="5867" y="7384"/>
                  </a:lnTo>
                  <a:lnTo>
                    <a:pt x="6300" y="7190"/>
                  </a:lnTo>
                  <a:lnTo>
                    <a:pt x="6414" y="684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32" name="Google Shape;303;p29">
              <a:extLst>
                <a:ext uri="{FF2B5EF4-FFF2-40B4-BE49-F238E27FC236}">
                  <a16:creationId xmlns:a16="http://schemas.microsoft.com/office/drawing/2014/main" id="{CBE42C39-4CD5-48F7-B75F-4F72B959FD94}"/>
                </a:ext>
              </a:extLst>
            </p:cNvPr>
            <p:cNvSpPr/>
            <p:nvPr/>
          </p:nvSpPr>
          <p:spPr>
            <a:xfrm>
              <a:off x="4057775" y="2124950"/>
              <a:ext cx="33400" cy="36275"/>
            </a:xfrm>
            <a:custGeom>
              <a:avLst/>
              <a:gdLst/>
              <a:ahLst/>
              <a:cxnLst/>
              <a:rect l="l" t="t" r="r" b="b"/>
              <a:pathLst>
                <a:path w="1336" h="1451" extrusionOk="0">
                  <a:moveTo>
                    <a:pt x="1279" y="640"/>
                  </a:moveTo>
                  <a:lnTo>
                    <a:pt x="1336" y="549"/>
                  </a:lnTo>
                  <a:lnTo>
                    <a:pt x="1050" y="377"/>
                  </a:lnTo>
                  <a:lnTo>
                    <a:pt x="799" y="275"/>
                  </a:lnTo>
                  <a:lnTo>
                    <a:pt x="685" y="161"/>
                  </a:lnTo>
                  <a:lnTo>
                    <a:pt x="468" y="1"/>
                  </a:lnTo>
                  <a:lnTo>
                    <a:pt x="343" y="92"/>
                  </a:lnTo>
                  <a:lnTo>
                    <a:pt x="126" y="286"/>
                  </a:lnTo>
                  <a:lnTo>
                    <a:pt x="69" y="777"/>
                  </a:lnTo>
                  <a:lnTo>
                    <a:pt x="1" y="914"/>
                  </a:lnTo>
                  <a:lnTo>
                    <a:pt x="1" y="914"/>
                  </a:lnTo>
                  <a:lnTo>
                    <a:pt x="320" y="1085"/>
                  </a:lnTo>
                  <a:lnTo>
                    <a:pt x="548" y="1393"/>
                  </a:lnTo>
                  <a:lnTo>
                    <a:pt x="708" y="1450"/>
                  </a:lnTo>
                  <a:lnTo>
                    <a:pt x="708" y="1450"/>
                  </a:lnTo>
                  <a:lnTo>
                    <a:pt x="640" y="1176"/>
                  </a:lnTo>
                  <a:lnTo>
                    <a:pt x="925" y="731"/>
                  </a:lnTo>
                  <a:lnTo>
                    <a:pt x="982" y="902"/>
                  </a:lnTo>
                  <a:lnTo>
                    <a:pt x="1165" y="83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33" name="Google Shape;304;p29">
              <a:extLst>
                <a:ext uri="{FF2B5EF4-FFF2-40B4-BE49-F238E27FC236}">
                  <a16:creationId xmlns:a16="http://schemas.microsoft.com/office/drawing/2014/main" id="{9DD518FD-E7C7-4777-A8C8-81FAE4085F06}"/>
                </a:ext>
              </a:extLst>
            </p:cNvPr>
            <p:cNvSpPr/>
            <p:nvPr/>
          </p:nvSpPr>
          <p:spPr>
            <a:xfrm>
              <a:off x="5255200" y="1937225"/>
              <a:ext cx="593450" cy="230275"/>
            </a:xfrm>
            <a:custGeom>
              <a:avLst/>
              <a:gdLst/>
              <a:ahLst/>
              <a:cxnLst/>
              <a:rect l="l" t="t" r="r" b="b"/>
              <a:pathLst>
                <a:path w="23738" h="9211" extrusionOk="0">
                  <a:moveTo>
                    <a:pt x="9541" y="1336"/>
                  </a:moveTo>
                  <a:lnTo>
                    <a:pt x="9016" y="685"/>
                  </a:lnTo>
                  <a:lnTo>
                    <a:pt x="8080" y="468"/>
                  </a:lnTo>
                  <a:lnTo>
                    <a:pt x="7396" y="354"/>
                  </a:lnTo>
                  <a:lnTo>
                    <a:pt x="6403" y="1"/>
                  </a:lnTo>
                  <a:lnTo>
                    <a:pt x="6220" y="914"/>
                  </a:lnTo>
                  <a:lnTo>
                    <a:pt x="6791" y="1427"/>
                  </a:lnTo>
                  <a:lnTo>
                    <a:pt x="6448" y="2043"/>
                  </a:lnTo>
                  <a:lnTo>
                    <a:pt x="5319" y="1815"/>
                  </a:lnTo>
                  <a:lnTo>
                    <a:pt x="4611" y="1781"/>
                  </a:lnTo>
                  <a:lnTo>
                    <a:pt x="3938" y="1370"/>
                  </a:lnTo>
                  <a:lnTo>
                    <a:pt x="3207" y="1359"/>
                  </a:lnTo>
                  <a:lnTo>
                    <a:pt x="2454" y="1085"/>
                  </a:lnTo>
                  <a:lnTo>
                    <a:pt x="1610" y="1496"/>
                  </a:lnTo>
                  <a:lnTo>
                    <a:pt x="674" y="2272"/>
                  </a:lnTo>
                  <a:lnTo>
                    <a:pt x="0" y="2409"/>
                  </a:lnTo>
                  <a:lnTo>
                    <a:pt x="468" y="3036"/>
                  </a:lnTo>
                  <a:lnTo>
                    <a:pt x="1290" y="3504"/>
                  </a:lnTo>
                  <a:lnTo>
                    <a:pt x="2443" y="3835"/>
                  </a:lnTo>
                  <a:lnTo>
                    <a:pt x="3264" y="4554"/>
                  </a:lnTo>
                  <a:lnTo>
                    <a:pt x="3447" y="5593"/>
                  </a:lnTo>
                  <a:lnTo>
                    <a:pt x="3881" y="5981"/>
                  </a:lnTo>
                  <a:lnTo>
                    <a:pt x="4794" y="6117"/>
                  </a:lnTo>
                  <a:lnTo>
                    <a:pt x="5821" y="6243"/>
                  </a:lnTo>
                  <a:lnTo>
                    <a:pt x="6951" y="6791"/>
                  </a:lnTo>
                  <a:lnTo>
                    <a:pt x="7430" y="6893"/>
                  </a:lnTo>
                  <a:lnTo>
                    <a:pt x="8137" y="7704"/>
                  </a:lnTo>
                  <a:lnTo>
                    <a:pt x="8799" y="8217"/>
                  </a:lnTo>
                  <a:lnTo>
                    <a:pt x="9587" y="8206"/>
                  </a:lnTo>
                  <a:lnTo>
                    <a:pt x="11184" y="8388"/>
                  </a:lnTo>
                  <a:lnTo>
                    <a:pt x="12097" y="8274"/>
                  </a:lnTo>
                  <a:lnTo>
                    <a:pt x="12885" y="8400"/>
                  </a:lnTo>
                  <a:lnTo>
                    <a:pt x="14209" y="8936"/>
                  </a:lnTo>
                  <a:lnTo>
                    <a:pt x="15099" y="8925"/>
                  </a:lnTo>
                  <a:lnTo>
                    <a:pt x="15555" y="9210"/>
                  </a:lnTo>
                  <a:lnTo>
                    <a:pt x="16183" y="8742"/>
                  </a:lnTo>
                  <a:lnTo>
                    <a:pt x="17210" y="8423"/>
                  </a:lnTo>
                  <a:lnTo>
                    <a:pt x="18271" y="8400"/>
                  </a:lnTo>
                  <a:lnTo>
                    <a:pt x="18979" y="8080"/>
                  </a:lnTo>
                  <a:lnTo>
                    <a:pt x="19241" y="7612"/>
                  </a:lnTo>
                  <a:lnTo>
                    <a:pt x="19607" y="7327"/>
                  </a:lnTo>
                  <a:lnTo>
                    <a:pt x="19333" y="7030"/>
                  </a:lnTo>
                  <a:lnTo>
                    <a:pt x="18922" y="6699"/>
                  </a:lnTo>
                  <a:lnTo>
                    <a:pt x="18979" y="6129"/>
                  </a:lnTo>
                  <a:lnTo>
                    <a:pt x="19435" y="6197"/>
                  </a:lnTo>
                  <a:lnTo>
                    <a:pt x="20269" y="6391"/>
                  </a:lnTo>
                  <a:lnTo>
                    <a:pt x="20714" y="5912"/>
                  </a:lnTo>
                  <a:lnTo>
                    <a:pt x="21615" y="5570"/>
                  </a:lnTo>
                  <a:lnTo>
                    <a:pt x="21809" y="4988"/>
                  </a:lnTo>
                  <a:lnTo>
                    <a:pt x="22152" y="4737"/>
                  </a:lnTo>
                  <a:lnTo>
                    <a:pt x="23122" y="4622"/>
                  </a:lnTo>
                  <a:lnTo>
                    <a:pt x="23738" y="4714"/>
                  </a:lnTo>
                  <a:lnTo>
                    <a:pt x="23635" y="4406"/>
                  </a:lnTo>
                  <a:lnTo>
                    <a:pt x="22608" y="3789"/>
                  </a:lnTo>
                  <a:lnTo>
                    <a:pt x="21889" y="3504"/>
                  </a:lnTo>
                  <a:lnTo>
                    <a:pt x="21524" y="3835"/>
                  </a:lnTo>
                  <a:lnTo>
                    <a:pt x="20759" y="3687"/>
                  </a:lnTo>
                  <a:lnTo>
                    <a:pt x="20417" y="3801"/>
                  </a:lnTo>
                  <a:lnTo>
                    <a:pt x="20029" y="3436"/>
                  </a:lnTo>
                  <a:lnTo>
                    <a:pt x="19983" y="2545"/>
                  </a:lnTo>
                  <a:lnTo>
                    <a:pt x="19903" y="1895"/>
                  </a:lnTo>
                  <a:lnTo>
                    <a:pt x="19116" y="1963"/>
                  </a:lnTo>
                  <a:lnTo>
                    <a:pt x="18557" y="1667"/>
                  </a:lnTo>
                  <a:lnTo>
                    <a:pt x="18089" y="1564"/>
                  </a:lnTo>
                  <a:lnTo>
                    <a:pt x="17450" y="2192"/>
                  </a:lnTo>
                  <a:lnTo>
                    <a:pt x="16617" y="2340"/>
                  </a:lnTo>
                  <a:lnTo>
                    <a:pt x="16103" y="2568"/>
                  </a:lnTo>
                  <a:lnTo>
                    <a:pt x="15156" y="2420"/>
                  </a:lnTo>
                  <a:lnTo>
                    <a:pt x="14505" y="2420"/>
                  </a:lnTo>
                  <a:lnTo>
                    <a:pt x="13809" y="1975"/>
                  </a:lnTo>
                  <a:lnTo>
                    <a:pt x="12885" y="1553"/>
                  </a:lnTo>
                  <a:lnTo>
                    <a:pt x="12109" y="1438"/>
                  </a:lnTo>
                  <a:lnTo>
                    <a:pt x="11299" y="1553"/>
                  </a:lnTo>
                  <a:lnTo>
                    <a:pt x="10739" y="171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34" name="Google Shape;305;p29">
              <a:extLst>
                <a:ext uri="{FF2B5EF4-FFF2-40B4-BE49-F238E27FC236}">
                  <a16:creationId xmlns:a16="http://schemas.microsoft.com/office/drawing/2014/main" id="{A9985480-2143-46D0-8E04-B95D1464AC2C}"/>
                </a:ext>
              </a:extLst>
            </p:cNvPr>
            <p:cNvSpPr/>
            <p:nvPr/>
          </p:nvSpPr>
          <p:spPr>
            <a:xfrm>
              <a:off x="4320550" y="3346350"/>
              <a:ext cx="210275" cy="372625"/>
            </a:xfrm>
            <a:custGeom>
              <a:avLst/>
              <a:gdLst/>
              <a:ahLst/>
              <a:cxnLst/>
              <a:rect l="l" t="t" r="r" b="b"/>
              <a:pathLst>
                <a:path w="8411" h="14905" extrusionOk="0">
                  <a:moveTo>
                    <a:pt x="8320" y="411"/>
                  </a:moveTo>
                  <a:lnTo>
                    <a:pt x="8206" y="0"/>
                  </a:lnTo>
                  <a:lnTo>
                    <a:pt x="8206" y="0"/>
                  </a:lnTo>
                  <a:lnTo>
                    <a:pt x="8206" y="0"/>
                  </a:lnTo>
                  <a:lnTo>
                    <a:pt x="7544" y="525"/>
                  </a:lnTo>
                  <a:lnTo>
                    <a:pt x="6665" y="879"/>
                  </a:lnTo>
                  <a:lnTo>
                    <a:pt x="6186" y="868"/>
                  </a:lnTo>
                  <a:lnTo>
                    <a:pt x="5889" y="1141"/>
                  </a:lnTo>
                  <a:lnTo>
                    <a:pt x="5330" y="1153"/>
                  </a:lnTo>
                  <a:lnTo>
                    <a:pt x="5136" y="1267"/>
                  </a:lnTo>
                  <a:lnTo>
                    <a:pt x="4177" y="1005"/>
                  </a:lnTo>
                  <a:lnTo>
                    <a:pt x="3880" y="1050"/>
                  </a:lnTo>
                  <a:lnTo>
                    <a:pt x="3652" y="1906"/>
                  </a:lnTo>
                  <a:lnTo>
                    <a:pt x="3755" y="2945"/>
                  </a:lnTo>
                  <a:lnTo>
                    <a:pt x="3789" y="2945"/>
                  </a:lnTo>
                  <a:lnTo>
                    <a:pt x="4063" y="3230"/>
                  </a:lnTo>
                  <a:lnTo>
                    <a:pt x="4382" y="3892"/>
                  </a:lnTo>
                  <a:lnTo>
                    <a:pt x="4394" y="5056"/>
                  </a:lnTo>
                  <a:lnTo>
                    <a:pt x="4040" y="5250"/>
                  </a:lnTo>
                  <a:lnTo>
                    <a:pt x="3766" y="5889"/>
                  </a:lnTo>
                  <a:lnTo>
                    <a:pt x="3275" y="5318"/>
                  </a:lnTo>
                  <a:lnTo>
                    <a:pt x="3253" y="4679"/>
                  </a:lnTo>
                  <a:lnTo>
                    <a:pt x="3435" y="4257"/>
                  </a:lnTo>
                  <a:lnTo>
                    <a:pt x="3390" y="3892"/>
                  </a:lnTo>
                  <a:lnTo>
                    <a:pt x="3093" y="3664"/>
                  </a:lnTo>
                  <a:lnTo>
                    <a:pt x="2865" y="3743"/>
                  </a:lnTo>
                  <a:lnTo>
                    <a:pt x="2442" y="3321"/>
                  </a:lnTo>
                  <a:lnTo>
                    <a:pt x="0" y="4063"/>
                  </a:lnTo>
                  <a:lnTo>
                    <a:pt x="46" y="4702"/>
                  </a:lnTo>
                  <a:lnTo>
                    <a:pt x="80" y="5044"/>
                  </a:lnTo>
                  <a:lnTo>
                    <a:pt x="742" y="5033"/>
                  </a:lnTo>
                  <a:lnTo>
                    <a:pt x="1107" y="5216"/>
                  </a:lnTo>
                  <a:lnTo>
                    <a:pt x="1267" y="5444"/>
                  </a:lnTo>
                  <a:lnTo>
                    <a:pt x="1632" y="5512"/>
                  </a:lnTo>
                  <a:lnTo>
                    <a:pt x="2032" y="5798"/>
                  </a:lnTo>
                  <a:lnTo>
                    <a:pt x="1997" y="6962"/>
                  </a:lnTo>
                  <a:lnTo>
                    <a:pt x="1803" y="7589"/>
                  </a:lnTo>
                  <a:lnTo>
                    <a:pt x="1735" y="8251"/>
                  </a:lnTo>
                  <a:lnTo>
                    <a:pt x="1849" y="8525"/>
                  </a:lnTo>
                  <a:lnTo>
                    <a:pt x="1735" y="9050"/>
                  </a:lnTo>
                  <a:lnTo>
                    <a:pt x="1609" y="9141"/>
                  </a:lnTo>
                  <a:lnTo>
                    <a:pt x="1381" y="9792"/>
                  </a:lnTo>
                  <a:lnTo>
                    <a:pt x="491" y="10819"/>
                  </a:lnTo>
                  <a:lnTo>
                    <a:pt x="810" y="12109"/>
                  </a:lnTo>
                  <a:lnTo>
                    <a:pt x="970" y="12748"/>
                  </a:lnTo>
                  <a:lnTo>
                    <a:pt x="765" y="13763"/>
                  </a:lnTo>
                  <a:lnTo>
                    <a:pt x="822" y="14094"/>
                  </a:lnTo>
                  <a:lnTo>
                    <a:pt x="913" y="14505"/>
                  </a:lnTo>
                  <a:lnTo>
                    <a:pt x="947" y="14905"/>
                  </a:lnTo>
                  <a:lnTo>
                    <a:pt x="1541" y="14905"/>
                  </a:lnTo>
                  <a:lnTo>
                    <a:pt x="1632" y="14437"/>
                  </a:lnTo>
                  <a:lnTo>
                    <a:pt x="1438" y="14357"/>
                  </a:lnTo>
                  <a:lnTo>
                    <a:pt x="1392" y="13992"/>
                  </a:lnTo>
                  <a:lnTo>
                    <a:pt x="1769" y="13649"/>
                  </a:lnTo>
                  <a:lnTo>
                    <a:pt x="2739" y="13159"/>
                  </a:lnTo>
                  <a:lnTo>
                    <a:pt x="3390" y="12850"/>
                  </a:lnTo>
                  <a:lnTo>
                    <a:pt x="3743" y="12519"/>
                  </a:lnTo>
                  <a:lnTo>
                    <a:pt x="3880" y="12154"/>
                  </a:lnTo>
                  <a:lnTo>
                    <a:pt x="3709" y="11994"/>
                  </a:lnTo>
                  <a:lnTo>
                    <a:pt x="3857" y="11561"/>
                  </a:lnTo>
                  <a:lnTo>
                    <a:pt x="3937" y="10682"/>
                  </a:lnTo>
                  <a:lnTo>
                    <a:pt x="3789" y="10728"/>
                  </a:lnTo>
                  <a:lnTo>
                    <a:pt x="3789" y="10454"/>
                  </a:lnTo>
                  <a:lnTo>
                    <a:pt x="3675" y="9929"/>
                  </a:lnTo>
                  <a:lnTo>
                    <a:pt x="3332" y="9244"/>
                  </a:lnTo>
                  <a:lnTo>
                    <a:pt x="3435" y="8582"/>
                  </a:lnTo>
                  <a:lnTo>
                    <a:pt x="3766" y="8388"/>
                  </a:lnTo>
                  <a:lnTo>
                    <a:pt x="4348" y="7726"/>
                  </a:lnTo>
                  <a:lnTo>
                    <a:pt x="4656" y="7567"/>
                  </a:lnTo>
                  <a:lnTo>
                    <a:pt x="5615" y="6597"/>
                  </a:lnTo>
                  <a:lnTo>
                    <a:pt x="6528" y="6163"/>
                  </a:lnTo>
                  <a:lnTo>
                    <a:pt x="7270" y="5798"/>
                  </a:lnTo>
                  <a:lnTo>
                    <a:pt x="7795" y="5250"/>
                  </a:lnTo>
                  <a:lnTo>
                    <a:pt x="8137" y="4622"/>
                  </a:lnTo>
                  <a:lnTo>
                    <a:pt x="8411" y="3960"/>
                  </a:lnTo>
                  <a:lnTo>
                    <a:pt x="8285" y="3515"/>
                  </a:lnTo>
                  <a:lnTo>
                    <a:pt x="8308" y="2112"/>
                  </a:lnTo>
                  <a:lnTo>
                    <a:pt x="8251" y="131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35" name="Google Shape;306;p29">
              <a:extLst>
                <a:ext uri="{FF2B5EF4-FFF2-40B4-BE49-F238E27FC236}">
                  <a16:creationId xmlns:a16="http://schemas.microsoft.com/office/drawing/2014/main" id="{B1FC48AD-6E72-487B-A9D1-0B0D2C5BA3AA}"/>
                </a:ext>
              </a:extLst>
            </p:cNvPr>
            <p:cNvSpPr/>
            <p:nvPr/>
          </p:nvSpPr>
          <p:spPr>
            <a:xfrm>
              <a:off x="3386175" y="2490425"/>
              <a:ext cx="239400" cy="290175"/>
            </a:xfrm>
            <a:custGeom>
              <a:avLst/>
              <a:gdLst/>
              <a:ahLst/>
              <a:cxnLst/>
              <a:rect l="l" t="t" r="r" b="b"/>
              <a:pathLst>
                <a:path w="9576" h="11607" extrusionOk="0">
                  <a:moveTo>
                    <a:pt x="9575" y="2203"/>
                  </a:moveTo>
                  <a:lnTo>
                    <a:pt x="6676" y="1"/>
                  </a:lnTo>
                  <a:lnTo>
                    <a:pt x="6642" y="1382"/>
                  </a:lnTo>
                  <a:lnTo>
                    <a:pt x="4097" y="1336"/>
                  </a:lnTo>
                  <a:lnTo>
                    <a:pt x="4063" y="3664"/>
                  </a:lnTo>
                  <a:lnTo>
                    <a:pt x="3321" y="3733"/>
                  </a:lnTo>
                  <a:lnTo>
                    <a:pt x="3116" y="4200"/>
                  </a:lnTo>
                  <a:lnTo>
                    <a:pt x="3253" y="5513"/>
                  </a:lnTo>
                  <a:lnTo>
                    <a:pt x="171" y="5501"/>
                  </a:lnTo>
                  <a:lnTo>
                    <a:pt x="0" y="5821"/>
                  </a:lnTo>
                  <a:lnTo>
                    <a:pt x="400" y="6198"/>
                  </a:lnTo>
                  <a:lnTo>
                    <a:pt x="594" y="6631"/>
                  </a:lnTo>
                  <a:lnTo>
                    <a:pt x="491" y="7088"/>
                  </a:lnTo>
                  <a:lnTo>
                    <a:pt x="582" y="7544"/>
                  </a:lnTo>
                  <a:lnTo>
                    <a:pt x="651" y="8434"/>
                  </a:lnTo>
                  <a:lnTo>
                    <a:pt x="537" y="9279"/>
                  </a:lnTo>
                  <a:lnTo>
                    <a:pt x="297" y="9735"/>
                  </a:lnTo>
                  <a:lnTo>
                    <a:pt x="354" y="10226"/>
                  </a:lnTo>
                  <a:lnTo>
                    <a:pt x="639" y="9941"/>
                  </a:lnTo>
                  <a:lnTo>
                    <a:pt x="1027" y="10009"/>
                  </a:lnTo>
                  <a:lnTo>
                    <a:pt x="1427" y="9804"/>
                  </a:lnTo>
                  <a:lnTo>
                    <a:pt x="1860" y="9804"/>
                  </a:lnTo>
                  <a:lnTo>
                    <a:pt x="2237" y="10066"/>
                  </a:lnTo>
                  <a:lnTo>
                    <a:pt x="2762" y="10306"/>
                  </a:lnTo>
                  <a:lnTo>
                    <a:pt x="3218" y="10979"/>
                  </a:lnTo>
                  <a:lnTo>
                    <a:pt x="3732" y="11607"/>
                  </a:lnTo>
                  <a:lnTo>
                    <a:pt x="4006" y="11436"/>
                  </a:lnTo>
                  <a:lnTo>
                    <a:pt x="4143" y="10911"/>
                  </a:lnTo>
                  <a:lnTo>
                    <a:pt x="4405" y="10877"/>
                  </a:lnTo>
                  <a:lnTo>
                    <a:pt x="4942" y="11139"/>
                  </a:lnTo>
                  <a:lnTo>
                    <a:pt x="5398" y="10945"/>
                  </a:lnTo>
                  <a:lnTo>
                    <a:pt x="5706" y="11002"/>
                  </a:lnTo>
                  <a:lnTo>
                    <a:pt x="5832" y="10808"/>
                  </a:lnTo>
                  <a:lnTo>
                    <a:pt x="9016" y="10797"/>
                  </a:lnTo>
                  <a:lnTo>
                    <a:pt x="9198" y="10169"/>
                  </a:lnTo>
                  <a:lnTo>
                    <a:pt x="9050" y="10055"/>
                  </a:lnTo>
                  <a:lnTo>
                    <a:pt x="8708" y="6129"/>
                  </a:lnTo>
                  <a:lnTo>
                    <a:pt x="8365" y="221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36" name="Google Shape;307;p29">
              <a:extLst>
                <a:ext uri="{FF2B5EF4-FFF2-40B4-BE49-F238E27FC236}">
                  <a16:creationId xmlns:a16="http://schemas.microsoft.com/office/drawing/2014/main" id="{4C1DE179-3DDD-4823-B470-E7BE13E7CD5A}"/>
                </a:ext>
              </a:extLst>
            </p:cNvPr>
            <p:cNvSpPr/>
            <p:nvPr/>
          </p:nvSpPr>
          <p:spPr>
            <a:xfrm>
              <a:off x="4371050" y="3321525"/>
              <a:ext cx="59350" cy="172050"/>
            </a:xfrm>
            <a:custGeom>
              <a:avLst/>
              <a:gdLst/>
              <a:ahLst/>
              <a:cxnLst/>
              <a:rect l="l" t="t" r="r" b="b"/>
              <a:pathLst>
                <a:path w="2374" h="6882" extrusionOk="0">
                  <a:moveTo>
                    <a:pt x="1472" y="4371"/>
                  </a:moveTo>
                  <a:lnTo>
                    <a:pt x="1484" y="4040"/>
                  </a:lnTo>
                  <a:lnTo>
                    <a:pt x="1312" y="3766"/>
                  </a:lnTo>
                  <a:lnTo>
                    <a:pt x="1324" y="3367"/>
                  </a:lnTo>
                  <a:lnTo>
                    <a:pt x="1118" y="2705"/>
                  </a:lnTo>
                  <a:lnTo>
                    <a:pt x="1358" y="2203"/>
                  </a:lnTo>
                  <a:lnTo>
                    <a:pt x="1347" y="1107"/>
                  </a:lnTo>
                  <a:lnTo>
                    <a:pt x="1073" y="514"/>
                  </a:lnTo>
                  <a:lnTo>
                    <a:pt x="1096" y="411"/>
                  </a:lnTo>
                  <a:lnTo>
                    <a:pt x="1096" y="411"/>
                  </a:lnTo>
                  <a:lnTo>
                    <a:pt x="947" y="172"/>
                  </a:lnTo>
                  <a:lnTo>
                    <a:pt x="171" y="0"/>
                  </a:lnTo>
                  <a:lnTo>
                    <a:pt x="548" y="400"/>
                  </a:lnTo>
                  <a:lnTo>
                    <a:pt x="719" y="1176"/>
                  </a:lnTo>
                  <a:lnTo>
                    <a:pt x="571" y="1427"/>
                  </a:lnTo>
                  <a:lnTo>
                    <a:pt x="400" y="2157"/>
                  </a:lnTo>
                  <a:lnTo>
                    <a:pt x="525" y="2911"/>
                  </a:lnTo>
                  <a:lnTo>
                    <a:pt x="274" y="3230"/>
                  </a:lnTo>
                  <a:lnTo>
                    <a:pt x="0" y="4063"/>
                  </a:lnTo>
                  <a:lnTo>
                    <a:pt x="422" y="4314"/>
                  </a:lnTo>
                  <a:lnTo>
                    <a:pt x="845" y="4736"/>
                  </a:lnTo>
                  <a:lnTo>
                    <a:pt x="1073" y="4657"/>
                  </a:lnTo>
                  <a:lnTo>
                    <a:pt x="1370" y="4885"/>
                  </a:lnTo>
                  <a:lnTo>
                    <a:pt x="1415" y="5250"/>
                  </a:lnTo>
                  <a:lnTo>
                    <a:pt x="1233" y="5661"/>
                  </a:lnTo>
                  <a:lnTo>
                    <a:pt x="1255" y="6311"/>
                  </a:lnTo>
                  <a:lnTo>
                    <a:pt x="1746" y="6882"/>
                  </a:lnTo>
                  <a:lnTo>
                    <a:pt x="2020" y="6231"/>
                  </a:lnTo>
                  <a:lnTo>
                    <a:pt x="2374" y="6049"/>
                  </a:lnTo>
                  <a:lnTo>
                    <a:pt x="2362" y="4885"/>
                  </a:lnTo>
                  <a:lnTo>
                    <a:pt x="2043" y="4223"/>
                  </a:lnTo>
                  <a:lnTo>
                    <a:pt x="1769" y="3938"/>
                  </a:lnTo>
                  <a:lnTo>
                    <a:pt x="1735" y="3938"/>
                  </a:lnTo>
                  <a:lnTo>
                    <a:pt x="1735" y="4052"/>
                  </a:lnTo>
                  <a:lnTo>
                    <a:pt x="1883" y="4097"/>
                  </a:lnTo>
                  <a:lnTo>
                    <a:pt x="2031" y="4577"/>
                  </a:lnTo>
                  <a:lnTo>
                    <a:pt x="1997" y="4691"/>
                  </a:lnTo>
                  <a:lnTo>
                    <a:pt x="1723" y="4337"/>
                  </a:lnTo>
                  <a:lnTo>
                    <a:pt x="1586" y="456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37" name="Google Shape;308;p29">
              <a:extLst>
                <a:ext uri="{FF2B5EF4-FFF2-40B4-BE49-F238E27FC236}">
                  <a16:creationId xmlns:a16="http://schemas.microsoft.com/office/drawing/2014/main" id="{E51D6008-CC92-4E75-98F8-246D2F37DEDF}"/>
                </a:ext>
              </a:extLst>
            </p:cNvPr>
            <p:cNvSpPr/>
            <p:nvPr/>
          </p:nvSpPr>
          <p:spPr>
            <a:xfrm>
              <a:off x="5723100" y="2954900"/>
              <a:ext cx="383475" cy="139550"/>
            </a:xfrm>
            <a:custGeom>
              <a:avLst/>
              <a:gdLst/>
              <a:ahLst/>
              <a:cxnLst/>
              <a:rect l="l" t="t" r="r" b="b"/>
              <a:pathLst>
                <a:path w="15339" h="5582" extrusionOk="0">
                  <a:moveTo>
                    <a:pt x="799" y="663"/>
                  </a:moveTo>
                  <a:lnTo>
                    <a:pt x="126" y="263"/>
                  </a:lnTo>
                  <a:lnTo>
                    <a:pt x="0" y="423"/>
                  </a:lnTo>
                  <a:lnTo>
                    <a:pt x="206" y="800"/>
                  </a:lnTo>
                  <a:lnTo>
                    <a:pt x="137" y="1473"/>
                  </a:lnTo>
                  <a:lnTo>
                    <a:pt x="446" y="1964"/>
                  </a:lnTo>
                  <a:lnTo>
                    <a:pt x="583" y="2717"/>
                  </a:lnTo>
                  <a:lnTo>
                    <a:pt x="1073" y="3333"/>
                  </a:lnTo>
                  <a:lnTo>
                    <a:pt x="1187" y="3790"/>
                  </a:lnTo>
                  <a:lnTo>
                    <a:pt x="2135" y="4497"/>
                  </a:lnTo>
                  <a:lnTo>
                    <a:pt x="2911" y="5182"/>
                  </a:lnTo>
                  <a:lnTo>
                    <a:pt x="3481" y="5113"/>
                  </a:lnTo>
                  <a:lnTo>
                    <a:pt x="3493" y="4817"/>
                  </a:lnTo>
                  <a:lnTo>
                    <a:pt x="3162" y="4018"/>
                  </a:lnTo>
                  <a:lnTo>
                    <a:pt x="2865" y="3755"/>
                  </a:lnTo>
                  <a:lnTo>
                    <a:pt x="2796" y="3219"/>
                  </a:lnTo>
                  <a:lnTo>
                    <a:pt x="2717" y="2911"/>
                  </a:lnTo>
                  <a:lnTo>
                    <a:pt x="2785" y="2500"/>
                  </a:lnTo>
                  <a:lnTo>
                    <a:pt x="2717" y="1884"/>
                  </a:lnTo>
                  <a:lnTo>
                    <a:pt x="2340" y="1279"/>
                  </a:lnTo>
                  <a:lnTo>
                    <a:pt x="1838" y="731"/>
                  </a:lnTo>
                  <a:lnTo>
                    <a:pt x="1655" y="651"/>
                  </a:lnTo>
                  <a:lnTo>
                    <a:pt x="1416" y="1016"/>
                  </a:lnTo>
                  <a:lnTo>
                    <a:pt x="891" y="1131"/>
                  </a:lnTo>
                  <a:close/>
                  <a:moveTo>
                    <a:pt x="14928" y="2226"/>
                  </a:moveTo>
                  <a:lnTo>
                    <a:pt x="14756" y="1792"/>
                  </a:lnTo>
                  <a:lnTo>
                    <a:pt x="15293" y="1735"/>
                  </a:lnTo>
                  <a:lnTo>
                    <a:pt x="15338" y="1393"/>
                  </a:lnTo>
                  <a:lnTo>
                    <a:pt x="14654" y="1108"/>
                  </a:lnTo>
                  <a:lnTo>
                    <a:pt x="14106" y="857"/>
                  </a:lnTo>
                  <a:lnTo>
                    <a:pt x="14049" y="457"/>
                  </a:lnTo>
                  <a:lnTo>
                    <a:pt x="13615" y="1"/>
                  </a:lnTo>
                  <a:lnTo>
                    <a:pt x="13284" y="1"/>
                  </a:lnTo>
                  <a:lnTo>
                    <a:pt x="12931" y="720"/>
                  </a:lnTo>
                  <a:lnTo>
                    <a:pt x="12337" y="1347"/>
                  </a:lnTo>
                  <a:lnTo>
                    <a:pt x="12326" y="1792"/>
                  </a:lnTo>
                  <a:lnTo>
                    <a:pt x="12314" y="2374"/>
                  </a:lnTo>
                  <a:lnTo>
                    <a:pt x="11926" y="2340"/>
                  </a:lnTo>
                  <a:lnTo>
                    <a:pt x="11766" y="2660"/>
                  </a:lnTo>
                  <a:lnTo>
                    <a:pt x="11390" y="2192"/>
                  </a:lnTo>
                  <a:lnTo>
                    <a:pt x="11013" y="2763"/>
                  </a:lnTo>
                  <a:lnTo>
                    <a:pt x="10477" y="3470"/>
                  </a:lnTo>
                  <a:lnTo>
                    <a:pt x="9518" y="3675"/>
                  </a:lnTo>
                  <a:lnTo>
                    <a:pt x="9176" y="3847"/>
                  </a:lnTo>
                  <a:lnTo>
                    <a:pt x="9050" y="4611"/>
                  </a:lnTo>
                  <a:lnTo>
                    <a:pt x="8423" y="4782"/>
                  </a:lnTo>
                  <a:lnTo>
                    <a:pt x="7829" y="4474"/>
                  </a:lnTo>
                  <a:lnTo>
                    <a:pt x="7978" y="5079"/>
                  </a:lnTo>
                  <a:lnTo>
                    <a:pt x="8537" y="5581"/>
                  </a:lnTo>
                  <a:lnTo>
                    <a:pt x="9050" y="5410"/>
                  </a:lnTo>
                  <a:lnTo>
                    <a:pt x="9564" y="5467"/>
                  </a:lnTo>
                  <a:lnTo>
                    <a:pt x="10020" y="5011"/>
                  </a:lnTo>
                  <a:lnTo>
                    <a:pt x="10397" y="4919"/>
                  </a:lnTo>
                  <a:lnTo>
                    <a:pt x="11173" y="5182"/>
                  </a:lnTo>
                  <a:lnTo>
                    <a:pt x="11812" y="4999"/>
                  </a:lnTo>
                  <a:lnTo>
                    <a:pt x="12200" y="3721"/>
                  </a:lnTo>
                  <a:lnTo>
                    <a:pt x="12485" y="3413"/>
                  </a:lnTo>
                  <a:lnTo>
                    <a:pt x="12725" y="2386"/>
                  </a:lnTo>
                  <a:lnTo>
                    <a:pt x="13638" y="2386"/>
                  </a:lnTo>
                  <a:lnTo>
                    <a:pt x="14357" y="252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38" name="Google Shape;309;p29">
              <a:extLst>
                <a:ext uri="{FF2B5EF4-FFF2-40B4-BE49-F238E27FC236}">
                  <a16:creationId xmlns:a16="http://schemas.microsoft.com/office/drawing/2014/main" id="{7192CC82-B152-4678-9B96-89D215CB953D}"/>
                </a:ext>
              </a:extLst>
            </p:cNvPr>
            <p:cNvSpPr/>
            <p:nvPr/>
          </p:nvSpPr>
          <p:spPr>
            <a:xfrm>
              <a:off x="3953650" y="3496700"/>
              <a:ext cx="263350" cy="274775"/>
            </a:xfrm>
            <a:custGeom>
              <a:avLst/>
              <a:gdLst/>
              <a:ahLst/>
              <a:cxnLst/>
              <a:rect l="l" t="t" r="r" b="b"/>
              <a:pathLst>
                <a:path w="10534" h="10991" extrusionOk="0">
                  <a:moveTo>
                    <a:pt x="9073" y="525"/>
                  </a:moveTo>
                  <a:lnTo>
                    <a:pt x="7601" y="891"/>
                  </a:lnTo>
                  <a:lnTo>
                    <a:pt x="5683" y="754"/>
                  </a:lnTo>
                  <a:lnTo>
                    <a:pt x="5158" y="331"/>
                  </a:lnTo>
                  <a:lnTo>
                    <a:pt x="1952" y="377"/>
                  </a:lnTo>
                  <a:lnTo>
                    <a:pt x="1815" y="434"/>
                  </a:lnTo>
                  <a:lnTo>
                    <a:pt x="1358" y="12"/>
                  </a:lnTo>
                  <a:lnTo>
                    <a:pt x="856" y="0"/>
                  </a:lnTo>
                  <a:lnTo>
                    <a:pt x="377" y="149"/>
                  </a:lnTo>
                  <a:lnTo>
                    <a:pt x="0" y="320"/>
                  </a:lnTo>
                  <a:lnTo>
                    <a:pt x="23" y="1016"/>
                  </a:lnTo>
                  <a:lnTo>
                    <a:pt x="651" y="1895"/>
                  </a:lnTo>
                  <a:lnTo>
                    <a:pt x="810" y="2466"/>
                  </a:lnTo>
                  <a:lnTo>
                    <a:pt x="1210" y="3572"/>
                  </a:lnTo>
                  <a:lnTo>
                    <a:pt x="1598" y="4314"/>
                  </a:lnTo>
                  <a:lnTo>
                    <a:pt x="1894" y="4679"/>
                  </a:lnTo>
                  <a:lnTo>
                    <a:pt x="1974" y="5182"/>
                  </a:lnTo>
                  <a:lnTo>
                    <a:pt x="1974" y="6266"/>
                  </a:lnTo>
                  <a:lnTo>
                    <a:pt x="2203" y="7658"/>
                  </a:lnTo>
                  <a:lnTo>
                    <a:pt x="2374" y="8320"/>
                  </a:lnTo>
                  <a:lnTo>
                    <a:pt x="2522" y="9199"/>
                  </a:lnTo>
                  <a:lnTo>
                    <a:pt x="2785" y="9872"/>
                  </a:lnTo>
                  <a:lnTo>
                    <a:pt x="3344" y="10557"/>
                  </a:lnTo>
                  <a:lnTo>
                    <a:pt x="3732" y="10100"/>
                  </a:lnTo>
                  <a:lnTo>
                    <a:pt x="4029" y="10363"/>
                  </a:lnTo>
                  <a:lnTo>
                    <a:pt x="4143" y="10739"/>
                  </a:lnTo>
                  <a:lnTo>
                    <a:pt x="4485" y="10819"/>
                  </a:lnTo>
                  <a:lnTo>
                    <a:pt x="4953" y="10990"/>
                  </a:lnTo>
                  <a:lnTo>
                    <a:pt x="5375" y="10911"/>
                  </a:lnTo>
                  <a:lnTo>
                    <a:pt x="6083" y="10454"/>
                  </a:lnTo>
                  <a:lnTo>
                    <a:pt x="6243" y="7087"/>
                  </a:lnTo>
                  <a:lnTo>
                    <a:pt x="6322" y="4451"/>
                  </a:lnTo>
                  <a:lnTo>
                    <a:pt x="7098" y="4428"/>
                  </a:lnTo>
                  <a:lnTo>
                    <a:pt x="7224" y="1187"/>
                  </a:lnTo>
                  <a:lnTo>
                    <a:pt x="7806" y="1153"/>
                  </a:lnTo>
                  <a:lnTo>
                    <a:pt x="9039" y="845"/>
                  </a:lnTo>
                  <a:lnTo>
                    <a:pt x="9324" y="1210"/>
                  </a:lnTo>
                  <a:lnTo>
                    <a:pt x="9849" y="856"/>
                  </a:lnTo>
                  <a:lnTo>
                    <a:pt x="10077" y="856"/>
                  </a:lnTo>
                  <a:lnTo>
                    <a:pt x="10534" y="640"/>
                  </a:lnTo>
                  <a:lnTo>
                    <a:pt x="10534" y="571"/>
                  </a:lnTo>
                  <a:lnTo>
                    <a:pt x="10237" y="377"/>
                  </a:lnTo>
                  <a:lnTo>
                    <a:pt x="9723" y="32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39" name="Google Shape;310;p29">
              <a:extLst>
                <a:ext uri="{FF2B5EF4-FFF2-40B4-BE49-F238E27FC236}">
                  <a16:creationId xmlns:a16="http://schemas.microsoft.com/office/drawing/2014/main" id="{7A6F4060-DD86-4622-AEC1-1E4C71399D53}"/>
                </a:ext>
              </a:extLst>
            </p:cNvPr>
            <p:cNvSpPr/>
            <p:nvPr/>
          </p:nvSpPr>
          <p:spPr>
            <a:xfrm>
              <a:off x="3727100" y="2579450"/>
              <a:ext cx="307025" cy="268200"/>
            </a:xfrm>
            <a:custGeom>
              <a:avLst/>
              <a:gdLst/>
              <a:ahLst/>
              <a:cxnLst/>
              <a:rect l="l" t="t" r="r" b="b"/>
              <a:pathLst>
                <a:path w="12281" h="10728" extrusionOk="0">
                  <a:moveTo>
                    <a:pt x="10409" y="400"/>
                  </a:moveTo>
                  <a:lnTo>
                    <a:pt x="9153" y="0"/>
                  </a:lnTo>
                  <a:lnTo>
                    <a:pt x="6506" y="1746"/>
                  </a:lnTo>
                  <a:lnTo>
                    <a:pt x="4246" y="3527"/>
                  </a:lnTo>
                  <a:lnTo>
                    <a:pt x="3139" y="3926"/>
                  </a:lnTo>
                  <a:lnTo>
                    <a:pt x="3151" y="6003"/>
                  </a:lnTo>
                  <a:lnTo>
                    <a:pt x="2728" y="6619"/>
                  </a:lnTo>
                  <a:lnTo>
                    <a:pt x="2648" y="7179"/>
                  </a:lnTo>
                  <a:lnTo>
                    <a:pt x="1952" y="7316"/>
                  </a:lnTo>
                  <a:lnTo>
                    <a:pt x="868" y="7407"/>
                  </a:lnTo>
                  <a:lnTo>
                    <a:pt x="583" y="7715"/>
                  </a:lnTo>
                  <a:lnTo>
                    <a:pt x="69" y="7761"/>
                  </a:lnTo>
                  <a:lnTo>
                    <a:pt x="1" y="8206"/>
                  </a:lnTo>
                  <a:lnTo>
                    <a:pt x="115" y="8617"/>
                  </a:lnTo>
                  <a:lnTo>
                    <a:pt x="560" y="9199"/>
                  </a:lnTo>
                  <a:lnTo>
                    <a:pt x="583" y="9644"/>
                  </a:lnTo>
                  <a:lnTo>
                    <a:pt x="1496" y="9849"/>
                  </a:lnTo>
                  <a:lnTo>
                    <a:pt x="1484" y="10477"/>
                  </a:lnTo>
                  <a:lnTo>
                    <a:pt x="1758" y="10203"/>
                  </a:lnTo>
                  <a:lnTo>
                    <a:pt x="2044" y="10203"/>
                  </a:lnTo>
                  <a:lnTo>
                    <a:pt x="2648" y="10728"/>
                  </a:lnTo>
                  <a:lnTo>
                    <a:pt x="2694" y="9918"/>
                  </a:lnTo>
                  <a:lnTo>
                    <a:pt x="2922" y="9541"/>
                  </a:lnTo>
                  <a:lnTo>
                    <a:pt x="3036" y="9027"/>
                  </a:lnTo>
                  <a:lnTo>
                    <a:pt x="3230" y="8833"/>
                  </a:lnTo>
                  <a:lnTo>
                    <a:pt x="4086" y="8719"/>
                  </a:lnTo>
                  <a:lnTo>
                    <a:pt x="4885" y="9062"/>
                  </a:lnTo>
                  <a:lnTo>
                    <a:pt x="5193" y="9404"/>
                  </a:lnTo>
                  <a:lnTo>
                    <a:pt x="5604" y="9415"/>
                  </a:lnTo>
                  <a:lnTo>
                    <a:pt x="5981" y="9199"/>
                  </a:lnTo>
                  <a:lnTo>
                    <a:pt x="6951" y="9678"/>
                  </a:lnTo>
                  <a:lnTo>
                    <a:pt x="7350" y="9644"/>
                  </a:lnTo>
                  <a:lnTo>
                    <a:pt x="7818" y="9256"/>
                  </a:lnTo>
                  <a:lnTo>
                    <a:pt x="8286" y="9290"/>
                  </a:lnTo>
                  <a:lnTo>
                    <a:pt x="8514" y="9164"/>
                  </a:lnTo>
                  <a:lnTo>
                    <a:pt x="8937" y="9221"/>
                  </a:lnTo>
                  <a:lnTo>
                    <a:pt x="9553" y="9472"/>
                  </a:lnTo>
                  <a:lnTo>
                    <a:pt x="10169" y="8970"/>
                  </a:lnTo>
                  <a:lnTo>
                    <a:pt x="10352" y="9005"/>
                  </a:lnTo>
                  <a:lnTo>
                    <a:pt x="10911" y="9997"/>
                  </a:lnTo>
                  <a:lnTo>
                    <a:pt x="11048" y="9975"/>
                  </a:lnTo>
                  <a:lnTo>
                    <a:pt x="11082" y="9689"/>
                  </a:lnTo>
                  <a:lnTo>
                    <a:pt x="11310" y="9632"/>
                  </a:lnTo>
                  <a:lnTo>
                    <a:pt x="11379" y="9221"/>
                  </a:lnTo>
                  <a:lnTo>
                    <a:pt x="10865" y="9187"/>
                  </a:lnTo>
                  <a:lnTo>
                    <a:pt x="10865" y="8605"/>
                  </a:lnTo>
                  <a:lnTo>
                    <a:pt x="10523" y="8274"/>
                  </a:lnTo>
                  <a:lnTo>
                    <a:pt x="10854" y="7076"/>
                  </a:lnTo>
                  <a:lnTo>
                    <a:pt x="11835" y="6220"/>
                  </a:lnTo>
                  <a:lnTo>
                    <a:pt x="11869" y="5033"/>
                  </a:lnTo>
                  <a:lnTo>
                    <a:pt x="12121" y="3196"/>
                  </a:lnTo>
                  <a:lnTo>
                    <a:pt x="12280" y="2808"/>
                  </a:lnTo>
                  <a:lnTo>
                    <a:pt x="11949" y="2500"/>
                  </a:lnTo>
                  <a:lnTo>
                    <a:pt x="11927" y="2203"/>
                  </a:lnTo>
                  <a:lnTo>
                    <a:pt x="11641" y="1975"/>
                  </a:lnTo>
                  <a:lnTo>
                    <a:pt x="11413" y="560"/>
                  </a:lnTo>
                  <a:lnTo>
                    <a:pt x="10854" y="90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40" name="Google Shape;311;p29">
              <a:extLst>
                <a:ext uri="{FF2B5EF4-FFF2-40B4-BE49-F238E27FC236}">
                  <a16:creationId xmlns:a16="http://schemas.microsoft.com/office/drawing/2014/main" id="{24129E86-15A5-484D-A23F-0D46FD8BD2D7}"/>
                </a:ext>
              </a:extLst>
            </p:cNvPr>
            <p:cNvSpPr/>
            <p:nvPr/>
          </p:nvSpPr>
          <p:spPr>
            <a:xfrm>
              <a:off x="3775325" y="2797425"/>
              <a:ext cx="236250" cy="218550"/>
            </a:xfrm>
            <a:custGeom>
              <a:avLst/>
              <a:gdLst/>
              <a:ahLst/>
              <a:cxnLst/>
              <a:rect l="l" t="t" r="r" b="b"/>
              <a:pathLst>
                <a:path w="9450" h="8742" extrusionOk="0">
                  <a:moveTo>
                    <a:pt x="9130" y="1256"/>
                  </a:moveTo>
                  <a:lnTo>
                    <a:pt x="8982" y="1278"/>
                  </a:lnTo>
                  <a:lnTo>
                    <a:pt x="8423" y="286"/>
                  </a:lnTo>
                  <a:lnTo>
                    <a:pt x="8240" y="251"/>
                  </a:lnTo>
                  <a:lnTo>
                    <a:pt x="7624" y="753"/>
                  </a:lnTo>
                  <a:lnTo>
                    <a:pt x="7019" y="502"/>
                  </a:lnTo>
                  <a:lnTo>
                    <a:pt x="6585" y="445"/>
                  </a:lnTo>
                  <a:lnTo>
                    <a:pt x="6357" y="571"/>
                  </a:lnTo>
                  <a:lnTo>
                    <a:pt x="5889" y="537"/>
                  </a:lnTo>
                  <a:lnTo>
                    <a:pt x="5421" y="925"/>
                  </a:lnTo>
                  <a:lnTo>
                    <a:pt x="5022" y="959"/>
                  </a:lnTo>
                  <a:lnTo>
                    <a:pt x="4052" y="480"/>
                  </a:lnTo>
                  <a:lnTo>
                    <a:pt x="3675" y="696"/>
                  </a:lnTo>
                  <a:lnTo>
                    <a:pt x="3264" y="685"/>
                  </a:lnTo>
                  <a:lnTo>
                    <a:pt x="2968" y="343"/>
                  </a:lnTo>
                  <a:lnTo>
                    <a:pt x="2169" y="0"/>
                  </a:lnTo>
                  <a:lnTo>
                    <a:pt x="1313" y="114"/>
                  </a:lnTo>
                  <a:lnTo>
                    <a:pt x="1107" y="308"/>
                  </a:lnTo>
                  <a:lnTo>
                    <a:pt x="993" y="822"/>
                  </a:lnTo>
                  <a:lnTo>
                    <a:pt x="765" y="1199"/>
                  </a:lnTo>
                  <a:lnTo>
                    <a:pt x="719" y="2009"/>
                  </a:lnTo>
                  <a:lnTo>
                    <a:pt x="697" y="2306"/>
                  </a:lnTo>
                  <a:lnTo>
                    <a:pt x="868" y="2853"/>
                  </a:lnTo>
                  <a:lnTo>
                    <a:pt x="708" y="3207"/>
                  </a:lnTo>
                  <a:lnTo>
                    <a:pt x="799" y="3447"/>
                  </a:lnTo>
                  <a:lnTo>
                    <a:pt x="411" y="4017"/>
                  </a:lnTo>
                  <a:lnTo>
                    <a:pt x="172" y="4291"/>
                  </a:lnTo>
                  <a:lnTo>
                    <a:pt x="23" y="4862"/>
                  </a:lnTo>
                  <a:lnTo>
                    <a:pt x="35" y="5444"/>
                  </a:lnTo>
                  <a:lnTo>
                    <a:pt x="0" y="6905"/>
                  </a:lnTo>
                  <a:lnTo>
                    <a:pt x="697" y="6905"/>
                  </a:lnTo>
                  <a:lnTo>
                    <a:pt x="1313" y="6905"/>
                  </a:lnTo>
                  <a:lnTo>
                    <a:pt x="1861" y="7498"/>
                  </a:lnTo>
                  <a:lnTo>
                    <a:pt x="2135" y="8160"/>
                  </a:lnTo>
                  <a:lnTo>
                    <a:pt x="2568" y="8719"/>
                  </a:lnTo>
                  <a:lnTo>
                    <a:pt x="3207" y="8742"/>
                  </a:lnTo>
                  <a:lnTo>
                    <a:pt x="3515" y="8548"/>
                  </a:lnTo>
                  <a:lnTo>
                    <a:pt x="3824" y="8582"/>
                  </a:lnTo>
                  <a:lnTo>
                    <a:pt x="4645" y="8263"/>
                  </a:lnTo>
                  <a:lnTo>
                    <a:pt x="4851" y="7612"/>
                  </a:lnTo>
                  <a:lnTo>
                    <a:pt x="5227" y="6745"/>
                  </a:lnTo>
                  <a:lnTo>
                    <a:pt x="5455" y="6733"/>
                  </a:lnTo>
                  <a:lnTo>
                    <a:pt x="5935" y="6208"/>
                  </a:lnTo>
                  <a:lnTo>
                    <a:pt x="6231" y="6186"/>
                  </a:lnTo>
                  <a:lnTo>
                    <a:pt x="6688" y="6562"/>
                  </a:lnTo>
                  <a:lnTo>
                    <a:pt x="7247" y="6243"/>
                  </a:lnTo>
                  <a:lnTo>
                    <a:pt x="7316" y="5878"/>
                  </a:lnTo>
                  <a:lnTo>
                    <a:pt x="7487" y="5501"/>
                  </a:lnTo>
                  <a:lnTo>
                    <a:pt x="7601" y="5044"/>
                  </a:lnTo>
                  <a:lnTo>
                    <a:pt x="8023" y="4679"/>
                  </a:lnTo>
                  <a:lnTo>
                    <a:pt x="8183" y="4029"/>
                  </a:lnTo>
                  <a:lnTo>
                    <a:pt x="8354" y="3835"/>
                  </a:lnTo>
                  <a:lnTo>
                    <a:pt x="8457" y="3367"/>
                  </a:lnTo>
                  <a:lnTo>
                    <a:pt x="8674" y="2796"/>
                  </a:lnTo>
                  <a:lnTo>
                    <a:pt x="9324" y="2077"/>
                  </a:lnTo>
                  <a:lnTo>
                    <a:pt x="9370" y="1781"/>
                  </a:lnTo>
                  <a:lnTo>
                    <a:pt x="9450" y="162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41" name="Google Shape;312;p29">
              <a:extLst>
                <a:ext uri="{FF2B5EF4-FFF2-40B4-BE49-F238E27FC236}">
                  <a16:creationId xmlns:a16="http://schemas.microsoft.com/office/drawing/2014/main" id="{2CA278A5-329B-4107-97D9-CD80F870EB7B}"/>
                </a:ext>
              </a:extLst>
            </p:cNvPr>
            <p:cNvSpPr/>
            <p:nvPr/>
          </p:nvSpPr>
          <p:spPr>
            <a:xfrm>
              <a:off x="1977050" y="2771450"/>
              <a:ext cx="94450" cy="97325"/>
            </a:xfrm>
            <a:custGeom>
              <a:avLst/>
              <a:gdLst/>
              <a:ahLst/>
              <a:cxnLst/>
              <a:rect l="l" t="t" r="r" b="b"/>
              <a:pathLst>
                <a:path w="3778" h="3893" extrusionOk="0">
                  <a:moveTo>
                    <a:pt x="3778" y="24"/>
                  </a:moveTo>
                  <a:lnTo>
                    <a:pt x="3515" y="1"/>
                  </a:lnTo>
                  <a:lnTo>
                    <a:pt x="3378" y="126"/>
                  </a:lnTo>
                  <a:lnTo>
                    <a:pt x="3093" y="240"/>
                  </a:lnTo>
                  <a:lnTo>
                    <a:pt x="2899" y="240"/>
                  </a:lnTo>
                  <a:lnTo>
                    <a:pt x="2716" y="355"/>
                  </a:lnTo>
                  <a:lnTo>
                    <a:pt x="2557" y="309"/>
                  </a:lnTo>
                  <a:lnTo>
                    <a:pt x="2431" y="183"/>
                  </a:lnTo>
                  <a:lnTo>
                    <a:pt x="2340" y="206"/>
                  </a:lnTo>
                  <a:lnTo>
                    <a:pt x="2226" y="423"/>
                  </a:lnTo>
                  <a:lnTo>
                    <a:pt x="2157" y="412"/>
                  </a:lnTo>
                  <a:lnTo>
                    <a:pt x="2112" y="594"/>
                  </a:lnTo>
                  <a:lnTo>
                    <a:pt x="1815" y="857"/>
                  </a:lnTo>
                  <a:lnTo>
                    <a:pt x="1655" y="948"/>
                  </a:lnTo>
                  <a:lnTo>
                    <a:pt x="1575" y="1062"/>
                  </a:lnTo>
                  <a:lnTo>
                    <a:pt x="1358" y="879"/>
                  </a:lnTo>
                  <a:lnTo>
                    <a:pt x="1153" y="1119"/>
                  </a:lnTo>
                  <a:lnTo>
                    <a:pt x="982" y="1119"/>
                  </a:lnTo>
                  <a:lnTo>
                    <a:pt x="799" y="1153"/>
                  </a:lnTo>
                  <a:lnTo>
                    <a:pt x="776" y="1598"/>
                  </a:lnTo>
                  <a:lnTo>
                    <a:pt x="662" y="1598"/>
                  </a:lnTo>
                  <a:lnTo>
                    <a:pt x="548" y="1804"/>
                  </a:lnTo>
                  <a:lnTo>
                    <a:pt x="286" y="1850"/>
                  </a:lnTo>
                  <a:lnTo>
                    <a:pt x="229" y="1907"/>
                  </a:lnTo>
                  <a:lnTo>
                    <a:pt x="103" y="1770"/>
                  </a:lnTo>
                  <a:lnTo>
                    <a:pt x="0" y="1907"/>
                  </a:lnTo>
                  <a:lnTo>
                    <a:pt x="377" y="2317"/>
                  </a:lnTo>
                  <a:lnTo>
                    <a:pt x="685" y="2603"/>
                  </a:lnTo>
                  <a:lnTo>
                    <a:pt x="833" y="2911"/>
                  </a:lnTo>
                  <a:lnTo>
                    <a:pt x="1187" y="3276"/>
                  </a:lnTo>
                  <a:lnTo>
                    <a:pt x="1438" y="3561"/>
                  </a:lnTo>
                  <a:lnTo>
                    <a:pt x="1575" y="3447"/>
                  </a:lnTo>
                  <a:lnTo>
                    <a:pt x="2066" y="3687"/>
                  </a:lnTo>
                  <a:lnTo>
                    <a:pt x="2271" y="3573"/>
                  </a:lnTo>
                  <a:lnTo>
                    <a:pt x="2511" y="3653"/>
                  </a:lnTo>
                  <a:lnTo>
                    <a:pt x="2625" y="3835"/>
                  </a:lnTo>
                  <a:lnTo>
                    <a:pt x="2865" y="3892"/>
                  </a:lnTo>
                  <a:lnTo>
                    <a:pt x="3070" y="3710"/>
                  </a:lnTo>
                  <a:lnTo>
                    <a:pt x="2956" y="3550"/>
                  </a:lnTo>
                  <a:lnTo>
                    <a:pt x="2933" y="3299"/>
                  </a:lnTo>
                  <a:lnTo>
                    <a:pt x="3104" y="3071"/>
                  </a:lnTo>
                  <a:lnTo>
                    <a:pt x="3082" y="2831"/>
                  </a:lnTo>
                  <a:lnTo>
                    <a:pt x="3184" y="2443"/>
                  </a:lnTo>
                  <a:lnTo>
                    <a:pt x="3310" y="2352"/>
                  </a:lnTo>
                  <a:lnTo>
                    <a:pt x="3321" y="1952"/>
                  </a:lnTo>
                  <a:lnTo>
                    <a:pt x="3298" y="1713"/>
                  </a:lnTo>
                  <a:lnTo>
                    <a:pt x="3356" y="1302"/>
                  </a:lnTo>
                  <a:lnTo>
                    <a:pt x="3481" y="948"/>
                  </a:lnTo>
                  <a:lnTo>
                    <a:pt x="3675" y="640"/>
                  </a:lnTo>
                  <a:lnTo>
                    <a:pt x="3641" y="309"/>
                  </a:lnTo>
                  <a:lnTo>
                    <a:pt x="3698" y="11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42" name="Google Shape;313;p29">
              <a:extLst>
                <a:ext uri="{FF2B5EF4-FFF2-40B4-BE49-F238E27FC236}">
                  <a16:creationId xmlns:a16="http://schemas.microsoft.com/office/drawing/2014/main" id="{D6BF8463-67E8-40E0-A506-71E4394A3902}"/>
                </a:ext>
              </a:extLst>
            </p:cNvPr>
            <p:cNvSpPr/>
            <p:nvPr/>
          </p:nvSpPr>
          <p:spPr>
            <a:xfrm>
              <a:off x="3778450" y="1905550"/>
              <a:ext cx="63375" cy="58800"/>
            </a:xfrm>
            <a:custGeom>
              <a:avLst/>
              <a:gdLst/>
              <a:ahLst/>
              <a:cxnLst/>
              <a:rect l="l" t="t" r="r" b="b"/>
              <a:pathLst>
                <a:path w="2535" h="2352" extrusionOk="0">
                  <a:moveTo>
                    <a:pt x="1827" y="1439"/>
                  </a:moveTo>
                  <a:lnTo>
                    <a:pt x="2238" y="1439"/>
                  </a:lnTo>
                  <a:lnTo>
                    <a:pt x="2398" y="1108"/>
                  </a:lnTo>
                  <a:lnTo>
                    <a:pt x="2534" y="309"/>
                  </a:lnTo>
                  <a:lnTo>
                    <a:pt x="2398" y="24"/>
                  </a:lnTo>
                  <a:lnTo>
                    <a:pt x="1838" y="1"/>
                  </a:lnTo>
                  <a:lnTo>
                    <a:pt x="914" y="366"/>
                  </a:lnTo>
                  <a:lnTo>
                    <a:pt x="355" y="1633"/>
                  </a:lnTo>
                  <a:lnTo>
                    <a:pt x="1" y="1884"/>
                  </a:lnTo>
                  <a:lnTo>
                    <a:pt x="1" y="1884"/>
                  </a:lnTo>
                  <a:lnTo>
                    <a:pt x="515" y="1952"/>
                  </a:lnTo>
                  <a:lnTo>
                    <a:pt x="1142" y="1770"/>
                  </a:lnTo>
                  <a:lnTo>
                    <a:pt x="1587" y="2146"/>
                  </a:lnTo>
                  <a:lnTo>
                    <a:pt x="1987" y="235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43" name="Google Shape;314;p29">
              <a:extLst>
                <a:ext uri="{FF2B5EF4-FFF2-40B4-BE49-F238E27FC236}">
                  <a16:creationId xmlns:a16="http://schemas.microsoft.com/office/drawing/2014/main" id="{72EEE3E8-60BA-4BEB-A5C4-178035CDF8D4}"/>
                </a:ext>
              </a:extLst>
            </p:cNvPr>
            <p:cNvSpPr/>
            <p:nvPr/>
          </p:nvSpPr>
          <p:spPr>
            <a:xfrm>
              <a:off x="3799850" y="1383450"/>
              <a:ext cx="372075" cy="424550"/>
            </a:xfrm>
            <a:custGeom>
              <a:avLst/>
              <a:gdLst/>
              <a:ahLst/>
              <a:cxnLst/>
              <a:rect l="l" t="t" r="r" b="b"/>
              <a:pathLst>
                <a:path w="14883" h="16982" extrusionOk="0">
                  <a:moveTo>
                    <a:pt x="12851" y="6517"/>
                  </a:moveTo>
                  <a:lnTo>
                    <a:pt x="11870" y="6665"/>
                  </a:lnTo>
                  <a:lnTo>
                    <a:pt x="10820" y="6631"/>
                  </a:lnTo>
                  <a:lnTo>
                    <a:pt x="10101" y="7259"/>
                  </a:lnTo>
                  <a:lnTo>
                    <a:pt x="9142" y="7213"/>
                  </a:lnTo>
                  <a:lnTo>
                    <a:pt x="7932" y="7544"/>
                  </a:lnTo>
                  <a:lnTo>
                    <a:pt x="6494" y="8514"/>
                  </a:lnTo>
                  <a:lnTo>
                    <a:pt x="5581" y="9085"/>
                  </a:lnTo>
                  <a:lnTo>
                    <a:pt x="4326" y="10602"/>
                  </a:lnTo>
                  <a:lnTo>
                    <a:pt x="3310" y="11721"/>
                  </a:lnTo>
                  <a:lnTo>
                    <a:pt x="2158" y="12554"/>
                  </a:lnTo>
                  <a:lnTo>
                    <a:pt x="549" y="13239"/>
                  </a:lnTo>
                  <a:lnTo>
                    <a:pt x="1" y="13752"/>
                  </a:lnTo>
                  <a:lnTo>
                    <a:pt x="263" y="15658"/>
                  </a:lnTo>
                  <a:lnTo>
                    <a:pt x="537" y="16560"/>
                  </a:lnTo>
                  <a:lnTo>
                    <a:pt x="1450" y="16982"/>
                  </a:lnTo>
                  <a:lnTo>
                    <a:pt x="2306" y="16788"/>
                  </a:lnTo>
                  <a:lnTo>
                    <a:pt x="3516" y="15818"/>
                  </a:lnTo>
                  <a:lnTo>
                    <a:pt x="3995" y="16331"/>
                  </a:lnTo>
                  <a:lnTo>
                    <a:pt x="4235" y="15863"/>
                  </a:lnTo>
                  <a:lnTo>
                    <a:pt x="4726" y="15293"/>
                  </a:lnTo>
                  <a:lnTo>
                    <a:pt x="4851" y="14300"/>
                  </a:lnTo>
                  <a:lnTo>
                    <a:pt x="4406" y="13889"/>
                  </a:lnTo>
                  <a:lnTo>
                    <a:pt x="4269" y="12805"/>
                  </a:lnTo>
                  <a:lnTo>
                    <a:pt x="4589" y="12052"/>
                  </a:lnTo>
                  <a:lnTo>
                    <a:pt x="5205" y="12063"/>
                  </a:lnTo>
                  <a:lnTo>
                    <a:pt x="5387" y="11755"/>
                  </a:lnTo>
                  <a:lnTo>
                    <a:pt x="5136" y="11481"/>
                  </a:lnTo>
                  <a:lnTo>
                    <a:pt x="5947" y="10351"/>
                  </a:lnTo>
                  <a:lnTo>
                    <a:pt x="6437" y="9484"/>
                  </a:lnTo>
                  <a:lnTo>
                    <a:pt x="6745" y="8925"/>
                  </a:lnTo>
                  <a:lnTo>
                    <a:pt x="7316" y="8936"/>
                  </a:lnTo>
                  <a:lnTo>
                    <a:pt x="7407" y="8491"/>
                  </a:lnTo>
                  <a:lnTo>
                    <a:pt x="8526" y="8628"/>
                  </a:lnTo>
                  <a:lnTo>
                    <a:pt x="8526" y="8126"/>
                  </a:lnTo>
                  <a:lnTo>
                    <a:pt x="8891" y="8080"/>
                  </a:lnTo>
                  <a:lnTo>
                    <a:pt x="9188" y="7886"/>
                  </a:lnTo>
                  <a:lnTo>
                    <a:pt x="9918" y="8297"/>
                  </a:lnTo>
                  <a:lnTo>
                    <a:pt x="10671" y="8252"/>
                  </a:lnTo>
                  <a:lnTo>
                    <a:pt x="11345" y="8434"/>
                  </a:lnTo>
                  <a:lnTo>
                    <a:pt x="11824" y="8092"/>
                  </a:lnTo>
                  <a:lnTo>
                    <a:pt x="11984" y="7544"/>
                  </a:lnTo>
                  <a:lnTo>
                    <a:pt x="12805" y="7281"/>
                  </a:lnTo>
                  <a:lnTo>
                    <a:pt x="13627" y="7578"/>
                  </a:lnTo>
                  <a:lnTo>
                    <a:pt x="13513" y="8126"/>
                  </a:lnTo>
                  <a:lnTo>
                    <a:pt x="13969" y="8058"/>
                  </a:lnTo>
                  <a:lnTo>
                    <a:pt x="14882" y="7738"/>
                  </a:lnTo>
                  <a:lnTo>
                    <a:pt x="14882" y="7738"/>
                  </a:lnTo>
                  <a:lnTo>
                    <a:pt x="14106" y="7270"/>
                  </a:lnTo>
                  <a:lnTo>
                    <a:pt x="14791" y="7065"/>
                  </a:lnTo>
                  <a:close/>
                  <a:moveTo>
                    <a:pt x="9633" y="1769"/>
                  </a:moveTo>
                  <a:lnTo>
                    <a:pt x="8834" y="1621"/>
                  </a:lnTo>
                  <a:lnTo>
                    <a:pt x="8560" y="1381"/>
                  </a:lnTo>
                  <a:lnTo>
                    <a:pt x="7533" y="1507"/>
                  </a:lnTo>
                  <a:lnTo>
                    <a:pt x="7898" y="1724"/>
                  </a:lnTo>
                  <a:lnTo>
                    <a:pt x="7590" y="1895"/>
                  </a:lnTo>
                  <a:lnTo>
                    <a:pt x="8537" y="2055"/>
                  </a:lnTo>
                  <a:close/>
                  <a:moveTo>
                    <a:pt x="6004" y="583"/>
                  </a:moveTo>
                  <a:lnTo>
                    <a:pt x="5319" y="354"/>
                  </a:lnTo>
                  <a:lnTo>
                    <a:pt x="4589" y="377"/>
                  </a:lnTo>
                  <a:lnTo>
                    <a:pt x="4452" y="594"/>
                  </a:lnTo>
                  <a:lnTo>
                    <a:pt x="3733" y="594"/>
                  </a:lnTo>
                  <a:lnTo>
                    <a:pt x="3425" y="377"/>
                  </a:lnTo>
                  <a:lnTo>
                    <a:pt x="2101" y="605"/>
                  </a:lnTo>
                  <a:lnTo>
                    <a:pt x="2557" y="1107"/>
                  </a:lnTo>
                  <a:lnTo>
                    <a:pt x="3641" y="1655"/>
                  </a:lnTo>
                  <a:lnTo>
                    <a:pt x="4452" y="1849"/>
                  </a:lnTo>
                  <a:lnTo>
                    <a:pt x="4018" y="2089"/>
                  </a:lnTo>
                  <a:lnTo>
                    <a:pt x="5216" y="2511"/>
                  </a:lnTo>
                  <a:lnTo>
                    <a:pt x="5844" y="2477"/>
                  </a:lnTo>
                  <a:lnTo>
                    <a:pt x="5981" y="1918"/>
                  </a:lnTo>
                  <a:lnTo>
                    <a:pt x="6403" y="1792"/>
                  </a:lnTo>
                  <a:lnTo>
                    <a:pt x="6574" y="1313"/>
                  </a:lnTo>
                  <a:lnTo>
                    <a:pt x="7784" y="1050"/>
                  </a:lnTo>
                  <a:close/>
                  <a:moveTo>
                    <a:pt x="9462" y="137"/>
                  </a:moveTo>
                  <a:lnTo>
                    <a:pt x="8161" y="1"/>
                  </a:lnTo>
                  <a:lnTo>
                    <a:pt x="7704" y="172"/>
                  </a:lnTo>
                  <a:lnTo>
                    <a:pt x="6951" y="23"/>
                  </a:lnTo>
                  <a:lnTo>
                    <a:pt x="5467" y="195"/>
                  </a:lnTo>
                  <a:lnTo>
                    <a:pt x="6072" y="480"/>
                  </a:lnTo>
                  <a:lnTo>
                    <a:pt x="6803" y="480"/>
                  </a:lnTo>
                  <a:lnTo>
                    <a:pt x="6928" y="662"/>
                  </a:lnTo>
                  <a:lnTo>
                    <a:pt x="8446" y="765"/>
                  </a:lnTo>
                  <a:lnTo>
                    <a:pt x="9884" y="697"/>
                  </a:lnTo>
                  <a:lnTo>
                    <a:pt x="10500" y="35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44" name="Google Shape;315;p29">
              <a:extLst>
                <a:ext uri="{FF2B5EF4-FFF2-40B4-BE49-F238E27FC236}">
                  <a16:creationId xmlns:a16="http://schemas.microsoft.com/office/drawing/2014/main" id="{BF032F53-9719-48A4-AF08-66650C8FE10A}"/>
                </a:ext>
              </a:extLst>
            </p:cNvPr>
            <p:cNvSpPr/>
            <p:nvPr/>
          </p:nvSpPr>
          <p:spPr>
            <a:xfrm>
              <a:off x="5268050" y="2421950"/>
              <a:ext cx="165500" cy="91050"/>
            </a:xfrm>
            <a:custGeom>
              <a:avLst/>
              <a:gdLst/>
              <a:ahLst/>
              <a:cxnLst/>
              <a:rect l="l" t="t" r="r" b="b"/>
              <a:pathLst>
                <a:path w="6620" h="3642" extrusionOk="0">
                  <a:moveTo>
                    <a:pt x="6391" y="2306"/>
                  </a:moveTo>
                  <a:lnTo>
                    <a:pt x="5466" y="2226"/>
                  </a:lnTo>
                  <a:lnTo>
                    <a:pt x="4554" y="2009"/>
                  </a:lnTo>
                  <a:lnTo>
                    <a:pt x="3835" y="1610"/>
                  </a:lnTo>
                  <a:lnTo>
                    <a:pt x="3195" y="1439"/>
                  </a:lnTo>
                  <a:lnTo>
                    <a:pt x="2842" y="994"/>
                  </a:lnTo>
                  <a:lnTo>
                    <a:pt x="2385" y="868"/>
                  </a:lnTo>
                  <a:lnTo>
                    <a:pt x="1472" y="286"/>
                  </a:lnTo>
                  <a:lnTo>
                    <a:pt x="799" y="1"/>
                  </a:lnTo>
                  <a:lnTo>
                    <a:pt x="525" y="206"/>
                  </a:lnTo>
                  <a:lnTo>
                    <a:pt x="126" y="617"/>
                  </a:lnTo>
                  <a:lnTo>
                    <a:pt x="0" y="1462"/>
                  </a:lnTo>
                  <a:lnTo>
                    <a:pt x="810" y="1815"/>
                  </a:lnTo>
                  <a:lnTo>
                    <a:pt x="1643" y="2260"/>
                  </a:lnTo>
                  <a:lnTo>
                    <a:pt x="2739" y="2763"/>
                  </a:lnTo>
                  <a:lnTo>
                    <a:pt x="3823" y="2888"/>
                  </a:lnTo>
                  <a:lnTo>
                    <a:pt x="4359" y="3345"/>
                  </a:lnTo>
                  <a:lnTo>
                    <a:pt x="4976" y="3436"/>
                  </a:lnTo>
                  <a:lnTo>
                    <a:pt x="5946" y="3641"/>
                  </a:lnTo>
                  <a:lnTo>
                    <a:pt x="6608" y="3630"/>
                  </a:lnTo>
                  <a:lnTo>
                    <a:pt x="6619" y="3276"/>
                  </a:lnTo>
                  <a:lnTo>
                    <a:pt x="6402" y="269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45" name="Google Shape;316;p29">
              <a:extLst>
                <a:ext uri="{FF2B5EF4-FFF2-40B4-BE49-F238E27FC236}">
                  <a16:creationId xmlns:a16="http://schemas.microsoft.com/office/drawing/2014/main" id="{A563D848-067F-48C7-A1E8-3D72E1B91DD3}"/>
                </a:ext>
              </a:extLst>
            </p:cNvPr>
            <p:cNvSpPr/>
            <p:nvPr/>
          </p:nvSpPr>
          <p:spPr>
            <a:xfrm>
              <a:off x="6693125" y="3893550"/>
              <a:ext cx="362375" cy="274500"/>
            </a:xfrm>
            <a:custGeom>
              <a:avLst/>
              <a:gdLst/>
              <a:ahLst/>
              <a:cxnLst/>
              <a:rect l="l" t="t" r="r" b="b"/>
              <a:pathLst>
                <a:path w="14495" h="10980" extrusionOk="0">
                  <a:moveTo>
                    <a:pt x="8366" y="5924"/>
                  </a:moveTo>
                  <a:lnTo>
                    <a:pt x="8492" y="5559"/>
                  </a:lnTo>
                  <a:lnTo>
                    <a:pt x="7659" y="5969"/>
                  </a:lnTo>
                  <a:lnTo>
                    <a:pt x="7179" y="6449"/>
                  </a:lnTo>
                  <a:lnTo>
                    <a:pt x="6723" y="6677"/>
                  </a:lnTo>
                  <a:lnTo>
                    <a:pt x="5878" y="7339"/>
                  </a:lnTo>
                  <a:lnTo>
                    <a:pt x="5079" y="7795"/>
                  </a:lnTo>
                  <a:lnTo>
                    <a:pt x="4087" y="8252"/>
                  </a:lnTo>
                  <a:lnTo>
                    <a:pt x="3299" y="8594"/>
                  </a:lnTo>
                  <a:lnTo>
                    <a:pt x="2683" y="8754"/>
                  </a:lnTo>
                  <a:lnTo>
                    <a:pt x="1074" y="9621"/>
                  </a:lnTo>
                  <a:lnTo>
                    <a:pt x="161" y="10272"/>
                  </a:lnTo>
                  <a:lnTo>
                    <a:pt x="1" y="10603"/>
                  </a:lnTo>
                  <a:lnTo>
                    <a:pt x="731" y="10660"/>
                  </a:lnTo>
                  <a:lnTo>
                    <a:pt x="948" y="10957"/>
                  </a:lnTo>
                  <a:lnTo>
                    <a:pt x="1587" y="10979"/>
                  </a:lnTo>
                  <a:lnTo>
                    <a:pt x="2158" y="10717"/>
                  </a:lnTo>
                  <a:lnTo>
                    <a:pt x="3059" y="10317"/>
                  </a:lnTo>
                  <a:lnTo>
                    <a:pt x="4212" y="9439"/>
                  </a:lnTo>
                  <a:lnTo>
                    <a:pt x="4874" y="8845"/>
                  </a:lnTo>
                  <a:lnTo>
                    <a:pt x="5764" y="8526"/>
                  </a:lnTo>
                  <a:lnTo>
                    <a:pt x="6335" y="8503"/>
                  </a:lnTo>
                  <a:lnTo>
                    <a:pt x="6415" y="8092"/>
                  </a:lnTo>
                  <a:lnTo>
                    <a:pt x="7077" y="7738"/>
                  </a:lnTo>
                  <a:lnTo>
                    <a:pt x="8069" y="7099"/>
                  </a:lnTo>
                  <a:lnTo>
                    <a:pt x="8674" y="6677"/>
                  </a:lnTo>
                  <a:lnTo>
                    <a:pt x="8971" y="6312"/>
                  </a:lnTo>
                  <a:lnTo>
                    <a:pt x="9039" y="5935"/>
                  </a:lnTo>
                  <a:lnTo>
                    <a:pt x="8241" y="6300"/>
                  </a:lnTo>
                  <a:close/>
                  <a:moveTo>
                    <a:pt x="12475" y="1576"/>
                  </a:moveTo>
                  <a:lnTo>
                    <a:pt x="12737" y="754"/>
                  </a:lnTo>
                  <a:lnTo>
                    <a:pt x="12303" y="514"/>
                  </a:lnTo>
                  <a:lnTo>
                    <a:pt x="12189" y="1"/>
                  </a:lnTo>
                  <a:lnTo>
                    <a:pt x="11858" y="69"/>
                  </a:lnTo>
                  <a:lnTo>
                    <a:pt x="11801" y="731"/>
                  </a:lnTo>
                  <a:lnTo>
                    <a:pt x="11915" y="1541"/>
                  </a:lnTo>
                  <a:lnTo>
                    <a:pt x="12041" y="1929"/>
                  </a:lnTo>
                  <a:lnTo>
                    <a:pt x="11915" y="2089"/>
                  </a:lnTo>
                  <a:lnTo>
                    <a:pt x="11824" y="2717"/>
                  </a:lnTo>
                  <a:lnTo>
                    <a:pt x="11482" y="3299"/>
                  </a:lnTo>
                  <a:lnTo>
                    <a:pt x="10888" y="4018"/>
                  </a:lnTo>
                  <a:lnTo>
                    <a:pt x="10135" y="4326"/>
                  </a:lnTo>
                  <a:lnTo>
                    <a:pt x="9884" y="4668"/>
                  </a:lnTo>
                  <a:lnTo>
                    <a:pt x="10420" y="5022"/>
                  </a:lnTo>
                  <a:lnTo>
                    <a:pt x="10306" y="5524"/>
                  </a:lnTo>
                  <a:lnTo>
                    <a:pt x="9313" y="6255"/>
                  </a:lnTo>
                  <a:lnTo>
                    <a:pt x="9519" y="6380"/>
                  </a:lnTo>
                  <a:lnTo>
                    <a:pt x="9462" y="6608"/>
                  </a:lnTo>
                  <a:lnTo>
                    <a:pt x="10306" y="6255"/>
                  </a:lnTo>
                  <a:lnTo>
                    <a:pt x="11139" y="5650"/>
                  </a:lnTo>
                  <a:lnTo>
                    <a:pt x="11790" y="5171"/>
                  </a:lnTo>
                  <a:lnTo>
                    <a:pt x="12018" y="4999"/>
                  </a:lnTo>
                  <a:lnTo>
                    <a:pt x="12223" y="4611"/>
                  </a:lnTo>
                  <a:lnTo>
                    <a:pt x="12623" y="4326"/>
                  </a:lnTo>
                  <a:lnTo>
                    <a:pt x="13171" y="4360"/>
                  </a:lnTo>
                  <a:lnTo>
                    <a:pt x="13764" y="3812"/>
                  </a:lnTo>
                  <a:lnTo>
                    <a:pt x="14494" y="3002"/>
                  </a:lnTo>
                  <a:lnTo>
                    <a:pt x="14198" y="2888"/>
                  </a:lnTo>
                  <a:lnTo>
                    <a:pt x="13536" y="3242"/>
                  </a:lnTo>
                  <a:lnTo>
                    <a:pt x="13079" y="3173"/>
                  </a:lnTo>
                  <a:lnTo>
                    <a:pt x="12669" y="2877"/>
                  </a:lnTo>
                  <a:lnTo>
                    <a:pt x="12999" y="2169"/>
                  </a:lnTo>
                  <a:lnTo>
                    <a:pt x="12828" y="1918"/>
                  </a:lnTo>
                  <a:lnTo>
                    <a:pt x="12406" y="2546"/>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46" name="Google Shape;317;p29">
              <a:extLst>
                <a:ext uri="{FF2B5EF4-FFF2-40B4-BE49-F238E27FC236}">
                  <a16:creationId xmlns:a16="http://schemas.microsoft.com/office/drawing/2014/main" id="{2F300103-DA8C-4C3A-B823-A70A2973CCB8}"/>
                </a:ext>
              </a:extLst>
            </p:cNvPr>
            <p:cNvSpPr/>
            <p:nvPr/>
          </p:nvSpPr>
          <p:spPr>
            <a:xfrm>
              <a:off x="4746775" y="2513250"/>
              <a:ext cx="147250" cy="221150"/>
            </a:xfrm>
            <a:custGeom>
              <a:avLst/>
              <a:gdLst/>
              <a:ahLst/>
              <a:cxnLst/>
              <a:rect l="l" t="t" r="r" b="b"/>
              <a:pathLst>
                <a:path w="5890" h="8846" extrusionOk="0">
                  <a:moveTo>
                    <a:pt x="5251" y="4794"/>
                  </a:moveTo>
                  <a:lnTo>
                    <a:pt x="5547" y="4509"/>
                  </a:lnTo>
                  <a:lnTo>
                    <a:pt x="5661" y="4246"/>
                  </a:lnTo>
                  <a:lnTo>
                    <a:pt x="5890" y="3710"/>
                  </a:lnTo>
                  <a:lnTo>
                    <a:pt x="5867" y="3504"/>
                  </a:lnTo>
                  <a:lnTo>
                    <a:pt x="5570" y="3390"/>
                  </a:lnTo>
                  <a:lnTo>
                    <a:pt x="5342" y="3093"/>
                  </a:lnTo>
                  <a:lnTo>
                    <a:pt x="4931" y="2568"/>
                  </a:lnTo>
                  <a:lnTo>
                    <a:pt x="4463" y="2409"/>
                  </a:lnTo>
                  <a:lnTo>
                    <a:pt x="3881" y="2283"/>
                  </a:lnTo>
                  <a:lnTo>
                    <a:pt x="3402" y="1952"/>
                  </a:lnTo>
                  <a:lnTo>
                    <a:pt x="2991" y="1336"/>
                  </a:lnTo>
                  <a:lnTo>
                    <a:pt x="2592" y="1336"/>
                  </a:lnTo>
                  <a:lnTo>
                    <a:pt x="2580" y="1929"/>
                  </a:lnTo>
                  <a:lnTo>
                    <a:pt x="2740" y="2055"/>
                  </a:lnTo>
                  <a:lnTo>
                    <a:pt x="2398" y="2238"/>
                  </a:lnTo>
                  <a:lnTo>
                    <a:pt x="2432" y="2603"/>
                  </a:lnTo>
                  <a:lnTo>
                    <a:pt x="2238" y="2979"/>
                  </a:lnTo>
                  <a:lnTo>
                    <a:pt x="2249" y="3344"/>
                  </a:lnTo>
                  <a:lnTo>
                    <a:pt x="2660" y="3995"/>
                  </a:lnTo>
                  <a:lnTo>
                    <a:pt x="2295" y="5798"/>
                  </a:lnTo>
                  <a:lnTo>
                    <a:pt x="1" y="6711"/>
                  </a:lnTo>
                  <a:lnTo>
                    <a:pt x="743" y="8217"/>
                  </a:lnTo>
                  <a:lnTo>
                    <a:pt x="1039" y="8845"/>
                  </a:lnTo>
                  <a:lnTo>
                    <a:pt x="1393" y="8800"/>
                  </a:lnTo>
                  <a:lnTo>
                    <a:pt x="1907" y="8480"/>
                  </a:lnTo>
                  <a:lnTo>
                    <a:pt x="2352" y="8571"/>
                  </a:lnTo>
                  <a:lnTo>
                    <a:pt x="2706" y="8309"/>
                  </a:lnTo>
                  <a:lnTo>
                    <a:pt x="2671" y="7955"/>
                  </a:lnTo>
                  <a:lnTo>
                    <a:pt x="2980" y="7727"/>
                  </a:lnTo>
                  <a:lnTo>
                    <a:pt x="3459" y="7727"/>
                  </a:lnTo>
                  <a:lnTo>
                    <a:pt x="3630" y="7544"/>
                  </a:lnTo>
                  <a:lnTo>
                    <a:pt x="3664" y="7099"/>
                  </a:lnTo>
                  <a:lnTo>
                    <a:pt x="4132" y="6757"/>
                  </a:lnTo>
                  <a:lnTo>
                    <a:pt x="4497" y="6757"/>
                  </a:lnTo>
                  <a:lnTo>
                    <a:pt x="4554" y="6643"/>
                  </a:lnTo>
                  <a:lnTo>
                    <a:pt x="4417" y="6049"/>
                  </a:lnTo>
                  <a:lnTo>
                    <a:pt x="4497" y="5593"/>
                  </a:lnTo>
                  <a:lnTo>
                    <a:pt x="4646" y="5376"/>
                  </a:lnTo>
                  <a:lnTo>
                    <a:pt x="4999" y="5421"/>
                  </a:lnTo>
                  <a:close/>
                  <a:moveTo>
                    <a:pt x="2877" y="457"/>
                  </a:moveTo>
                  <a:lnTo>
                    <a:pt x="2911" y="81"/>
                  </a:lnTo>
                  <a:lnTo>
                    <a:pt x="2808" y="1"/>
                  </a:lnTo>
                  <a:lnTo>
                    <a:pt x="2626" y="309"/>
                  </a:lnTo>
                  <a:lnTo>
                    <a:pt x="2808" y="62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47" name="Google Shape;318;p29">
              <a:extLst>
                <a:ext uri="{FF2B5EF4-FFF2-40B4-BE49-F238E27FC236}">
                  <a16:creationId xmlns:a16="http://schemas.microsoft.com/office/drawing/2014/main" id="{9DF328F9-8C34-4C03-B746-379504D67E4E}"/>
                </a:ext>
              </a:extLst>
            </p:cNvPr>
            <p:cNvSpPr/>
            <p:nvPr/>
          </p:nvSpPr>
          <p:spPr>
            <a:xfrm>
              <a:off x="4893150" y="2268750"/>
              <a:ext cx="296175" cy="305875"/>
            </a:xfrm>
            <a:custGeom>
              <a:avLst/>
              <a:gdLst/>
              <a:ahLst/>
              <a:cxnLst/>
              <a:rect l="l" t="t" r="r" b="b"/>
              <a:pathLst>
                <a:path w="11847" h="12235" extrusionOk="0">
                  <a:moveTo>
                    <a:pt x="11846" y="1518"/>
                  </a:moveTo>
                  <a:lnTo>
                    <a:pt x="10500" y="1142"/>
                  </a:lnTo>
                  <a:lnTo>
                    <a:pt x="10089" y="434"/>
                  </a:lnTo>
                  <a:lnTo>
                    <a:pt x="9415" y="0"/>
                  </a:lnTo>
                  <a:lnTo>
                    <a:pt x="9016" y="103"/>
                  </a:lnTo>
                  <a:lnTo>
                    <a:pt x="8674" y="274"/>
                  </a:lnTo>
                  <a:lnTo>
                    <a:pt x="7852" y="388"/>
                  </a:lnTo>
                  <a:lnTo>
                    <a:pt x="7087" y="571"/>
                  </a:lnTo>
                  <a:lnTo>
                    <a:pt x="6745" y="971"/>
                  </a:lnTo>
                  <a:lnTo>
                    <a:pt x="7019" y="1370"/>
                  </a:lnTo>
                  <a:lnTo>
                    <a:pt x="7224" y="1826"/>
                  </a:lnTo>
                  <a:lnTo>
                    <a:pt x="6939" y="2214"/>
                  </a:lnTo>
                  <a:lnTo>
                    <a:pt x="7053" y="2568"/>
                  </a:lnTo>
                  <a:lnTo>
                    <a:pt x="6916" y="2899"/>
                  </a:lnTo>
                  <a:lnTo>
                    <a:pt x="6197" y="2876"/>
                  </a:lnTo>
                  <a:lnTo>
                    <a:pt x="6619" y="3470"/>
                  </a:lnTo>
                  <a:lnTo>
                    <a:pt x="6197" y="3698"/>
                  </a:lnTo>
                  <a:lnTo>
                    <a:pt x="5980" y="4246"/>
                  </a:lnTo>
                  <a:lnTo>
                    <a:pt x="6140" y="4782"/>
                  </a:lnTo>
                  <a:lnTo>
                    <a:pt x="5889" y="5045"/>
                  </a:lnTo>
                  <a:lnTo>
                    <a:pt x="5592" y="4953"/>
                  </a:lnTo>
                  <a:lnTo>
                    <a:pt x="5022" y="5079"/>
                  </a:lnTo>
                  <a:lnTo>
                    <a:pt x="4999" y="5330"/>
                  </a:lnTo>
                  <a:lnTo>
                    <a:pt x="4428" y="5330"/>
                  </a:lnTo>
                  <a:lnTo>
                    <a:pt x="4097" y="5844"/>
                  </a:lnTo>
                  <a:lnTo>
                    <a:pt x="4212" y="6608"/>
                  </a:lnTo>
                  <a:lnTo>
                    <a:pt x="3264" y="6985"/>
                  </a:lnTo>
                  <a:lnTo>
                    <a:pt x="2728" y="6905"/>
                  </a:lnTo>
                  <a:lnTo>
                    <a:pt x="2602" y="7110"/>
                  </a:lnTo>
                  <a:lnTo>
                    <a:pt x="2123" y="6996"/>
                  </a:lnTo>
                  <a:lnTo>
                    <a:pt x="1370" y="7122"/>
                  </a:lnTo>
                  <a:lnTo>
                    <a:pt x="0" y="6665"/>
                  </a:lnTo>
                  <a:lnTo>
                    <a:pt x="457" y="7133"/>
                  </a:lnTo>
                  <a:lnTo>
                    <a:pt x="856" y="7692"/>
                  </a:lnTo>
                  <a:lnTo>
                    <a:pt x="1655" y="8080"/>
                  </a:lnTo>
                  <a:lnTo>
                    <a:pt x="1804" y="8891"/>
                  </a:lnTo>
                  <a:lnTo>
                    <a:pt x="2192" y="9028"/>
                  </a:lnTo>
                  <a:lnTo>
                    <a:pt x="2317" y="9450"/>
                  </a:lnTo>
                  <a:lnTo>
                    <a:pt x="1256" y="9918"/>
                  </a:lnTo>
                  <a:lnTo>
                    <a:pt x="1085" y="10968"/>
                  </a:lnTo>
                  <a:lnTo>
                    <a:pt x="2169" y="10842"/>
                  </a:lnTo>
                  <a:lnTo>
                    <a:pt x="3447" y="10831"/>
                  </a:lnTo>
                  <a:lnTo>
                    <a:pt x="4851" y="10659"/>
                  </a:lnTo>
                  <a:lnTo>
                    <a:pt x="5558" y="11344"/>
                  </a:lnTo>
                  <a:lnTo>
                    <a:pt x="5855" y="11995"/>
                  </a:lnTo>
                  <a:lnTo>
                    <a:pt x="6448" y="12234"/>
                  </a:lnTo>
                  <a:lnTo>
                    <a:pt x="6905" y="11629"/>
                  </a:lnTo>
                  <a:lnTo>
                    <a:pt x="8617" y="11629"/>
                  </a:lnTo>
                  <a:lnTo>
                    <a:pt x="8366" y="10842"/>
                  </a:lnTo>
                  <a:lnTo>
                    <a:pt x="7863" y="10386"/>
                  </a:lnTo>
                  <a:lnTo>
                    <a:pt x="7681" y="9689"/>
                  </a:lnTo>
                  <a:lnTo>
                    <a:pt x="7110" y="9279"/>
                  </a:lnTo>
                  <a:lnTo>
                    <a:pt x="7806" y="8331"/>
                  </a:lnTo>
                  <a:lnTo>
                    <a:pt x="8719" y="8411"/>
                  </a:lnTo>
                  <a:lnTo>
                    <a:pt x="9358" y="7453"/>
                  </a:lnTo>
                  <a:lnTo>
                    <a:pt x="9667" y="6528"/>
                  </a:lnTo>
                  <a:lnTo>
                    <a:pt x="10214" y="5627"/>
                  </a:lnTo>
                  <a:lnTo>
                    <a:pt x="10077" y="4988"/>
                  </a:lnTo>
                  <a:lnTo>
                    <a:pt x="10602" y="4451"/>
                  </a:lnTo>
                  <a:lnTo>
                    <a:pt x="9895" y="4018"/>
                  </a:lnTo>
                  <a:lnTo>
                    <a:pt x="9473" y="3401"/>
                  </a:lnTo>
                  <a:lnTo>
                    <a:pt x="9016" y="2602"/>
                  </a:lnTo>
                  <a:lnTo>
                    <a:pt x="9290" y="2203"/>
                  </a:lnTo>
                  <a:lnTo>
                    <a:pt x="10500" y="2431"/>
                  </a:lnTo>
                  <a:lnTo>
                    <a:pt x="11321" y="228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48" name="Google Shape;319;p29">
              <a:extLst>
                <a:ext uri="{FF2B5EF4-FFF2-40B4-BE49-F238E27FC236}">
                  <a16:creationId xmlns:a16="http://schemas.microsoft.com/office/drawing/2014/main" id="{651588D3-3D35-4F30-8762-72E9BAEE39C0}"/>
                </a:ext>
              </a:extLst>
            </p:cNvPr>
            <p:cNvSpPr/>
            <p:nvPr/>
          </p:nvSpPr>
          <p:spPr>
            <a:xfrm>
              <a:off x="2063775" y="2894125"/>
              <a:ext cx="114150" cy="54250"/>
            </a:xfrm>
            <a:custGeom>
              <a:avLst/>
              <a:gdLst/>
              <a:ahLst/>
              <a:cxnLst/>
              <a:rect l="l" t="t" r="r" b="b"/>
              <a:pathLst>
                <a:path w="4566" h="2170" extrusionOk="0">
                  <a:moveTo>
                    <a:pt x="4508" y="857"/>
                  </a:moveTo>
                  <a:lnTo>
                    <a:pt x="4223" y="594"/>
                  </a:lnTo>
                  <a:lnTo>
                    <a:pt x="3972" y="321"/>
                  </a:lnTo>
                  <a:lnTo>
                    <a:pt x="3618" y="172"/>
                  </a:lnTo>
                  <a:lnTo>
                    <a:pt x="3173" y="138"/>
                  </a:lnTo>
                  <a:lnTo>
                    <a:pt x="3219" y="58"/>
                  </a:lnTo>
                  <a:lnTo>
                    <a:pt x="2774" y="1"/>
                  </a:lnTo>
                  <a:lnTo>
                    <a:pt x="2489" y="263"/>
                  </a:lnTo>
                  <a:lnTo>
                    <a:pt x="1998" y="446"/>
                  </a:lnTo>
                  <a:lnTo>
                    <a:pt x="1633" y="674"/>
                  </a:lnTo>
                  <a:lnTo>
                    <a:pt x="1256" y="754"/>
                  </a:lnTo>
                  <a:lnTo>
                    <a:pt x="1039" y="526"/>
                  </a:lnTo>
                  <a:lnTo>
                    <a:pt x="971" y="594"/>
                  </a:lnTo>
                  <a:lnTo>
                    <a:pt x="640" y="549"/>
                  </a:lnTo>
                  <a:lnTo>
                    <a:pt x="663" y="366"/>
                  </a:lnTo>
                  <a:lnTo>
                    <a:pt x="400" y="35"/>
                  </a:lnTo>
                  <a:lnTo>
                    <a:pt x="81" y="127"/>
                  </a:lnTo>
                  <a:lnTo>
                    <a:pt x="69" y="480"/>
                  </a:lnTo>
                  <a:lnTo>
                    <a:pt x="229" y="629"/>
                  </a:lnTo>
                  <a:lnTo>
                    <a:pt x="115" y="720"/>
                  </a:lnTo>
                  <a:lnTo>
                    <a:pt x="126" y="891"/>
                  </a:lnTo>
                  <a:lnTo>
                    <a:pt x="58" y="1085"/>
                  </a:lnTo>
                  <a:lnTo>
                    <a:pt x="1" y="1256"/>
                  </a:lnTo>
                  <a:lnTo>
                    <a:pt x="81" y="1393"/>
                  </a:lnTo>
                  <a:lnTo>
                    <a:pt x="126" y="1199"/>
                  </a:lnTo>
                  <a:lnTo>
                    <a:pt x="469" y="1199"/>
                  </a:lnTo>
                  <a:lnTo>
                    <a:pt x="663" y="1291"/>
                  </a:lnTo>
                  <a:lnTo>
                    <a:pt x="994" y="1370"/>
                  </a:lnTo>
                  <a:lnTo>
                    <a:pt x="1142" y="1724"/>
                  </a:lnTo>
                  <a:lnTo>
                    <a:pt x="1393" y="1781"/>
                  </a:lnTo>
                  <a:lnTo>
                    <a:pt x="1507" y="1621"/>
                  </a:lnTo>
                  <a:lnTo>
                    <a:pt x="1621" y="2169"/>
                  </a:lnTo>
                  <a:lnTo>
                    <a:pt x="1998" y="2124"/>
                  </a:lnTo>
                  <a:lnTo>
                    <a:pt x="2123" y="1998"/>
                  </a:lnTo>
                  <a:lnTo>
                    <a:pt x="2340" y="1861"/>
                  </a:lnTo>
                  <a:lnTo>
                    <a:pt x="1975" y="1382"/>
                  </a:lnTo>
                  <a:lnTo>
                    <a:pt x="2066" y="1199"/>
                  </a:lnTo>
                  <a:lnTo>
                    <a:pt x="2249" y="1154"/>
                  </a:lnTo>
                  <a:lnTo>
                    <a:pt x="2580" y="925"/>
                  </a:lnTo>
                  <a:lnTo>
                    <a:pt x="2751" y="606"/>
                  </a:lnTo>
                  <a:lnTo>
                    <a:pt x="3105" y="549"/>
                  </a:lnTo>
                  <a:lnTo>
                    <a:pt x="3493" y="811"/>
                  </a:lnTo>
                  <a:lnTo>
                    <a:pt x="3630" y="1108"/>
                  </a:lnTo>
                  <a:lnTo>
                    <a:pt x="3835" y="1165"/>
                  </a:lnTo>
                  <a:lnTo>
                    <a:pt x="3618" y="1405"/>
                  </a:lnTo>
                  <a:lnTo>
                    <a:pt x="3767" y="1907"/>
                  </a:lnTo>
                  <a:lnTo>
                    <a:pt x="4018" y="2169"/>
                  </a:lnTo>
                  <a:lnTo>
                    <a:pt x="4143" y="1724"/>
                  </a:lnTo>
                  <a:lnTo>
                    <a:pt x="4406" y="1793"/>
                  </a:lnTo>
                  <a:lnTo>
                    <a:pt x="4566" y="1519"/>
                  </a:lnTo>
                  <a:lnTo>
                    <a:pt x="4406" y="98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49" name="Google Shape;320;p29">
              <a:extLst>
                <a:ext uri="{FF2B5EF4-FFF2-40B4-BE49-F238E27FC236}">
                  <a16:creationId xmlns:a16="http://schemas.microsoft.com/office/drawing/2014/main" id="{65B167F6-6D3D-4585-97DA-34557814F360}"/>
                </a:ext>
              </a:extLst>
            </p:cNvPr>
            <p:cNvSpPr/>
            <p:nvPr/>
          </p:nvSpPr>
          <p:spPr>
            <a:xfrm>
              <a:off x="2091450" y="3113250"/>
              <a:ext cx="264225" cy="415150"/>
            </a:xfrm>
            <a:custGeom>
              <a:avLst/>
              <a:gdLst/>
              <a:ahLst/>
              <a:cxnLst/>
              <a:rect l="l" t="t" r="r" b="b"/>
              <a:pathLst>
                <a:path w="10569" h="16606" extrusionOk="0">
                  <a:moveTo>
                    <a:pt x="9222" y="3858"/>
                  </a:moveTo>
                  <a:lnTo>
                    <a:pt x="8811" y="3367"/>
                  </a:lnTo>
                  <a:lnTo>
                    <a:pt x="8560" y="3356"/>
                  </a:lnTo>
                  <a:lnTo>
                    <a:pt x="9062" y="2431"/>
                  </a:lnTo>
                  <a:lnTo>
                    <a:pt x="8434" y="1998"/>
                  </a:lnTo>
                  <a:lnTo>
                    <a:pt x="7966" y="2089"/>
                  </a:lnTo>
                  <a:lnTo>
                    <a:pt x="7670" y="1929"/>
                  </a:lnTo>
                  <a:lnTo>
                    <a:pt x="7236" y="2169"/>
                  </a:lnTo>
                  <a:lnTo>
                    <a:pt x="6631" y="2055"/>
                  </a:lnTo>
                  <a:lnTo>
                    <a:pt x="6152" y="1107"/>
                  </a:lnTo>
                  <a:lnTo>
                    <a:pt x="5764" y="856"/>
                  </a:lnTo>
                  <a:lnTo>
                    <a:pt x="5513" y="434"/>
                  </a:lnTo>
                  <a:lnTo>
                    <a:pt x="4976" y="1"/>
                  </a:lnTo>
                  <a:lnTo>
                    <a:pt x="4771" y="92"/>
                  </a:lnTo>
                  <a:lnTo>
                    <a:pt x="4885" y="788"/>
                  </a:lnTo>
                  <a:lnTo>
                    <a:pt x="4634" y="1370"/>
                  </a:lnTo>
                  <a:lnTo>
                    <a:pt x="3778" y="2329"/>
                  </a:lnTo>
                  <a:lnTo>
                    <a:pt x="2831" y="2682"/>
                  </a:lnTo>
                  <a:lnTo>
                    <a:pt x="2352" y="3470"/>
                  </a:lnTo>
                  <a:lnTo>
                    <a:pt x="2226" y="4086"/>
                  </a:lnTo>
                  <a:lnTo>
                    <a:pt x="1781" y="4451"/>
                  </a:lnTo>
                  <a:lnTo>
                    <a:pt x="1427" y="3995"/>
                  </a:lnTo>
                  <a:lnTo>
                    <a:pt x="1096" y="3892"/>
                  </a:lnTo>
                  <a:lnTo>
                    <a:pt x="777" y="3972"/>
                  </a:lnTo>
                  <a:lnTo>
                    <a:pt x="742" y="3641"/>
                  </a:lnTo>
                  <a:lnTo>
                    <a:pt x="959" y="3424"/>
                  </a:lnTo>
                  <a:lnTo>
                    <a:pt x="857" y="3036"/>
                  </a:lnTo>
                  <a:lnTo>
                    <a:pt x="229" y="3607"/>
                  </a:lnTo>
                  <a:lnTo>
                    <a:pt x="1" y="4257"/>
                  </a:lnTo>
                  <a:lnTo>
                    <a:pt x="434" y="5125"/>
                  </a:lnTo>
                  <a:lnTo>
                    <a:pt x="183" y="5524"/>
                  </a:lnTo>
                  <a:lnTo>
                    <a:pt x="777" y="5889"/>
                  </a:lnTo>
                  <a:lnTo>
                    <a:pt x="1416" y="6483"/>
                  </a:lnTo>
                  <a:lnTo>
                    <a:pt x="1701" y="7156"/>
                  </a:lnTo>
                  <a:lnTo>
                    <a:pt x="2043" y="7567"/>
                  </a:lnTo>
                  <a:lnTo>
                    <a:pt x="2899" y="9381"/>
                  </a:lnTo>
                  <a:lnTo>
                    <a:pt x="3778" y="11048"/>
                  </a:lnTo>
                  <a:lnTo>
                    <a:pt x="4554" y="12246"/>
                  </a:lnTo>
                  <a:lnTo>
                    <a:pt x="4440" y="12497"/>
                  </a:lnTo>
                  <a:lnTo>
                    <a:pt x="4839" y="13261"/>
                  </a:lnTo>
                  <a:lnTo>
                    <a:pt x="5490" y="13809"/>
                  </a:lnTo>
                  <a:lnTo>
                    <a:pt x="7019" y="14802"/>
                  </a:lnTo>
                  <a:lnTo>
                    <a:pt x="8674" y="15704"/>
                  </a:lnTo>
                  <a:lnTo>
                    <a:pt x="8777" y="16080"/>
                  </a:lnTo>
                  <a:lnTo>
                    <a:pt x="9621" y="16605"/>
                  </a:lnTo>
                  <a:lnTo>
                    <a:pt x="9998" y="16377"/>
                  </a:lnTo>
                  <a:lnTo>
                    <a:pt x="10180" y="15909"/>
                  </a:lnTo>
                  <a:lnTo>
                    <a:pt x="10568" y="14928"/>
                  </a:lnTo>
                  <a:lnTo>
                    <a:pt x="10180" y="14174"/>
                  </a:lnTo>
                  <a:lnTo>
                    <a:pt x="10329" y="13866"/>
                  </a:lnTo>
                  <a:lnTo>
                    <a:pt x="10157" y="13524"/>
                  </a:lnTo>
                  <a:lnTo>
                    <a:pt x="10431" y="13067"/>
                  </a:lnTo>
                  <a:lnTo>
                    <a:pt x="10386" y="12303"/>
                  </a:lnTo>
                  <a:lnTo>
                    <a:pt x="10374" y="11664"/>
                  </a:lnTo>
                  <a:lnTo>
                    <a:pt x="10534" y="11356"/>
                  </a:lnTo>
                  <a:lnTo>
                    <a:pt x="9747" y="9895"/>
                  </a:lnTo>
                  <a:lnTo>
                    <a:pt x="9324" y="10043"/>
                  </a:lnTo>
                  <a:lnTo>
                    <a:pt x="8948" y="9952"/>
                  </a:lnTo>
                  <a:lnTo>
                    <a:pt x="8914" y="8560"/>
                  </a:lnTo>
                  <a:lnTo>
                    <a:pt x="8286" y="9107"/>
                  </a:lnTo>
                  <a:lnTo>
                    <a:pt x="7590" y="9073"/>
                  </a:lnTo>
                  <a:lnTo>
                    <a:pt x="7270" y="8594"/>
                  </a:lnTo>
                  <a:lnTo>
                    <a:pt x="6734" y="8548"/>
                  </a:lnTo>
                  <a:lnTo>
                    <a:pt x="6882" y="8149"/>
                  </a:lnTo>
                  <a:lnTo>
                    <a:pt x="6414" y="7612"/>
                  </a:lnTo>
                  <a:lnTo>
                    <a:pt x="6038" y="6779"/>
                  </a:lnTo>
                  <a:lnTo>
                    <a:pt x="6255" y="6620"/>
                  </a:lnTo>
                  <a:lnTo>
                    <a:pt x="6243" y="6243"/>
                  </a:lnTo>
                  <a:lnTo>
                    <a:pt x="6711" y="5969"/>
                  </a:lnTo>
                  <a:lnTo>
                    <a:pt x="6608" y="5478"/>
                  </a:lnTo>
                  <a:lnTo>
                    <a:pt x="6791" y="5170"/>
                  </a:lnTo>
                  <a:lnTo>
                    <a:pt x="6848" y="4737"/>
                  </a:lnTo>
                  <a:lnTo>
                    <a:pt x="7738" y="4132"/>
                  </a:lnTo>
                  <a:lnTo>
                    <a:pt x="8389" y="3961"/>
                  </a:lnTo>
                  <a:lnTo>
                    <a:pt x="8491" y="381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50" name="Google Shape;321;p29">
              <a:extLst>
                <a:ext uri="{FF2B5EF4-FFF2-40B4-BE49-F238E27FC236}">
                  <a16:creationId xmlns:a16="http://schemas.microsoft.com/office/drawing/2014/main" id="{48AEC25E-4298-4B45-AB66-8144B7A1E0ED}"/>
                </a:ext>
              </a:extLst>
            </p:cNvPr>
            <p:cNvSpPr/>
            <p:nvPr/>
          </p:nvSpPr>
          <p:spPr>
            <a:xfrm>
              <a:off x="6061750" y="2692150"/>
              <a:ext cx="189200" cy="293600"/>
            </a:xfrm>
            <a:custGeom>
              <a:avLst/>
              <a:gdLst/>
              <a:ahLst/>
              <a:cxnLst/>
              <a:rect l="l" t="t" r="r" b="b"/>
              <a:pathLst>
                <a:path w="7568" h="11744" extrusionOk="0">
                  <a:moveTo>
                    <a:pt x="7373" y="9164"/>
                  </a:moveTo>
                  <a:lnTo>
                    <a:pt x="7282" y="8833"/>
                  </a:lnTo>
                  <a:lnTo>
                    <a:pt x="7168" y="8377"/>
                  </a:lnTo>
                  <a:lnTo>
                    <a:pt x="6483" y="7943"/>
                  </a:lnTo>
                  <a:lnTo>
                    <a:pt x="6597" y="8651"/>
                  </a:lnTo>
                  <a:lnTo>
                    <a:pt x="6038" y="8673"/>
                  </a:lnTo>
                  <a:lnTo>
                    <a:pt x="5947" y="9073"/>
                  </a:lnTo>
                  <a:lnTo>
                    <a:pt x="5342" y="9312"/>
                  </a:lnTo>
                  <a:lnTo>
                    <a:pt x="5022" y="8913"/>
                  </a:lnTo>
                  <a:lnTo>
                    <a:pt x="4634" y="9255"/>
                  </a:lnTo>
                  <a:lnTo>
                    <a:pt x="4143" y="9506"/>
                  </a:lnTo>
                  <a:lnTo>
                    <a:pt x="3870" y="10271"/>
                  </a:lnTo>
                  <a:lnTo>
                    <a:pt x="4029" y="10545"/>
                  </a:lnTo>
                  <a:lnTo>
                    <a:pt x="4588" y="10031"/>
                  </a:lnTo>
                  <a:lnTo>
                    <a:pt x="4965" y="10077"/>
                  </a:lnTo>
                  <a:lnTo>
                    <a:pt x="5182" y="9689"/>
                  </a:lnTo>
                  <a:lnTo>
                    <a:pt x="5730" y="10111"/>
                  </a:lnTo>
                  <a:lnTo>
                    <a:pt x="5513" y="10556"/>
                  </a:lnTo>
                  <a:lnTo>
                    <a:pt x="5787" y="11218"/>
                  </a:lnTo>
                  <a:lnTo>
                    <a:pt x="6757" y="11743"/>
                  </a:lnTo>
                  <a:lnTo>
                    <a:pt x="6951" y="11310"/>
                  </a:lnTo>
                  <a:lnTo>
                    <a:pt x="6654" y="10648"/>
                  </a:lnTo>
                  <a:lnTo>
                    <a:pt x="6996" y="10180"/>
                  </a:lnTo>
                  <a:lnTo>
                    <a:pt x="7350" y="11093"/>
                  </a:lnTo>
                  <a:lnTo>
                    <a:pt x="7567" y="10271"/>
                  </a:lnTo>
                  <a:lnTo>
                    <a:pt x="7487" y="9769"/>
                  </a:lnTo>
                  <a:close/>
                  <a:moveTo>
                    <a:pt x="5296" y="7475"/>
                  </a:moveTo>
                  <a:lnTo>
                    <a:pt x="5296" y="6608"/>
                  </a:lnTo>
                  <a:lnTo>
                    <a:pt x="4782" y="7475"/>
                  </a:lnTo>
                  <a:lnTo>
                    <a:pt x="4862" y="6882"/>
                  </a:lnTo>
                  <a:lnTo>
                    <a:pt x="4429" y="6916"/>
                  </a:lnTo>
                  <a:lnTo>
                    <a:pt x="4383" y="7487"/>
                  </a:lnTo>
                  <a:lnTo>
                    <a:pt x="4212" y="7749"/>
                  </a:lnTo>
                  <a:lnTo>
                    <a:pt x="4075" y="7989"/>
                  </a:lnTo>
                  <a:lnTo>
                    <a:pt x="4611" y="8616"/>
                  </a:lnTo>
                  <a:lnTo>
                    <a:pt x="4840" y="8342"/>
                  </a:lnTo>
                  <a:lnTo>
                    <a:pt x="5045" y="7772"/>
                  </a:lnTo>
                  <a:close/>
                  <a:moveTo>
                    <a:pt x="1005" y="8342"/>
                  </a:moveTo>
                  <a:lnTo>
                    <a:pt x="1382" y="7715"/>
                  </a:lnTo>
                  <a:lnTo>
                    <a:pt x="1861" y="7224"/>
                  </a:lnTo>
                  <a:lnTo>
                    <a:pt x="1644" y="6482"/>
                  </a:lnTo>
                  <a:lnTo>
                    <a:pt x="1302" y="7372"/>
                  </a:lnTo>
                  <a:lnTo>
                    <a:pt x="891" y="8000"/>
                  </a:lnTo>
                  <a:lnTo>
                    <a:pt x="355" y="8571"/>
                  </a:lnTo>
                  <a:lnTo>
                    <a:pt x="1" y="9198"/>
                  </a:lnTo>
                  <a:close/>
                  <a:moveTo>
                    <a:pt x="3493" y="6003"/>
                  </a:moveTo>
                  <a:lnTo>
                    <a:pt x="3664" y="6437"/>
                  </a:lnTo>
                  <a:lnTo>
                    <a:pt x="3641" y="6905"/>
                  </a:lnTo>
                  <a:lnTo>
                    <a:pt x="3721" y="7315"/>
                  </a:lnTo>
                  <a:lnTo>
                    <a:pt x="4189" y="7053"/>
                  </a:lnTo>
                  <a:lnTo>
                    <a:pt x="4531" y="6665"/>
                  </a:lnTo>
                  <a:lnTo>
                    <a:pt x="4497" y="6288"/>
                  </a:lnTo>
                  <a:lnTo>
                    <a:pt x="3984" y="6288"/>
                  </a:lnTo>
                  <a:close/>
                  <a:moveTo>
                    <a:pt x="6346" y="5763"/>
                  </a:moveTo>
                  <a:lnTo>
                    <a:pt x="6083" y="5421"/>
                  </a:lnTo>
                  <a:lnTo>
                    <a:pt x="5319" y="5410"/>
                  </a:lnTo>
                  <a:lnTo>
                    <a:pt x="5889" y="6094"/>
                  </a:lnTo>
                  <a:lnTo>
                    <a:pt x="5924" y="6437"/>
                  </a:lnTo>
                  <a:lnTo>
                    <a:pt x="5456" y="6368"/>
                  </a:lnTo>
                  <a:lnTo>
                    <a:pt x="5627" y="6916"/>
                  </a:lnTo>
                  <a:lnTo>
                    <a:pt x="5867" y="6962"/>
                  </a:lnTo>
                  <a:lnTo>
                    <a:pt x="5969" y="7601"/>
                  </a:lnTo>
                  <a:lnTo>
                    <a:pt x="6323" y="7407"/>
                  </a:lnTo>
                  <a:lnTo>
                    <a:pt x="6083" y="6836"/>
                  </a:lnTo>
                  <a:lnTo>
                    <a:pt x="6026" y="6539"/>
                  </a:lnTo>
                  <a:lnTo>
                    <a:pt x="6665" y="6779"/>
                  </a:lnTo>
                  <a:close/>
                  <a:moveTo>
                    <a:pt x="3071" y="4942"/>
                  </a:moveTo>
                  <a:lnTo>
                    <a:pt x="2763" y="4611"/>
                  </a:lnTo>
                  <a:lnTo>
                    <a:pt x="2078" y="4576"/>
                  </a:lnTo>
                  <a:lnTo>
                    <a:pt x="2557" y="5261"/>
                  </a:lnTo>
                  <a:lnTo>
                    <a:pt x="2957" y="5718"/>
                  </a:lnTo>
                  <a:close/>
                  <a:moveTo>
                    <a:pt x="2158" y="0"/>
                  </a:moveTo>
                  <a:lnTo>
                    <a:pt x="1690" y="0"/>
                  </a:lnTo>
                  <a:lnTo>
                    <a:pt x="1564" y="833"/>
                  </a:lnTo>
                  <a:lnTo>
                    <a:pt x="1713" y="2237"/>
                  </a:lnTo>
                  <a:lnTo>
                    <a:pt x="1347" y="1952"/>
                  </a:lnTo>
                  <a:lnTo>
                    <a:pt x="1519" y="2808"/>
                  </a:lnTo>
                  <a:lnTo>
                    <a:pt x="1690" y="3207"/>
                  </a:lnTo>
                  <a:lnTo>
                    <a:pt x="2158" y="3743"/>
                  </a:lnTo>
                  <a:lnTo>
                    <a:pt x="2215" y="3412"/>
                  </a:lnTo>
                  <a:lnTo>
                    <a:pt x="2477" y="3606"/>
                  </a:lnTo>
                  <a:lnTo>
                    <a:pt x="2260" y="3846"/>
                  </a:lnTo>
                  <a:lnTo>
                    <a:pt x="2272" y="4223"/>
                  </a:lnTo>
                  <a:lnTo>
                    <a:pt x="2694" y="4417"/>
                  </a:lnTo>
                  <a:lnTo>
                    <a:pt x="3402" y="4291"/>
                  </a:lnTo>
                  <a:lnTo>
                    <a:pt x="3972" y="4839"/>
                  </a:lnTo>
                  <a:lnTo>
                    <a:pt x="4132" y="4497"/>
                  </a:lnTo>
                  <a:lnTo>
                    <a:pt x="4486" y="4976"/>
                  </a:lnTo>
                  <a:lnTo>
                    <a:pt x="5170" y="5421"/>
                  </a:lnTo>
                  <a:lnTo>
                    <a:pt x="5205" y="5010"/>
                  </a:lnTo>
                  <a:lnTo>
                    <a:pt x="4919" y="4782"/>
                  </a:lnTo>
                  <a:lnTo>
                    <a:pt x="4931" y="4291"/>
                  </a:lnTo>
                  <a:lnTo>
                    <a:pt x="3858" y="3778"/>
                  </a:lnTo>
                  <a:lnTo>
                    <a:pt x="3527" y="3892"/>
                  </a:lnTo>
                  <a:lnTo>
                    <a:pt x="3093" y="3800"/>
                  </a:lnTo>
                  <a:lnTo>
                    <a:pt x="2808" y="3070"/>
                  </a:lnTo>
                  <a:lnTo>
                    <a:pt x="2820" y="2340"/>
                  </a:lnTo>
                  <a:lnTo>
                    <a:pt x="3242" y="2043"/>
                  </a:lnTo>
                  <a:lnTo>
                    <a:pt x="3333" y="1278"/>
                  </a:lnTo>
                  <a:lnTo>
                    <a:pt x="2945" y="628"/>
                  </a:lnTo>
                  <a:lnTo>
                    <a:pt x="3002" y="251"/>
                  </a:lnTo>
                  <a:lnTo>
                    <a:pt x="2899" y="23"/>
                  </a:lnTo>
                  <a:lnTo>
                    <a:pt x="2683" y="25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51" name="Google Shape;322;p29">
              <a:extLst>
                <a:ext uri="{FF2B5EF4-FFF2-40B4-BE49-F238E27FC236}">
                  <a16:creationId xmlns:a16="http://schemas.microsoft.com/office/drawing/2014/main" id="{0450BB19-3885-47EF-B9D5-0AD9517A9413}"/>
                </a:ext>
              </a:extLst>
            </p:cNvPr>
            <p:cNvSpPr/>
            <p:nvPr/>
          </p:nvSpPr>
          <p:spPr>
            <a:xfrm>
              <a:off x="6537350" y="3168875"/>
              <a:ext cx="304175" cy="184900"/>
            </a:xfrm>
            <a:custGeom>
              <a:avLst/>
              <a:gdLst/>
              <a:ahLst/>
              <a:cxnLst/>
              <a:rect l="l" t="t" r="r" b="b"/>
              <a:pathLst>
                <a:path w="12167" h="7396" extrusionOk="0">
                  <a:moveTo>
                    <a:pt x="12041" y="3927"/>
                  </a:moveTo>
                  <a:lnTo>
                    <a:pt x="12166" y="3676"/>
                  </a:lnTo>
                  <a:lnTo>
                    <a:pt x="11824" y="3356"/>
                  </a:lnTo>
                  <a:lnTo>
                    <a:pt x="11470" y="2785"/>
                  </a:lnTo>
                  <a:lnTo>
                    <a:pt x="11242" y="2569"/>
                  </a:lnTo>
                  <a:lnTo>
                    <a:pt x="11173" y="2306"/>
                  </a:lnTo>
                  <a:lnTo>
                    <a:pt x="11059" y="2397"/>
                  </a:lnTo>
                  <a:lnTo>
                    <a:pt x="11185" y="3082"/>
                  </a:lnTo>
                  <a:lnTo>
                    <a:pt x="11493" y="3653"/>
                  </a:lnTo>
                  <a:lnTo>
                    <a:pt x="11813" y="4018"/>
                  </a:lnTo>
                  <a:close/>
                  <a:moveTo>
                    <a:pt x="9017" y="2706"/>
                  </a:moveTo>
                  <a:lnTo>
                    <a:pt x="9313" y="2146"/>
                  </a:lnTo>
                  <a:lnTo>
                    <a:pt x="9370" y="1644"/>
                  </a:lnTo>
                  <a:lnTo>
                    <a:pt x="9211" y="1507"/>
                  </a:lnTo>
                  <a:lnTo>
                    <a:pt x="8731" y="1519"/>
                  </a:lnTo>
                  <a:lnTo>
                    <a:pt x="8788" y="2044"/>
                  </a:lnTo>
                  <a:lnTo>
                    <a:pt x="8320" y="2375"/>
                  </a:lnTo>
                  <a:lnTo>
                    <a:pt x="8069" y="2683"/>
                  </a:lnTo>
                  <a:lnTo>
                    <a:pt x="7613" y="2763"/>
                  </a:lnTo>
                  <a:lnTo>
                    <a:pt x="7556" y="2272"/>
                  </a:lnTo>
                  <a:lnTo>
                    <a:pt x="7442" y="2283"/>
                  </a:lnTo>
                  <a:lnTo>
                    <a:pt x="7305" y="2728"/>
                  </a:lnTo>
                  <a:lnTo>
                    <a:pt x="6860" y="2797"/>
                  </a:lnTo>
                  <a:lnTo>
                    <a:pt x="6152" y="2671"/>
                  </a:lnTo>
                  <a:lnTo>
                    <a:pt x="6061" y="2945"/>
                  </a:lnTo>
                  <a:lnTo>
                    <a:pt x="6506" y="3196"/>
                  </a:lnTo>
                  <a:lnTo>
                    <a:pt x="7145" y="3470"/>
                  </a:lnTo>
                  <a:lnTo>
                    <a:pt x="7556" y="3470"/>
                  </a:lnTo>
                  <a:lnTo>
                    <a:pt x="7989" y="3253"/>
                  </a:lnTo>
                  <a:lnTo>
                    <a:pt x="8446" y="3025"/>
                  </a:lnTo>
                  <a:lnTo>
                    <a:pt x="8583" y="2774"/>
                  </a:lnTo>
                  <a:close/>
                  <a:moveTo>
                    <a:pt x="5045" y="4440"/>
                  </a:moveTo>
                  <a:lnTo>
                    <a:pt x="4920" y="3824"/>
                  </a:lnTo>
                  <a:lnTo>
                    <a:pt x="5661" y="3733"/>
                  </a:lnTo>
                  <a:lnTo>
                    <a:pt x="5502" y="3253"/>
                  </a:lnTo>
                  <a:lnTo>
                    <a:pt x="4212" y="2683"/>
                  </a:lnTo>
                  <a:lnTo>
                    <a:pt x="4121" y="2158"/>
                  </a:lnTo>
                  <a:lnTo>
                    <a:pt x="3710" y="1701"/>
                  </a:lnTo>
                  <a:lnTo>
                    <a:pt x="3185" y="1233"/>
                  </a:lnTo>
                  <a:lnTo>
                    <a:pt x="1724" y="720"/>
                  </a:lnTo>
                  <a:lnTo>
                    <a:pt x="355" y="92"/>
                  </a:lnTo>
                  <a:lnTo>
                    <a:pt x="218" y="3048"/>
                  </a:lnTo>
                  <a:lnTo>
                    <a:pt x="1" y="6015"/>
                  </a:lnTo>
                  <a:lnTo>
                    <a:pt x="811" y="6038"/>
                  </a:lnTo>
                  <a:lnTo>
                    <a:pt x="1256" y="6198"/>
                  </a:lnTo>
                  <a:lnTo>
                    <a:pt x="1907" y="5878"/>
                  </a:lnTo>
                  <a:lnTo>
                    <a:pt x="1873" y="5216"/>
                  </a:lnTo>
                  <a:lnTo>
                    <a:pt x="2386" y="4908"/>
                  </a:lnTo>
                  <a:lnTo>
                    <a:pt x="3082" y="4657"/>
                  </a:lnTo>
                  <a:lnTo>
                    <a:pt x="4075" y="5056"/>
                  </a:lnTo>
                  <a:lnTo>
                    <a:pt x="4417" y="5855"/>
                  </a:lnTo>
                  <a:lnTo>
                    <a:pt x="4840" y="6357"/>
                  </a:lnTo>
                  <a:lnTo>
                    <a:pt x="5387" y="6928"/>
                  </a:lnTo>
                  <a:lnTo>
                    <a:pt x="6175" y="7065"/>
                  </a:lnTo>
                  <a:lnTo>
                    <a:pt x="6860" y="7168"/>
                  </a:lnTo>
                  <a:lnTo>
                    <a:pt x="7019" y="7396"/>
                  </a:lnTo>
                  <a:lnTo>
                    <a:pt x="7556" y="7339"/>
                  </a:lnTo>
                  <a:lnTo>
                    <a:pt x="7670" y="7076"/>
                  </a:lnTo>
                  <a:lnTo>
                    <a:pt x="6871" y="6700"/>
                  </a:lnTo>
                  <a:lnTo>
                    <a:pt x="7134" y="6529"/>
                  </a:lnTo>
                  <a:lnTo>
                    <a:pt x="6529" y="6369"/>
                  </a:lnTo>
                  <a:lnTo>
                    <a:pt x="6609" y="5969"/>
                  </a:lnTo>
                  <a:lnTo>
                    <a:pt x="6152" y="5992"/>
                  </a:lnTo>
                  <a:lnTo>
                    <a:pt x="5718" y="5022"/>
                  </a:lnTo>
                  <a:close/>
                  <a:moveTo>
                    <a:pt x="9998" y="1815"/>
                  </a:moveTo>
                  <a:lnTo>
                    <a:pt x="9930" y="1348"/>
                  </a:lnTo>
                  <a:lnTo>
                    <a:pt x="9644" y="1051"/>
                  </a:lnTo>
                  <a:lnTo>
                    <a:pt x="9348" y="674"/>
                  </a:lnTo>
                  <a:lnTo>
                    <a:pt x="9017" y="457"/>
                  </a:lnTo>
                  <a:lnTo>
                    <a:pt x="8743" y="263"/>
                  </a:lnTo>
                  <a:lnTo>
                    <a:pt x="8332" y="1"/>
                  </a:lnTo>
                  <a:lnTo>
                    <a:pt x="8104" y="218"/>
                  </a:lnTo>
                  <a:lnTo>
                    <a:pt x="8663" y="492"/>
                  </a:lnTo>
                  <a:lnTo>
                    <a:pt x="9096" y="880"/>
                  </a:lnTo>
                  <a:lnTo>
                    <a:pt x="9439" y="1176"/>
                  </a:lnTo>
                  <a:lnTo>
                    <a:pt x="9610" y="1519"/>
                  </a:lnTo>
                  <a:lnTo>
                    <a:pt x="9724" y="205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52" name="Google Shape;323;p29">
              <a:extLst>
                <a:ext uri="{FF2B5EF4-FFF2-40B4-BE49-F238E27FC236}">
                  <a16:creationId xmlns:a16="http://schemas.microsoft.com/office/drawing/2014/main" id="{F9E956FB-7BF7-45A9-97B5-99CC1866EBB0}"/>
                </a:ext>
              </a:extLst>
            </p:cNvPr>
            <p:cNvSpPr/>
            <p:nvPr/>
          </p:nvSpPr>
          <p:spPr>
            <a:xfrm>
              <a:off x="3959925" y="1876450"/>
              <a:ext cx="177200" cy="127000"/>
            </a:xfrm>
            <a:custGeom>
              <a:avLst/>
              <a:gdLst/>
              <a:ahLst/>
              <a:cxnLst/>
              <a:rect l="l" t="t" r="r" b="b"/>
              <a:pathLst>
                <a:path w="7088" h="5080" extrusionOk="0">
                  <a:moveTo>
                    <a:pt x="3686" y="377"/>
                  </a:moveTo>
                  <a:lnTo>
                    <a:pt x="3024" y="366"/>
                  </a:lnTo>
                  <a:lnTo>
                    <a:pt x="2956" y="161"/>
                  </a:lnTo>
                  <a:lnTo>
                    <a:pt x="2271" y="1"/>
                  </a:lnTo>
                  <a:lnTo>
                    <a:pt x="1461" y="309"/>
                  </a:lnTo>
                  <a:lnTo>
                    <a:pt x="445" y="708"/>
                  </a:lnTo>
                  <a:lnTo>
                    <a:pt x="0" y="948"/>
                  </a:lnTo>
                  <a:lnTo>
                    <a:pt x="206" y="1393"/>
                  </a:lnTo>
                  <a:lnTo>
                    <a:pt x="34" y="1621"/>
                  </a:lnTo>
                  <a:lnTo>
                    <a:pt x="320" y="1929"/>
                  </a:lnTo>
                  <a:lnTo>
                    <a:pt x="514" y="2397"/>
                  </a:lnTo>
                  <a:lnTo>
                    <a:pt x="502" y="2705"/>
                  </a:lnTo>
                  <a:lnTo>
                    <a:pt x="833" y="3253"/>
                  </a:lnTo>
                  <a:lnTo>
                    <a:pt x="1176" y="3527"/>
                  </a:lnTo>
                  <a:lnTo>
                    <a:pt x="1701" y="3618"/>
                  </a:lnTo>
                  <a:lnTo>
                    <a:pt x="1689" y="3858"/>
                  </a:lnTo>
                  <a:lnTo>
                    <a:pt x="2066" y="4029"/>
                  </a:lnTo>
                  <a:lnTo>
                    <a:pt x="2157" y="3812"/>
                  </a:lnTo>
                  <a:lnTo>
                    <a:pt x="2636" y="3892"/>
                  </a:lnTo>
                  <a:lnTo>
                    <a:pt x="2739" y="4178"/>
                  </a:lnTo>
                  <a:lnTo>
                    <a:pt x="3253" y="4223"/>
                  </a:lnTo>
                  <a:lnTo>
                    <a:pt x="3629" y="4668"/>
                  </a:lnTo>
                  <a:lnTo>
                    <a:pt x="3663" y="4725"/>
                  </a:lnTo>
                  <a:lnTo>
                    <a:pt x="3937" y="4600"/>
                  </a:lnTo>
                  <a:lnTo>
                    <a:pt x="4325" y="4908"/>
                  </a:lnTo>
                  <a:lnTo>
                    <a:pt x="4725" y="4725"/>
                  </a:lnTo>
                  <a:lnTo>
                    <a:pt x="5067" y="4805"/>
                  </a:lnTo>
                  <a:lnTo>
                    <a:pt x="5546" y="4691"/>
                  </a:lnTo>
                  <a:lnTo>
                    <a:pt x="6254" y="5022"/>
                  </a:lnTo>
                  <a:lnTo>
                    <a:pt x="6402" y="5079"/>
                  </a:lnTo>
                  <a:lnTo>
                    <a:pt x="6174" y="4680"/>
                  </a:lnTo>
                  <a:lnTo>
                    <a:pt x="6722" y="3949"/>
                  </a:lnTo>
                  <a:lnTo>
                    <a:pt x="7053" y="3858"/>
                  </a:lnTo>
                  <a:lnTo>
                    <a:pt x="7087" y="3596"/>
                  </a:lnTo>
                  <a:lnTo>
                    <a:pt x="6653" y="2842"/>
                  </a:lnTo>
                  <a:lnTo>
                    <a:pt x="6574" y="2454"/>
                  </a:lnTo>
                  <a:lnTo>
                    <a:pt x="6311" y="2044"/>
                  </a:lnTo>
                  <a:lnTo>
                    <a:pt x="6688" y="1872"/>
                  </a:lnTo>
                  <a:lnTo>
                    <a:pt x="6653" y="1530"/>
                  </a:lnTo>
                  <a:lnTo>
                    <a:pt x="6402" y="1199"/>
                  </a:lnTo>
                  <a:lnTo>
                    <a:pt x="6322" y="811"/>
                  </a:lnTo>
                  <a:lnTo>
                    <a:pt x="6117" y="549"/>
                  </a:lnTo>
                  <a:lnTo>
                    <a:pt x="5763" y="457"/>
                  </a:lnTo>
                  <a:lnTo>
                    <a:pt x="4519" y="469"/>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53" name="Google Shape;324;p29">
              <a:extLst>
                <a:ext uri="{FF2B5EF4-FFF2-40B4-BE49-F238E27FC236}">
                  <a16:creationId xmlns:a16="http://schemas.microsoft.com/office/drawing/2014/main" id="{24422D35-38C9-4A8B-AC1E-AEC35B43C246}"/>
                </a:ext>
              </a:extLst>
            </p:cNvPr>
            <p:cNvSpPr/>
            <p:nvPr/>
          </p:nvSpPr>
          <p:spPr>
            <a:xfrm>
              <a:off x="6017825" y="2136950"/>
              <a:ext cx="90750" cy="119275"/>
            </a:xfrm>
            <a:custGeom>
              <a:avLst/>
              <a:gdLst/>
              <a:ahLst/>
              <a:cxnLst/>
              <a:rect l="l" t="t" r="r" b="b"/>
              <a:pathLst>
                <a:path w="3630" h="4771" extrusionOk="0">
                  <a:moveTo>
                    <a:pt x="3435" y="514"/>
                  </a:moveTo>
                  <a:lnTo>
                    <a:pt x="3435" y="514"/>
                  </a:lnTo>
                  <a:lnTo>
                    <a:pt x="2648" y="0"/>
                  </a:lnTo>
                  <a:lnTo>
                    <a:pt x="2659" y="502"/>
                  </a:lnTo>
                  <a:lnTo>
                    <a:pt x="1769" y="867"/>
                  </a:lnTo>
                  <a:lnTo>
                    <a:pt x="2146" y="1335"/>
                  </a:lnTo>
                  <a:lnTo>
                    <a:pt x="1495" y="1312"/>
                  </a:lnTo>
                  <a:lnTo>
                    <a:pt x="982" y="1027"/>
                  </a:lnTo>
                  <a:lnTo>
                    <a:pt x="833" y="1655"/>
                  </a:lnTo>
                  <a:lnTo>
                    <a:pt x="297" y="2134"/>
                  </a:lnTo>
                  <a:lnTo>
                    <a:pt x="0" y="2705"/>
                  </a:lnTo>
                  <a:lnTo>
                    <a:pt x="468" y="2944"/>
                  </a:lnTo>
                  <a:lnTo>
                    <a:pt x="948" y="3047"/>
                  </a:lnTo>
                  <a:lnTo>
                    <a:pt x="1062" y="3195"/>
                  </a:lnTo>
                  <a:lnTo>
                    <a:pt x="1119" y="3686"/>
                  </a:lnTo>
                  <a:lnTo>
                    <a:pt x="1278" y="3857"/>
                  </a:lnTo>
                  <a:lnTo>
                    <a:pt x="1153" y="3960"/>
                  </a:lnTo>
                  <a:lnTo>
                    <a:pt x="1142" y="4371"/>
                  </a:lnTo>
                  <a:lnTo>
                    <a:pt x="1404" y="4519"/>
                  </a:lnTo>
                  <a:lnTo>
                    <a:pt x="1632" y="4599"/>
                  </a:lnTo>
                  <a:lnTo>
                    <a:pt x="1746" y="4770"/>
                  </a:lnTo>
                  <a:lnTo>
                    <a:pt x="1940" y="4702"/>
                  </a:lnTo>
                  <a:lnTo>
                    <a:pt x="1940" y="4519"/>
                  </a:lnTo>
                  <a:lnTo>
                    <a:pt x="2374" y="4702"/>
                  </a:lnTo>
                  <a:lnTo>
                    <a:pt x="2397" y="4622"/>
                  </a:lnTo>
                  <a:lnTo>
                    <a:pt x="2739" y="4645"/>
                  </a:lnTo>
                  <a:lnTo>
                    <a:pt x="2831" y="4234"/>
                  </a:lnTo>
                  <a:lnTo>
                    <a:pt x="3333" y="4188"/>
                  </a:lnTo>
                  <a:lnTo>
                    <a:pt x="3629" y="4131"/>
                  </a:lnTo>
                  <a:lnTo>
                    <a:pt x="3618" y="3903"/>
                  </a:lnTo>
                  <a:lnTo>
                    <a:pt x="3002" y="3504"/>
                  </a:lnTo>
                  <a:lnTo>
                    <a:pt x="2637" y="3367"/>
                  </a:lnTo>
                  <a:lnTo>
                    <a:pt x="2659" y="3264"/>
                  </a:lnTo>
                  <a:lnTo>
                    <a:pt x="2488" y="2865"/>
                  </a:lnTo>
                  <a:lnTo>
                    <a:pt x="2682" y="2625"/>
                  </a:lnTo>
                  <a:lnTo>
                    <a:pt x="3093" y="2477"/>
                  </a:lnTo>
                  <a:lnTo>
                    <a:pt x="3230" y="2203"/>
                  </a:lnTo>
                  <a:lnTo>
                    <a:pt x="3276" y="2054"/>
                  </a:lnTo>
                  <a:lnTo>
                    <a:pt x="3549" y="1849"/>
                  </a:lnTo>
                  <a:lnTo>
                    <a:pt x="3150" y="1210"/>
                  </a:lnTo>
                  <a:lnTo>
                    <a:pt x="3196" y="913"/>
                  </a:lnTo>
                  <a:lnTo>
                    <a:pt x="3321" y="628"/>
                  </a:lnTo>
                  <a:lnTo>
                    <a:pt x="3629" y="662"/>
                  </a:lnTo>
                  <a:lnTo>
                    <a:pt x="3629" y="662"/>
                  </a:lnTo>
                  <a:lnTo>
                    <a:pt x="3629" y="662"/>
                  </a:lnTo>
                  <a:lnTo>
                    <a:pt x="3629" y="66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54" name="Google Shape;325;p29">
              <a:extLst>
                <a:ext uri="{FF2B5EF4-FFF2-40B4-BE49-F238E27FC236}">
                  <a16:creationId xmlns:a16="http://schemas.microsoft.com/office/drawing/2014/main" id="{8369FEED-EFCC-4758-B928-3D3751914F0F}"/>
                </a:ext>
              </a:extLst>
            </p:cNvPr>
            <p:cNvSpPr/>
            <p:nvPr/>
          </p:nvSpPr>
          <p:spPr>
            <a:xfrm>
              <a:off x="3544225" y="2152350"/>
              <a:ext cx="59950" cy="123275"/>
            </a:xfrm>
            <a:custGeom>
              <a:avLst/>
              <a:gdLst/>
              <a:ahLst/>
              <a:cxnLst/>
              <a:rect l="l" t="t" r="r" b="b"/>
              <a:pathLst>
                <a:path w="2398" h="4931" extrusionOk="0">
                  <a:moveTo>
                    <a:pt x="1507" y="4691"/>
                  </a:moveTo>
                  <a:lnTo>
                    <a:pt x="1450" y="4383"/>
                  </a:lnTo>
                  <a:lnTo>
                    <a:pt x="1735" y="4029"/>
                  </a:lnTo>
                  <a:lnTo>
                    <a:pt x="1849" y="3789"/>
                  </a:lnTo>
                  <a:lnTo>
                    <a:pt x="1598" y="3515"/>
                  </a:lnTo>
                  <a:lnTo>
                    <a:pt x="1826" y="2899"/>
                  </a:lnTo>
                  <a:lnTo>
                    <a:pt x="1541" y="2363"/>
                  </a:lnTo>
                  <a:lnTo>
                    <a:pt x="1849" y="2294"/>
                  </a:lnTo>
                  <a:lnTo>
                    <a:pt x="1895" y="1861"/>
                  </a:lnTo>
                  <a:lnTo>
                    <a:pt x="2021" y="1735"/>
                  </a:lnTo>
                  <a:lnTo>
                    <a:pt x="2055" y="1039"/>
                  </a:lnTo>
                  <a:lnTo>
                    <a:pt x="2397" y="799"/>
                  </a:lnTo>
                  <a:lnTo>
                    <a:pt x="2203" y="354"/>
                  </a:lnTo>
                  <a:lnTo>
                    <a:pt x="1781" y="320"/>
                  </a:lnTo>
                  <a:lnTo>
                    <a:pt x="1655" y="434"/>
                  </a:lnTo>
                  <a:lnTo>
                    <a:pt x="1222" y="434"/>
                  </a:lnTo>
                  <a:lnTo>
                    <a:pt x="1050" y="0"/>
                  </a:lnTo>
                  <a:lnTo>
                    <a:pt x="754" y="126"/>
                  </a:lnTo>
                  <a:lnTo>
                    <a:pt x="480" y="354"/>
                  </a:lnTo>
                  <a:lnTo>
                    <a:pt x="491" y="651"/>
                  </a:lnTo>
                  <a:lnTo>
                    <a:pt x="628" y="970"/>
                  </a:lnTo>
                  <a:lnTo>
                    <a:pt x="640" y="1347"/>
                  </a:lnTo>
                  <a:lnTo>
                    <a:pt x="457" y="1895"/>
                  </a:lnTo>
                  <a:lnTo>
                    <a:pt x="400" y="2249"/>
                  </a:lnTo>
                  <a:lnTo>
                    <a:pt x="80" y="2579"/>
                  </a:lnTo>
                  <a:lnTo>
                    <a:pt x="1" y="3173"/>
                  </a:lnTo>
                  <a:lnTo>
                    <a:pt x="172" y="3515"/>
                  </a:lnTo>
                  <a:lnTo>
                    <a:pt x="491" y="3607"/>
                  </a:lnTo>
                  <a:lnTo>
                    <a:pt x="548" y="4177"/>
                  </a:lnTo>
                  <a:lnTo>
                    <a:pt x="411" y="4908"/>
                  </a:lnTo>
                  <a:lnTo>
                    <a:pt x="811" y="4805"/>
                  </a:lnTo>
                  <a:lnTo>
                    <a:pt x="1199" y="493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55" name="Google Shape;326;p29">
              <a:extLst>
                <a:ext uri="{FF2B5EF4-FFF2-40B4-BE49-F238E27FC236}">
                  <a16:creationId xmlns:a16="http://schemas.microsoft.com/office/drawing/2014/main" id="{22AD0D81-EEF8-4AC5-873D-0F67AB690CF1}"/>
                </a:ext>
              </a:extLst>
            </p:cNvPr>
            <p:cNvSpPr/>
            <p:nvPr/>
          </p:nvSpPr>
          <p:spPr>
            <a:xfrm>
              <a:off x="2492025" y="3550900"/>
              <a:ext cx="169500" cy="186625"/>
            </a:xfrm>
            <a:custGeom>
              <a:avLst/>
              <a:gdLst/>
              <a:ahLst/>
              <a:cxnLst/>
              <a:rect l="l" t="t" r="r" b="b"/>
              <a:pathLst>
                <a:path w="6780" h="7465" extrusionOk="0">
                  <a:moveTo>
                    <a:pt x="3378" y="754"/>
                  </a:moveTo>
                  <a:lnTo>
                    <a:pt x="3344" y="492"/>
                  </a:lnTo>
                  <a:lnTo>
                    <a:pt x="2568" y="12"/>
                  </a:lnTo>
                  <a:lnTo>
                    <a:pt x="1838" y="1"/>
                  </a:lnTo>
                  <a:lnTo>
                    <a:pt x="491" y="275"/>
                  </a:lnTo>
                  <a:lnTo>
                    <a:pt x="183" y="1074"/>
                  </a:lnTo>
                  <a:lnTo>
                    <a:pt x="217" y="1553"/>
                  </a:lnTo>
                  <a:lnTo>
                    <a:pt x="0" y="2637"/>
                  </a:lnTo>
                  <a:lnTo>
                    <a:pt x="1598" y="4121"/>
                  </a:lnTo>
                  <a:lnTo>
                    <a:pt x="2260" y="4269"/>
                  </a:lnTo>
                  <a:lnTo>
                    <a:pt x="3287" y="4942"/>
                  </a:lnTo>
                  <a:lnTo>
                    <a:pt x="4120" y="5296"/>
                  </a:lnTo>
                  <a:lnTo>
                    <a:pt x="4280" y="5695"/>
                  </a:lnTo>
                  <a:lnTo>
                    <a:pt x="3686" y="7065"/>
                  </a:lnTo>
                  <a:lnTo>
                    <a:pt x="4497" y="7316"/>
                  </a:lnTo>
                  <a:lnTo>
                    <a:pt x="5376" y="7464"/>
                  </a:lnTo>
                  <a:lnTo>
                    <a:pt x="5980" y="7305"/>
                  </a:lnTo>
                  <a:lnTo>
                    <a:pt x="6597" y="6620"/>
                  </a:lnTo>
                  <a:lnTo>
                    <a:pt x="6631" y="5810"/>
                  </a:lnTo>
                  <a:lnTo>
                    <a:pt x="6734" y="5296"/>
                  </a:lnTo>
                  <a:lnTo>
                    <a:pt x="6779" y="4748"/>
                  </a:lnTo>
                  <a:lnTo>
                    <a:pt x="6734" y="4258"/>
                  </a:lnTo>
                  <a:lnTo>
                    <a:pt x="6437" y="4086"/>
                  </a:lnTo>
                  <a:lnTo>
                    <a:pt x="6152" y="4235"/>
                  </a:lnTo>
                  <a:lnTo>
                    <a:pt x="5866" y="4200"/>
                  </a:lnTo>
                  <a:lnTo>
                    <a:pt x="5741" y="3835"/>
                  </a:lnTo>
                  <a:lnTo>
                    <a:pt x="5592" y="3014"/>
                  </a:lnTo>
                  <a:lnTo>
                    <a:pt x="5421" y="2740"/>
                  </a:lnTo>
                  <a:lnTo>
                    <a:pt x="4862" y="2500"/>
                  </a:lnTo>
                  <a:lnTo>
                    <a:pt x="4565" y="2671"/>
                  </a:lnTo>
                  <a:lnTo>
                    <a:pt x="3709" y="2500"/>
                  </a:lnTo>
                  <a:lnTo>
                    <a:pt x="3652" y="126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56" name="Google Shape;327;p29">
              <a:extLst>
                <a:ext uri="{FF2B5EF4-FFF2-40B4-BE49-F238E27FC236}">
                  <a16:creationId xmlns:a16="http://schemas.microsoft.com/office/drawing/2014/main" id="{468A53D5-4EEC-4755-ACE2-F8761FC020C8}"/>
                </a:ext>
              </a:extLst>
            </p:cNvPr>
            <p:cNvSpPr/>
            <p:nvPr/>
          </p:nvSpPr>
          <p:spPr>
            <a:xfrm>
              <a:off x="4390150" y="2374025"/>
              <a:ext cx="10875" cy="26850"/>
            </a:xfrm>
            <a:custGeom>
              <a:avLst/>
              <a:gdLst/>
              <a:ahLst/>
              <a:cxnLst/>
              <a:rect l="l" t="t" r="r" b="b"/>
              <a:pathLst>
                <a:path w="435" h="1074" extrusionOk="0">
                  <a:moveTo>
                    <a:pt x="377" y="126"/>
                  </a:moveTo>
                  <a:lnTo>
                    <a:pt x="92" y="1"/>
                  </a:lnTo>
                  <a:lnTo>
                    <a:pt x="1" y="617"/>
                  </a:lnTo>
                  <a:lnTo>
                    <a:pt x="195" y="720"/>
                  </a:lnTo>
                  <a:lnTo>
                    <a:pt x="24" y="834"/>
                  </a:lnTo>
                  <a:lnTo>
                    <a:pt x="12" y="1073"/>
                  </a:lnTo>
                  <a:lnTo>
                    <a:pt x="354" y="959"/>
                  </a:lnTo>
                  <a:lnTo>
                    <a:pt x="434" y="68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57" name="Google Shape;328;p29">
              <a:extLst>
                <a:ext uri="{FF2B5EF4-FFF2-40B4-BE49-F238E27FC236}">
                  <a16:creationId xmlns:a16="http://schemas.microsoft.com/office/drawing/2014/main" id="{056D7D20-5DF9-48FB-9FF4-9299C28AEB8A}"/>
                </a:ext>
              </a:extLst>
            </p:cNvPr>
            <p:cNvSpPr/>
            <p:nvPr/>
          </p:nvSpPr>
          <p:spPr>
            <a:xfrm>
              <a:off x="4709975" y="2519525"/>
              <a:ext cx="17425" cy="35400"/>
            </a:xfrm>
            <a:custGeom>
              <a:avLst/>
              <a:gdLst/>
              <a:ahLst/>
              <a:cxnLst/>
              <a:rect l="l" t="t" r="r" b="b"/>
              <a:pathLst>
                <a:path w="697" h="1416" extrusionOk="0">
                  <a:moveTo>
                    <a:pt x="583" y="1359"/>
                  </a:moveTo>
                  <a:lnTo>
                    <a:pt x="697" y="811"/>
                  </a:lnTo>
                  <a:lnTo>
                    <a:pt x="628" y="286"/>
                  </a:lnTo>
                  <a:lnTo>
                    <a:pt x="355" y="1"/>
                  </a:lnTo>
                  <a:lnTo>
                    <a:pt x="149" y="103"/>
                  </a:lnTo>
                  <a:lnTo>
                    <a:pt x="1" y="571"/>
                  </a:lnTo>
                  <a:lnTo>
                    <a:pt x="115" y="1245"/>
                  </a:lnTo>
                  <a:lnTo>
                    <a:pt x="366" y="1416"/>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58" name="Google Shape;329;p29">
              <a:extLst>
                <a:ext uri="{FF2B5EF4-FFF2-40B4-BE49-F238E27FC236}">
                  <a16:creationId xmlns:a16="http://schemas.microsoft.com/office/drawing/2014/main" id="{63352291-E844-4655-9D60-490E5AAA4A2A}"/>
                </a:ext>
              </a:extLst>
            </p:cNvPr>
            <p:cNvSpPr/>
            <p:nvPr/>
          </p:nvSpPr>
          <p:spPr>
            <a:xfrm>
              <a:off x="4082300" y="2021400"/>
              <a:ext cx="171225" cy="100150"/>
            </a:xfrm>
            <a:custGeom>
              <a:avLst/>
              <a:gdLst/>
              <a:ahLst/>
              <a:cxnLst/>
              <a:rect l="l" t="t" r="r" b="b"/>
              <a:pathLst>
                <a:path w="6849" h="4006" extrusionOk="0">
                  <a:moveTo>
                    <a:pt x="4303" y="0"/>
                  </a:moveTo>
                  <a:lnTo>
                    <a:pt x="4007" y="0"/>
                  </a:lnTo>
                  <a:lnTo>
                    <a:pt x="3870" y="217"/>
                  </a:lnTo>
                  <a:lnTo>
                    <a:pt x="3356" y="297"/>
                  </a:lnTo>
                  <a:lnTo>
                    <a:pt x="3128" y="422"/>
                  </a:lnTo>
                  <a:lnTo>
                    <a:pt x="2786" y="217"/>
                  </a:lnTo>
                  <a:lnTo>
                    <a:pt x="2329" y="217"/>
                  </a:lnTo>
                  <a:lnTo>
                    <a:pt x="1873" y="114"/>
                  </a:lnTo>
                  <a:lnTo>
                    <a:pt x="1599" y="297"/>
                  </a:lnTo>
                  <a:lnTo>
                    <a:pt x="1176" y="479"/>
                  </a:lnTo>
                  <a:lnTo>
                    <a:pt x="914" y="1084"/>
                  </a:lnTo>
                  <a:lnTo>
                    <a:pt x="537" y="1701"/>
                  </a:lnTo>
                  <a:lnTo>
                    <a:pt x="1" y="1849"/>
                  </a:lnTo>
                  <a:lnTo>
                    <a:pt x="412" y="2214"/>
                  </a:lnTo>
                  <a:lnTo>
                    <a:pt x="526" y="2477"/>
                  </a:lnTo>
                  <a:lnTo>
                    <a:pt x="982" y="2693"/>
                  </a:lnTo>
                  <a:lnTo>
                    <a:pt x="1085" y="3047"/>
                  </a:lnTo>
                  <a:lnTo>
                    <a:pt x="1519" y="3310"/>
                  </a:lnTo>
                  <a:lnTo>
                    <a:pt x="1724" y="3127"/>
                  </a:lnTo>
                  <a:lnTo>
                    <a:pt x="1930" y="3218"/>
                  </a:lnTo>
                  <a:lnTo>
                    <a:pt x="1770" y="3378"/>
                  </a:lnTo>
                  <a:lnTo>
                    <a:pt x="1907" y="3526"/>
                  </a:lnTo>
                  <a:lnTo>
                    <a:pt x="2169" y="3892"/>
                  </a:lnTo>
                  <a:lnTo>
                    <a:pt x="2443" y="3823"/>
                  </a:lnTo>
                  <a:lnTo>
                    <a:pt x="3014" y="3960"/>
                  </a:lnTo>
                  <a:lnTo>
                    <a:pt x="4075" y="4006"/>
                  </a:lnTo>
                  <a:lnTo>
                    <a:pt x="4406" y="3778"/>
                  </a:lnTo>
                  <a:lnTo>
                    <a:pt x="5239" y="3584"/>
                  </a:lnTo>
                  <a:lnTo>
                    <a:pt x="5810" y="3892"/>
                  </a:lnTo>
                  <a:lnTo>
                    <a:pt x="6232" y="3994"/>
                  </a:lnTo>
                  <a:lnTo>
                    <a:pt x="6289" y="2933"/>
                  </a:lnTo>
                  <a:lnTo>
                    <a:pt x="6517" y="3013"/>
                  </a:lnTo>
                  <a:lnTo>
                    <a:pt x="6848" y="2819"/>
                  </a:lnTo>
                  <a:lnTo>
                    <a:pt x="6791" y="2591"/>
                  </a:lnTo>
                  <a:lnTo>
                    <a:pt x="6449" y="2442"/>
                  </a:lnTo>
                  <a:lnTo>
                    <a:pt x="6129" y="2579"/>
                  </a:lnTo>
                  <a:lnTo>
                    <a:pt x="5787" y="2420"/>
                  </a:lnTo>
                  <a:lnTo>
                    <a:pt x="5604" y="2020"/>
                  </a:lnTo>
                  <a:lnTo>
                    <a:pt x="5627" y="1643"/>
                  </a:lnTo>
                  <a:lnTo>
                    <a:pt x="5547" y="1255"/>
                  </a:lnTo>
                  <a:lnTo>
                    <a:pt x="5057" y="731"/>
                  </a:lnTo>
                  <a:lnTo>
                    <a:pt x="4794" y="354"/>
                  </a:lnTo>
                  <a:lnTo>
                    <a:pt x="4532" y="8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59" name="Google Shape;330;p29">
              <a:extLst>
                <a:ext uri="{FF2B5EF4-FFF2-40B4-BE49-F238E27FC236}">
                  <a16:creationId xmlns:a16="http://schemas.microsoft.com/office/drawing/2014/main" id="{32F645F9-DFA0-4D8B-B0DE-EEE96A435707}"/>
                </a:ext>
              </a:extLst>
            </p:cNvPr>
            <p:cNvSpPr/>
            <p:nvPr/>
          </p:nvSpPr>
          <p:spPr>
            <a:xfrm>
              <a:off x="4052075" y="1374325"/>
              <a:ext cx="2474475" cy="802875"/>
            </a:xfrm>
            <a:custGeom>
              <a:avLst/>
              <a:gdLst/>
              <a:ahLst/>
              <a:cxnLst/>
              <a:rect l="l" t="t" r="r" b="b"/>
              <a:pathLst>
                <a:path w="98979" h="32115" extrusionOk="0">
                  <a:moveTo>
                    <a:pt x="37501" y="1461"/>
                  </a:moveTo>
                  <a:lnTo>
                    <a:pt x="36862" y="890"/>
                  </a:lnTo>
                  <a:lnTo>
                    <a:pt x="34922" y="308"/>
                  </a:lnTo>
                  <a:lnTo>
                    <a:pt x="33575" y="0"/>
                  </a:lnTo>
                  <a:lnTo>
                    <a:pt x="32685" y="137"/>
                  </a:lnTo>
                  <a:lnTo>
                    <a:pt x="31932" y="548"/>
                  </a:lnTo>
                  <a:lnTo>
                    <a:pt x="32765" y="662"/>
                  </a:lnTo>
                  <a:lnTo>
                    <a:pt x="33700" y="1119"/>
                  </a:lnTo>
                  <a:lnTo>
                    <a:pt x="34842" y="1358"/>
                  </a:lnTo>
                  <a:lnTo>
                    <a:pt x="36485" y="1541"/>
                  </a:lnTo>
                  <a:close/>
                  <a:moveTo>
                    <a:pt x="12006" y="423"/>
                  </a:moveTo>
                  <a:lnTo>
                    <a:pt x="12131" y="331"/>
                  </a:lnTo>
                  <a:lnTo>
                    <a:pt x="11321" y="206"/>
                  </a:lnTo>
                  <a:lnTo>
                    <a:pt x="10922" y="308"/>
                  </a:lnTo>
                  <a:lnTo>
                    <a:pt x="10739" y="445"/>
                  </a:lnTo>
                  <a:lnTo>
                    <a:pt x="10522" y="274"/>
                  </a:lnTo>
                  <a:lnTo>
                    <a:pt x="9781" y="286"/>
                  </a:lnTo>
                  <a:lnTo>
                    <a:pt x="8902" y="400"/>
                  </a:lnTo>
                  <a:lnTo>
                    <a:pt x="9997" y="411"/>
                  </a:lnTo>
                  <a:lnTo>
                    <a:pt x="9838" y="605"/>
                  </a:lnTo>
                  <a:lnTo>
                    <a:pt x="10465" y="742"/>
                  </a:lnTo>
                  <a:lnTo>
                    <a:pt x="10979" y="639"/>
                  </a:lnTo>
                  <a:lnTo>
                    <a:pt x="10990" y="548"/>
                  </a:lnTo>
                  <a:lnTo>
                    <a:pt x="11412" y="502"/>
                  </a:lnTo>
                  <a:close/>
                  <a:moveTo>
                    <a:pt x="40605" y="1826"/>
                  </a:moveTo>
                  <a:lnTo>
                    <a:pt x="40399" y="1575"/>
                  </a:lnTo>
                  <a:lnTo>
                    <a:pt x="38608" y="1199"/>
                  </a:lnTo>
                  <a:lnTo>
                    <a:pt x="38185" y="1164"/>
                  </a:lnTo>
                  <a:lnTo>
                    <a:pt x="37866" y="1233"/>
                  </a:lnTo>
                  <a:lnTo>
                    <a:pt x="38037" y="2089"/>
                  </a:lnTo>
                  <a:close/>
                  <a:moveTo>
                    <a:pt x="42773" y="2728"/>
                  </a:moveTo>
                  <a:lnTo>
                    <a:pt x="41461" y="2625"/>
                  </a:lnTo>
                  <a:lnTo>
                    <a:pt x="41951" y="2454"/>
                  </a:lnTo>
                  <a:lnTo>
                    <a:pt x="40776" y="2249"/>
                  </a:lnTo>
                  <a:lnTo>
                    <a:pt x="39909" y="2511"/>
                  </a:lnTo>
                  <a:lnTo>
                    <a:pt x="39772" y="2796"/>
                  </a:lnTo>
                  <a:lnTo>
                    <a:pt x="39977" y="3104"/>
                  </a:lnTo>
                  <a:lnTo>
                    <a:pt x="38996" y="3082"/>
                  </a:lnTo>
                  <a:lnTo>
                    <a:pt x="38243" y="3458"/>
                  </a:lnTo>
                  <a:lnTo>
                    <a:pt x="37626" y="3298"/>
                  </a:lnTo>
                  <a:lnTo>
                    <a:pt x="36302" y="3367"/>
                  </a:lnTo>
                  <a:lnTo>
                    <a:pt x="36348" y="3561"/>
                  </a:lnTo>
                  <a:lnTo>
                    <a:pt x="35036" y="3652"/>
                  </a:lnTo>
                  <a:lnTo>
                    <a:pt x="34328" y="3995"/>
                  </a:lnTo>
                  <a:lnTo>
                    <a:pt x="33735" y="4029"/>
                  </a:lnTo>
                  <a:lnTo>
                    <a:pt x="33564" y="4497"/>
                  </a:lnTo>
                  <a:lnTo>
                    <a:pt x="34340" y="4873"/>
                  </a:lnTo>
                  <a:lnTo>
                    <a:pt x="33244" y="4965"/>
                  </a:lnTo>
                  <a:lnTo>
                    <a:pt x="31886" y="4930"/>
                  </a:lnTo>
                  <a:lnTo>
                    <a:pt x="31064" y="5079"/>
                  </a:lnTo>
                  <a:lnTo>
                    <a:pt x="31749" y="5855"/>
                  </a:lnTo>
                  <a:lnTo>
                    <a:pt x="32730" y="6471"/>
                  </a:lnTo>
                  <a:lnTo>
                    <a:pt x="31361" y="6037"/>
                  </a:lnTo>
                  <a:lnTo>
                    <a:pt x="30231" y="6083"/>
                  </a:lnTo>
                  <a:lnTo>
                    <a:pt x="29512" y="6368"/>
                  </a:lnTo>
                  <a:lnTo>
                    <a:pt x="30151" y="6905"/>
                  </a:lnTo>
                  <a:lnTo>
                    <a:pt x="29455" y="6768"/>
                  </a:lnTo>
                  <a:lnTo>
                    <a:pt x="29158" y="6049"/>
                  </a:lnTo>
                  <a:lnTo>
                    <a:pt x="28554" y="5649"/>
                  </a:lnTo>
                  <a:lnTo>
                    <a:pt x="28303" y="5672"/>
                  </a:lnTo>
                  <a:lnTo>
                    <a:pt x="28805" y="6197"/>
                  </a:lnTo>
                  <a:lnTo>
                    <a:pt x="28154" y="6699"/>
                  </a:lnTo>
                  <a:lnTo>
                    <a:pt x="29307" y="7293"/>
                  </a:lnTo>
                  <a:lnTo>
                    <a:pt x="29364" y="8069"/>
                  </a:lnTo>
                  <a:lnTo>
                    <a:pt x="29786" y="8480"/>
                  </a:lnTo>
                  <a:lnTo>
                    <a:pt x="30448" y="8548"/>
                  </a:lnTo>
                  <a:lnTo>
                    <a:pt x="30505" y="9050"/>
                  </a:lnTo>
                  <a:lnTo>
                    <a:pt x="31133" y="9495"/>
                  </a:lnTo>
                  <a:lnTo>
                    <a:pt x="30870" y="9860"/>
                  </a:lnTo>
                  <a:lnTo>
                    <a:pt x="30939" y="10248"/>
                  </a:lnTo>
                  <a:lnTo>
                    <a:pt x="30414" y="10442"/>
                  </a:lnTo>
                  <a:lnTo>
                    <a:pt x="30334" y="10728"/>
                  </a:lnTo>
                  <a:lnTo>
                    <a:pt x="29581" y="10614"/>
                  </a:lnTo>
                  <a:lnTo>
                    <a:pt x="30083" y="9507"/>
                  </a:lnTo>
                  <a:lnTo>
                    <a:pt x="30014" y="8993"/>
                  </a:lnTo>
                  <a:lnTo>
                    <a:pt x="29056" y="8514"/>
                  </a:lnTo>
                  <a:lnTo>
                    <a:pt x="28508" y="7475"/>
                  </a:lnTo>
                  <a:lnTo>
                    <a:pt x="27983" y="6950"/>
                  </a:lnTo>
                  <a:lnTo>
                    <a:pt x="27469" y="6722"/>
                  </a:lnTo>
                  <a:lnTo>
                    <a:pt x="27584" y="6117"/>
                  </a:lnTo>
                  <a:lnTo>
                    <a:pt x="27173" y="5706"/>
                  </a:lnTo>
                  <a:lnTo>
                    <a:pt x="25564" y="5512"/>
                  </a:lnTo>
                  <a:lnTo>
                    <a:pt x="25255" y="5649"/>
                  </a:lnTo>
                  <a:lnTo>
                    <a:pt x="25335" y="6323"/>
                  </a:lnTo>
                  <a:lnTo>
                    <a:pt x="24719" y="6996"/>
                  </a:lnTo>
                  <a:lnTo>
                    <a:pt x="24890" y="7236"/>
                  </a:lnTo>
                  <a:lnTo>
                    <a:pt x="25564" y="7818"/>
                  </a:lnTo>
                  <a:lnTo>
                    <a:pt x="25575" y="8194"/>
                  </a:lnTo>
                  <a:lnTo>
                    <a:pt x="26328" y="8263"/>
                  </a:lnTo>
                  <a:lnTo>
                    <a:pt x="26442" y="8423"/>
                  </a:lnTo>
                  <a:lnTo>
                    <a:pt x="27275" y="8833"/>
                  </a:lnTo>
                  <a:lnTo>
                    <a:pt x="27127" y="9233"/>
                  </a:lnTo>
                  <a:lnTo>
                    <a:pt x="24491" y="8365"/>
                  </a:lnTo>
                  <a:lnTo>
                    <a:pt x="23544" y="8114"/>
                  </a:lnTo>
                  <a:lnTo>
                    <a:pt x="21718" y="7886"/>
                  </a:lnTo>
                  <a:lnTo>
                    <a:pt x="21546" y="8137"/>
                  </a:lnTo>
                  <a:lnTo>
                    <a:pt x="22391" y="8571"/>
                  </a:lnTo>
                  <a:lnTo>
                    <a:pt x="22003" y="9084"/>
                  </a:lnTo>
                  <a:lnTo>
                    <a:pt x="21090" y="8628"/>
                  </a:lnTo>
                  <a:lnTo>
                    <a:pt x="20382" y="8947"/>
                  </a:lnTo>
                  <a:lnTo>
                    <a:pt x="19298" y="8959"/>
                  </a:lnTo>
                  <a:lnTo>
                    <a:pt x="19002" y="9233"/>
                  </a:lnTo>
                  <a:lnTo>
                    <a:pt x="18237" y="9141"/>
                  </a:lnTo>
                  <a:lnTo>
                    <a:pt x="18602" y="8674"/>
                  </a:lnTo>
                  <a:lnTo>
                    <a:pt x="18146" y="8651"/>
                  </a:lnTo>
                  <a:lnTo>
                    <a:pt x="16388" y="9301"/>
                  </a:lnTo>
                  <a:lnTo>
                    <a:pt x="15304" y="9678"/>
                  </a:lnTo>
                  <a:lnTo>
                    <a:pt x="15361" y="10169"/>
                  </a:lnTo>
                  <a:lnTo>
                    <a:pt x="14505" y="10340"/>
                  </a:lnTo>
                  <a:lnTo>
                    <a:pt x="13935" y="10077"/>
                  </a:lnTo>
                  <a:lnTo>
                    <a:pt x="13763" y="9644"/>
                  </a:lnTo>
                  <a:lnTo>
                    <a:pt x="14471" y="9541"/>
                  </a:lnTo>
                  <a:lnTo>
                    <a:pt x="13957" y="9119"/>
                  </a:lnTo>
                  <a:lnTo>
                    <a:pt x="12223" y="8856"/>
                  </a:lnTo>
                  <a:lnTo>
                    <a:pt x="12839" y="9347"/>
                  </a:lnTo>
                  <a:lnTo>
                    <a:pt x="12725" y="9803"/>
                  </a:lnTo>
                  <a:lnTo>
                    <a:pt x="13387" y="10271"/>
                  </a:lnTo>
                  <a:lnTo>
                    <a:pt x="13238" y="10819"/>
                  </a:lnTo>
                  <a:lnTo>
                    <a:pt x="12576" y="10545"/>
                  </a:lnTo>
                  <a:lnTo>
                    <a:pt x="12006" y="10500"/>
                  </a:lnTo>
                  <a:lnTo>
                    <a:pt x="10865" y="11276"/>
                  </a:lnTo>
                  <a:lnTo>
                    <a:pt x="11470" y="11858"/>
                  </a:lnTo>
                  <a:lnTo>
                    <a:pt x="11013" y="12052"/>
                  </a:lnTo>
                  <a:lnTo>
                    <a:pt x="9381" y="11561"/>
                  </a:lnTo>
                  <a:lnTo>
                    <a:pt x="9084" y="11858"/>
                  </a:lnTo>
                  <a:lnTo>
                    <a:pt x="9552" y="12200"/>
                  </a:lnTo>
                  <a:lnTo>
                    <a:pt x="9587" y="12588"/>
                  </a:lnTo>
                  <a:lnTo>
                    <a:pt x="9039" y="12383"/>
                  </a:lnTo>
                  <a:lnTo>
                    <a:pt x="8183" y="12143"/>
                  </a:lnTo>
                  <a:lnTo>
                    <a:pt x="7909" y="11310"/>
                  </a:lnTo>
                  <a:lnTo>
                    <a:pt x="7772" y="10945"/>
                  </a:lnTo>
                  <a:lnTo>
                    <a:pt x="6631" y="10374"/>
                  </a:lnTo>
                  <a:lnTo>
                    <a:pt x="7042" y="10271"/>
                  </a:lnTo>
                  <a:lnTo>
                    <a:pt x="9906" y="10876"/>
                  </a:lnTo>
                  <a:lnTo>
                    <a:pt x="10819" y="10659"/>
                  </a:lnTo>
                  <a:lnTo>
                    <a:pt x="11355" y="10248"/>
                  </a:lnTo>
                  <a:lnTo>
                    <a:pt x="11127" y="9735"/>
                  </a:lnTo>
                  <a:lnTo>
                    <a:pt x="10557" y="9358"/>
                  </a:lnTo>
                  <a:lnTo>
                    <a:pt x="8046" y="8491"/>
                  </a:lnTo>
                  <a:lnTo>
                    <a:pt x="6391" y="8308"/>
                  </a:lnTo>
                  <a:lnTo>
                    <a:pt x="5307" y="7852"/>
                  </a:lnTo>
                  <a:lnTo>
                    <a:pt x="4793" y="8103"/>
                  </a:lnTo>
                  <a:lnTo>
                    <a:pt x="4793" y="8103"/>
                  </a:lnTo>
                  <a:lnTo>
                    <a:pt x="3880" y="8423"/>
                  </a:lnTo>
                  <a:lnTo>
                    <a:pt x="3424" y="8491"/>
                  </a:lnTo>
                  <a:lnTo>
                    <a:pt x="3481" y="9016"/>
                  </a:lnTo>
                  <a:lnTo>
                    <a:pt x="4508" y="9541"/>
                  </a:lnTo>
                  <a:lnTo>
                    <a:pt x="4109" y="10134"/>
                  </a:lnTo>
                  <a:lnTo>
                    <a:pt x="5022" y="11024"/>
                  </a:lnTo>
                  <a:lnTo>
                    <a:pt x="4771" y="11709"/>
                  </a:lnTo>
                  <a:lnTo>
                    <a:pt x="5478" y="12303"/>
                  </a:lnTo>
                  <a:lnTo>
                    <a:pt x="5341" y="12828"/>
                  </a:lnTo>
                  <a:lnTo>
                    <a:pt x="6391" y="13387"/>
                  </a:lnTo>
                  <a:lnTo>
                    <a:pt x="6254" y="13798"/>
                  </a:lnTo>
                  <a:lnTo>
                    <a:pt x="5786" y="14266"/>
                  </a:lnTo>
                  <a:lnTo>
                    <a:pt x="4656" y="15327"/>
                  </a:lnTo>
                  <a:lnTo>
                    <a:pt x="4656" y="15327"/>
                  </a:lnTo>
                  <a:lnTo>
                    <a:pt x="5421" y="15726"/>
                  </a:lnTo>
                  <a:lnTo>
                    <a:pt x="4771" y="16183"/>
                  </a:lnTo>
                  <a:lnTo>
                    <a:pt x="4771" y="16183"/>
                  </a:lnTo>
                  <a:lnTo>
                    <a:pt x="4908" y="16320"/>
                  </a:lnTo>
                  <a:lnTo>
                    <a:pt x="4531" y="16810"/>
                  </a:lnTo>
                  <a:lnTo>
                    <a:pt x="4885" y="17586"/>
                  </a:lnTo>
                  <a:lnTo>
                    <a:pt x="4656" y="17860"/>
                  </a:lnTo>
                  <a:lnTo>
                    <a:pt x="4999" y="18066"/>
                  </a:lnTo>
                  <a:lnTo>
                    <a:pt x="5147" y="18465"/>
                  </a:lnTo>
                  <a:lnTo>
                    <a:pt x="5444" y="18979"/>
                  </a:lnTo>
                  <a:lnTo>
                    <a:pt x="6186" y="19184"/>
                  </a:lnTo>
                  <a:lnTo>
                    <a:pt x="6334" y="19390"/>
                  </a:lnTo>
                  <a:lnTo>
                    <a:pt x="6654" y="19287"/>
                  </a:lnTo>
                  <a:lnTo>
                    <a:pt x="7338" y="19492"/>
                  </a:lnTo>
                  <a:lnTo>
                    <a:pt x="7487" y="19903"/>
                  </a:lnTo>
                  <a:lnTo>
                    <a:pt x="7395" y="20131"/>
                  </a:lnTo>
                  <a:lnTo>
                    <a:pt x="7932" y="20691"/>
                  </a:lnTo>
                  <a:lnTo>
                    <a:pt x="8240" y="20839"/>
                  </a:lnTo>
                  <a:lnTo>
                    <a:pt x="8228" y="20999"/>
                  </a:lnTo>
                  <a:lnTo>
                    <a:pt x="8708" y="21158"/>
                  </a:lnTo>
                  <a:lnTo>
                    <a:pt x="8959" y="21387"/>
                  </a:lnTo>
                  <a:lnTo>
                    <a:pt x="8731" y="21569"/>
                  </a:lnTo>
                  <a:lnTo>
                    <a:pt x="8171" y="21547"/>
                  </a:lnTo>
                  <a:lnTo>
                    <a:pt x="8057" y="21626"/>
                  </a:lnTo>
                  <a:lnTo>
                    <a:pt x="8274" y="21912"/>
                  </a:lnTo>
                  <a:lnTo>
                    <a:pt x="8559" y="22471"/>
                  </a:lnTo>
                  <a:lnTo>
                    <a:pt x="8559" y="22471"/>
                  </a:lnTo>
                  <a:lnTo>
                    <a:pt x="8810" y="22494"/>
                  </a:lnTo>
                  <a:lnTo>
                    <a:pt x="8959" y="22300"/>
                  </a:lnTo>
                  <a:lnTo>
                    <a:pt x="9164" y="22345"/>
                  </a:lnTo>
                  <a:lnTo>
                    <a:pt x="9849" y="22265"/>
                  </a:lnTo>
                  <a:lnTo>
                    <a:pt x="10397" y="22756"/>
                  </a:lnTo>
                  <a:lnTo>
                    <a:pt x="10271" y="22939"/>
                  </a:lnTo>
                  <a:lnTo>
                    <a:pt x="10363" y="23213"/>
                  </a:lnTo>
                  <a:lnTo>
                    <a:pt x="10933" y="23247"/>
                  </a:lnTo>
                  <a:lnTo>
                    <a:pt x="11253" y="23624"/>
                  </a:lnTo>
                  <a:lnTo>
                    <a:pt x="11276" y="23795"/>
                  </a:lnTo>
                  <a:lnTo>
                    <a:pt x="12223" y="24114"/>
                  </a:lnTo>
                  <a:lnTo>
                    <a:pt x="12725" y="23966"/>
                  </a:lnTo>
                  <a:lnTo>
                    <a:pt x="13238" y="24377"/>
                  </a:lnTo>
                  <a:lnTo>
                    <a:pt x="13649" y="24365"/>
                  </a:lnTo>
                  <a:lnTo>
                    <a:pt x="14733" y="24651"/>
                  </a:lnTo>
                  <a:lnTo>
                    <a:pt x="14790" y="24925"/>
                  </a:lnTo>
                  <a:lnTo>
                    <a:pt x="14608" y="25381"/>
                  </a:lnTo>
                  <a:lnTo>
                    <a:pt x="14859" y="25860"/>
                  </a:lnTo>
                  <a:lnTo>
                    <a:pt x="14813" y="26168"/>
                  </a:lnTo>
                  <a:lnTo>
                    <a:pt x="14151" y="26237"/>
                  </a:lnTo>
                  <a:lnTo>
                    <a:pt x="13832" y="26477"/>
                  </a:lnTo>
                  <a:lnTo>
                    <a:pt x="13889" y="26876"/>
                  </a:lnTo>
                  <a:lnTo>
                    <a:pt x="14494" y="26739"/>
                  </a:lnTo>
                  <a:lnTo>
                    <a:pt x="14551" y="26922"/>
                  </a:lnTo>
                  <a:lnTo>
                    <a:pt x="13581" y="27287"/>
                  </a:lnTo>
                  <a:lnTo>
                    <a:pt x="14037" y="27629"/>
                  </a:lnTo>
                  <a:lnTo>
                    <a:pt x="13581" y="28371"/>
                  </a:lnTo>
                  <a:lnTo>
                    <a:pt x="13090" y="28519"/>
                  </a:lnTo>
                  <a:lnTo>
                    <a:pt x="13809" y="29033"/>
                  </a:lnTo>
                  <a:lnTo>
                    <a:pt x="14688" y="29375"/>
                  </a:lnTo>
                  <a:lnTo>
                    <a:pt x="15749" y="30106"/>
                  </a:lnTo>
                  <a:lnTo>
                    <a:pt x="15818" y="30003"/>
                  </a:lnTo>
                  <a:lnTo>
                    <a:pt x="16457" y="30163"/>
                  </a:lnTo>
                  <a:lnTo>
                    <a:pt x="17552" y="30300"/>
                  </a:lnTo>
                  <a:lnTo>
                    <a:pt x="18625" y="30710"/>
                  </a:lnTo>
                  <a:lnTo>
                    <a:pt x="18785" y="30882"/>
                  </a:lnTo>
                  <a:lnTo>
                    <a:pt x="19196" y="30745"/>
                  </a:lnTo>
                  <a:lnTo>
                    <a:pt x="19926" y="30927"/>
                  </a:lnTo>
                  <a:lnTo>
                    <a:pt x="20223" y="31281"/>
                  </a:lnTo>
                  <a:lnTo>
                    <a:pt x="20725" y="31487"/>
                  </a:lnTo>
                  <a:lnTo>
                    <a:pt x="20942" y="31509"/>
                  </a:lnTo>
                  <a:lnTo>
                    <a:pt x="21546" y="32057"/>
                  </a:lnTo>
                  <a:lnTo>
                    <a:pt x="21889" y="32114"/>
                  </a:lnTo>
                  <a:lnTo>
                    <a:pt x="21969" y="31897"/>
                  </a:lnTo>
                  <a:lnTo>
                    <a:pt x="22334" y="31544"/>
                  </a:lnTo>
                  <a:lnTo>
                    <a:pt x="22334" y="31544"/>
                  </a:lnTo>
                  <a:lnTo>
                    <a:pt x="21295" y="30505"/>
                  </a:lnTo>
                  <a:lnTo>
                    <a:pt x="21238" y="29912"/>
                  </a:lnTo>
                  <a:lnTo>
                    <a:pt x="20394" y="29079"/>
                  </a:lnTo>
                  <a:lnTo>
                    <a:pt x="20896" y="28177"/>
                  </a:lnTo>
                  <a:lnTo>
                    <a:pt x="21546" y="28017"/>
                  </a:lnTo>
                  <a:lnTo>
                    <a:pt x="21752" y="27492"/>
                  </a:lnTo>
                  <a:lnTo>
                    <a:pt x="21352" y="27344"/>
                  </a:lnTo>
                  <a:lnTo>
                    <a:pt x="21318" y="26887"/>
                  </a:lnTo>
                  <a:lnTo>
                    <a:pt x="20725" y="26305"/>
                  </a:lnTo>
                  <a:lnTo>
                    <a:pt x="20211" y="26340"/>
                  </a:lnTo>
                  <a:lnTo>
                    <a:pt x="19458" y="25723"/>
                  </a:lnTo>
                  <a:lnTo>
                    <a:pt x="19698" y="25050"/>
                  </a:lnTo>
                  <a:lnTo>
                    <a:pt x="19458" y="24879"/>
                  </a:lnTo>
                  <a:lnTo>
                    <a:pt x="19755" y="23909"/>
                  </a:lnTo>
                  <a:lnTo>
                    <a:pt x="20611" y="24422"/>
                  </a:lnTo>
                  <a:lnTo>
                    <a:pt x="20508" y="23772"/>
                  </a:lnTo>
                  <a:lnTo>
                    <a:pt x="21661" y="22825"/>
                  </a:lnTo>
                  <a:lnTo>
                    <a:pt x="22733" y="22802"/>
                  </a:lnTo>
                  <a:lnTo>
                    <a:pt x="24434" y="23407"/>
                  </a:lnTo>
                  <a:lnTo>
                    <a:pt x="25370" y="23749"/>
                  </a:lnTo>
                  <a:lnTo>
                    <a:pt x="25986" y="23395"/>
                  </a:lnTo>
                  <a:lnTo>
                    <a:pt x="27070" y="23372"/>
                  </a:lnTo>
                  <a:lnTo>
                    <a:pt x="28108" y="23829"/>
                  </a:lnTo>
                  <a:lnTo>
                    <a:pt x="28223" y="23566"/>
                  </a:lnTo>
                  <a:lnTo>
                    <a:pt x="29215" y="23612"/>
                  </a:lnTo>
                  <a:lnTo>
                    <a:pt x="29238" y="23178"/>
                  </a:lnTo>
                  <a:lnTo>
                    <a:pt x="27903" y="22585"/>
                  </a:lnTo>
                  <a:lnTo>
                    <a:pt x="28417" y="22174"/>
                  </a:lnTo>
                  <a:lnTo>
                    <a:pt x="28200" y="21923"/>
                  </a:lnTo>
                  <a:lnTo>
                    <a:pt x="28759" y="21695"/>
                  </a:lnTo>
                  <a:lnTo>
                    <a:pt x="28040" y="21113"/>
                  </a:lnTo>
                  <a:lnTo>
                    <a:pt x="28245" y="20816"/>
                  </a:lnTo>
                  <a:lnTo>
                    <a:pt x="30642" y="20519"/>
                  </a:lnTo>
                  <a:lnTo>
                    <a:pt x="30882" y="20303"/>
                  </a:lnTo>
                  <a:lnTo>
                    <a:pt x="32422" y="19983"/>
                  </a:lnTo>
                  <a:lnTo>
                    <a:pt x="32867" y="19629"/>
                  </a:lnTo>
                  <a:lnTo>
                    <a:pt x="34146" y="19812"/>
                  </a:lnTo>
                  <a:lnTo>
                    <a:pt x="34762" y="20713"/>
                  </a:lnTo>
                  <a:lnTo>
                    <a:pt x="35378" y="20497"/>
                  </a:lnTo>
                  <a:lnTo>
                    <a:pt x="36371" y="20805"/>
                  </a:lnTo>
                  <a:lnTo>
                    <a:pt x="36542" y="21273"/>
                  </a:lnTo>
                  <a:lnTo>
                    <a:pt x="37170" y="21216"/>
                  </a:lnTo>
                  <a:lnTo>
                    <a:pt x="38471" y="20405"/>
                  </a:lnTo>
                  <a:lnTo>
                    <a:pt x="38357" y="20679"/>
                  </a:lnTo>
                  <a:lnTo>
                    <a:pt x="39544" y="21341"/>
                  </a:lnTo>
                  <a:lnTo>
                    <a:pt x="42123" y="23555"/>
                  </a:lnTo>
                  <a:lnTo>
                    <a:pt x="42282" y="23087"/>
                  </a:lnTo>
                  <a:lnTo>
                    <a:pt x="43458" y="23601"/>
                  </a:lnTo>
                  <a:lnTo>
                    <a:pt x="44348" y="23372"/>
                  </a:lnTo>
                  <a:lnTo>
                    <a:pt x="44805" y="23521"/>
                  </a:lnTo>
                  <a:lnTo>
                    <a:pt x="45387" y="24034"/>
                  </a:lnTo>
                  <a:lnTo>
                    <a:pt x="45946" y="24206"/>
                  </a:lnTo>
                  <a:lnTo>
                    <a:pt x="46414" y="24582"/>
                  </a:lnTo>
                  <a:lnTo>
                    <a:pt x="47270" y="24457"/>
                  </a:lnTo>
                  <a:lnTo>
                    <a:pt x="47886" y="24993"/>
                  </a:lnTo>
                  <a:lnTo>
                    <a:pt x="48125" y="24925"/>
                  </a:lnTo>
                  <a:lnTo>
                    <a:pt x="48799" y="24776"/>
                  </a:lnTo>
                  <a:lnTo>
                    <a:pt x="49735" y="24012"/>
                  </a:lnTo>
                  <a:lnTo>
                    <a:pt x="50579" y="23601"/>
                  </a:lnTo>
                  <a:lnTo>
                    <a:pt x="51332" y="23863"/>
                  </a:lnTo>
                  <a:lnTo>
                    <a:pt x="52063" y="23886"/>
                  </a:lnTo>
                  <a:lnTo>
                    <a:pt x="52736" y="24297"/>
                  </a:lnTo>
                  <a:lnTo>
                    <a:pt x="53444" y="24320"/>
                  </a:lnTo>
                  <a:lnTo>
                    <a:pt x="54573" y="24548"/>
                  </a:lnTo>
                  <a:lnTo>
                    <a:pt x="54916" y="23943"/>
                  </a:lnTo>
                  <a:lnTo>
                    <a:pt x="54345" y="23430"/>
                  </a:lnTo>
                  <a:lnTo>
                    <a:pt x="54528" y="22517"/>
                  </a:lnTo>
                  <a:lnTo>
                    <a:pt x="55521" y="22870"/>
                  </a:lnTo>
                  <a:lnTo>
                    <a:pt x="56205" y="22984"/>
                  </a:lnTo>
                  <a:lnTo>
                    <a:pt x="57141" y="23201"/>
                  </a:lnTo>
                  <a:lnTo>
                    <a:pt x="57666" y="23852"/>
                  </a:lnTo>
                  <a:lnTo>
                    <a:pt x="58864" y="24228"/>
                  </a:lnTo>
                  <a:lnTo>
                    <a:pt x="59424" y="24069"/>
                  </a:lnTo>
                  <a:lnTo>
                    <a:pt x="60234" y="23954"/>
                  </a:lnTo>
                  <a:lnTo>
                    <a:pt x="61010" y="24069"/>
                  </a:lnTo>
                  <a:lnTo>
                    <a:pt x="61934" y="24491"/>
                  </a:lnTo>
                  <a:lnTo>
                    <a:pt x="62630" y="24936"/>
                  </a:lnTo>
                  <a:lnTo>
                    <a:pt x="63281" y="24936"/>
                  </a:lnTo>
                  <a:lnTo>
                    <a:pt x="64228" y="25084"/>
                  </a:lnTo>
                  <a:lnTo>
                    <a:pt x="64742" y="24856"/>
                  </a:lnTo>
                  <a:lnTo>
                    <a:pt x="65575" y="24708"/>
                  </a:lnTo>
                  <a:lnTo>
                    <a:pt x="66214" y="24080"/>
                  </a:lnTo>
                  <a:lnTo>
                    <a:pt x="66682" y="24183"/>
                  </a:lnTo>
                  <a:lnTo>
                    <a:pt x="67241" y="24479"/>
                  </a:lnTo>
                  <a:lnTo>
                    <a:pt x="68028" y="24411"/>
                  </a:lnTo>
                  <a:lnTo>
                    <a:pt x="69067" y="24742"/>
                  </a:lnTo>
                  <a:lnTo>
                    <a:pt x="69695" y="24183"/>
                  </a:lnTo>
                  <a:lnTo>
                    <a:pt x="69421" y="23795"/>
                  </a:lnTo>
                  <a:lnTo>
                    <a:pt x="69409" y="22870"/>
                  </a:lnTo>
                  <a:lnTo>
                    <a:pt x="69580" y="22585"/>
                  </a:lnTo>
                  <a:lnTo>
                    <a:pt x="69227" y="22117"/>
                  </a:lnTo>
                  <a:lnTo>
                    <a:pt x="68702" y="21900"/>
                  </a:lnTo>
                  <a:lnTo>
                    <a:pt x="68941" y="21467"/>
                  </a:lnTo>
                  <a:lnTo>
                    <a:pt x="69672" y="21318"/>
                  </a:lnTo>
                  <a:lnTo>
                    <a:pt x="70550" y="21284"/>
                  </a:lnTo>
                  <a:lnTo>
                    <a:pt x="71760" y="21547"/>
                  </a:lnTo>
                  <a:lnTo>
                    <a:pt x="72605" y="21866"/>
                  </a:lnTo>
                  <a:lnTo>
                    <a:pt x="73700" y="22745"/>
                  </a:lnTo>
                  <a:lnTo>
                    <a:pt x="74248" y="23121"/>
                  </a:lnTo>
                  <a:lnTo>
                    <a:pt x="74876" y="23658"/>
                  </a:lnTo>
                  <a:lnTo>
                    <a:pt x="75743" y="24525"/>
                  </a:lnTo>
                  <a:lnTo>
                    <a:pt x="77158" y="24799"/>
                  </a:lnTo>
                  <a:lnTo>
                    <a:pt x="78425" y="25438"/>
                  </a:lnTo>
                  <a:lnTo>
                    <a:pt x="79281" y="26260"/>
                  </a:lnTo>
                  <a:lnTo>
                    <a:pt x="80354" y="26260"/>
                  </a:lnTo>
                  <a:lnTo>
                    <a:pt x="80719" y="25906"/>
                  </a:lnTo>
                  <a:lnTo>
                    <a:pt x="81712" y="25655"/>
                  </a:lnTo>
                  <a:lnTo>
                    <a:pt x="81894" y="26454"/>
                  </a:lnTo>
                  <a:lnTo>
                    <a:pt x="81837" y="26773"/>
                  </a:lnTo>
                  <a:lnTo>
                    <a:pt x="82237" y="27743"/>
                  </a:lnTo>
                  <a:lnTo>
                    <a:pt x="82316" y="28599"/>
                  </a:lnTo>
                  <a:lnTo>
                    <a:pt x="81346" y="28451"/>
                  </a:lnTo>
                  <a:lnTo>
                    <a:pt x="80936" y="28759"/>
                  </a:lnTo>
                  <a:lnTo>
                    <a:pt x="81609" y="29512"/>
                  </a:lnTo>
                  <a:lnTo>
                    <a:pt x="82145" y="30562"/>
                  </a:lnTo>
                  <a:lnTo>
                    <a:pt x="81791" y="30574"/>
                  </a:lnTo>
                  <a:lnTo>
                    <a:pt x="82065" y="31019"/>
                  </a:lnTo>
                  <a:lnTo>
                    <a:pt x="82065" y="31019"/>
                  </a:lnTo>
                  <a:lnTo>
                    <a:pt x="82259" y="31167"/>
                  </a:lnTo>
                  <a:lnTo>
                    <a:pt x="82259" y="31167"/>
                  </a:lnTo>
                  <a:lnTo>
                    <a:pt x="82259" y="31167"/>
                  </a:lnTo>
                  <a:lnTo>
                    <a:pt x="82259" y="31167"/>
                  </a:lnTo>
                  <a:lnTo>
                    <a:pt x="82202" y="30882"/>
                  </a:lnTo>
                  <a:lnTo>
                    <a:pt x="82773" y="30243"/>
                  </a:lnTo>
                  <a:lnTo>
                    <a:pt x="83503" y="30676"/>
                  </a:lnTo>
                  <a:lnTo>
                    <a:pt x="83960" y="30653"/>
                  </a:lnTo>
                  <a:lnTo>
                    <a:pt x="84587" y="30140"/>
                  </a:lnTo>
                  <a:lnTo>
                    <a:pt x="84736" y="29615"/>
                  </a:lnTo>
                  <a:lnTo>
                    <a:pt x="85033" y="28599"/>
                  </a:lnTo>
                  <a:lnTo>
                    <a:pt x="85306" y="27572"/>
                  </a:lnTo>
                  <a:lnTo>
                    <a:pt x="85112" y="26967"/>
                  </a:lnTo>
                  <a:lnTo>
                    <a:pt x="85261" y="25678"/>
                  </a:lnTo>
                  <a:lnTo>
                    <a:pt x="84519" y="24263"/>
                  </a:lnTo>
                  <a:lnTo>
                    <a:pt x="83732" y="23224"/>
                  </a:lnTo>
                  <a:lnTo>
                    <a:pt x="83549" y="22345"/>
                  </a:lnTo>
                  <a:lnTo>
                    <a:pt x="82876" y="21615"/>
                  </a:lnTo>
                  <a:lnTo>
                    <a:pt x="81061" y="20656"/>
                  </a:lnTo>
                  <a:lnTo>
                    <a:pt x="80262" y="20599"/>
                  </a:lnTo>
                  <a:lnTo>
                    <a:pt x="80228" y="21033"/>
                  </a:lnTo>
                  <a:lnTo>
                    <a:pt x="79395" y="20839"/>
                  </a:lnTo>
                  <a:lnTo>
                    <a:pt x="78585" y="20303"/>
                  </a:lnTo>
                  <a:lnTo>
                    <a:pt x="77443" y="20200"/>
                  </a:lnTo>
                  <a:lnTo>
                    <a:pt x="78140" y="18191"/>
                  </a:lnTo>
                  <a:lnTo>
                    <a:pt x="78642" y="16548"/>
                  </a:lnTo>
                  <a:lnTo>
                    <a:pt x="80513" y="16297"/>
                  </a:lnTo>
                  <a:lnTo>
                    <a:pt x="82636" y="16434"/>
                  </a:lnTo>
                  <a:lnTo>
                    <a:pt x="82990" y="16034"/>
                  </a:lnTo>
                  <a:lnTo>
                    <a:pt x="84120" y="16149"/>
                  </a:lnTo>
                  <a:lnTo>
                    <a:pt x="84736" y="16765"/>
                  </a:lnTo>
                  <a:lnTo>
                    <a:pt x="85649" y="16674"/>
                  </a:lnTo>
                  <a:lnTo>
                    <a:pt x="86847" y="16445"/>
                  </a:lnTo>
                  <a:lnTo>
                    <a:pt x="85740" y="15955"/>
                  </a:lnTo>
                  <a:lnTo>
                    <a:pt x="85740" y="14551"/>
                  </a:lnTo>
                  <a:lnTo>
                    <a:pt x="87041" y="14277"/>
                  </a:lnTo>
                  <a:lnTo>
                    <a:pt x="88764" y="15293"/>
                  </a:lnTo>
                  <a:lnTo>
                    <a:pt x="89278" y="14380"/>
                  </a:lnTo>
                  <a:lnTo>
                    <a:pt x="88821" y="13706"/>
                  </a:lnTo>
                  <a:lnTo>
                    <a:pt x="89495" y="13638"/>
                  </a:lnTo>
                  <a:lnTo>
                    <a:pt x="90419" y="14790"/>
                  </a:lnTo>
                  <a:lnTo>
                    <a:pt x="90077" y="15452"/>
                  </a:lnTo>
                  <a:lnTo>
                    <a:pt x="89963" y="16308"/>
                  </a:lnTo>
                  <a:lnTo>
                    <a:pt x="90008" y="17381"/>
                  </a:lnTo>
                  <a:lnTo>
                    <a:pt x="89198" y="17564"/>
                  </a:lnTo>
                  <a:lnTo>
                    <a:pt x="89597" y="17952"/>
                  </a:lnTo>
                  <a:lnTo>
                    <a:pt x="89586" y="18465"/>
                  </a:lnTo>
                  <a:lnTo>
                    <a:pt x="90499" y="19641"/>
                  </a:lnTo>
                  <a:lnTo>
                    <a:pt x="92781" y="21558"/>
                  </a:lnTo>
                  <a:lnTo>
                    <a:pt x="94276" y="22813"/>
                  </a:lnTo>
                  <a:lnTo>
                    <a:pt x="95087" y="23430"/>
                  </a:lnTo>
                  <a:lnTo>
                    <a:pt x="95315" y="22608"/>
                  </a:lnTo>
                  <a:lnTo>
                    <a:pt x="94676" y="21729"/>
                  </a:lnTo>
                  <a:lnTo>
                    <a:pt x="95486" y="21512"/>
                  </a:lnTo>
                  <a:lnTo>
                    <a:pt x="94721" y="20531"/>
                  </a:lnTo>
                  <a:lnTo>
                    <a:pt x="95429" y="20086"/>
                  </a:lnTo>
                  <a:lnTo>
                    <a:pt x="94756" y="19721"/>
                  </a:lnTo>
                  <a:lnTo>
                    <a:pt x="94276" y="19002"/>
                  </a:lnTo>
                  <a:lnTo>
                    <a:pt x="94858" y="18979"/>
                  </a:lnTo>
                  <a:lnTo>
                    <a:pt x="93580" y="17746"/>
                  </a:lnTo>
                  <a:lnTo>
                    <a:pt x="92622" y="17552"/>
                  </a:lnTo>
                  <a:lnTo>
                    <a:pt x="92211" y="17210"/>
                  </a:lnTo>
                  <a:lnTo>
                    <a:pt x="92051" y="16411"/>
                  </a:lnTo>
                  <a:lnTo>
                    <a:pt x="91606" y="15852"/>
                  </a:lnTo>
                  <a:lnTo>
                    <a:pt x="92610" y="15966"/>
                  </a:lnTo>
                  <a:lnTo>
                    <a:pt x="92793" y="15612"/>
                  </a:lnTo>
                  <a:lnTo>
                    <a:pt x="93466" y="15920"/>
                  </a:lnTo>
                  <a:lnTo>
                    <a:pt x="94333" y="15270"/>
                  </a:lnTo>
                  <a:lnTo>
                    <a:pt x="95954" y="15840"/>
                  </a:lnTo>
                  <a:lnTo>
                    <a:pt x="95714" y="15464"/>
                  </a:lnTo>
                  <a:lnTo>
                    <a:pt x="96000" y="14950"/>
                  </a:lnTo>
                  <a:lnTo>
                    <a:pt x="96216" y="14380"/>
                  </a:lnTo>
                  <a:lnTo>
                    <a:pt x="96662" y="14288"/>
                  </a:lnTo>
                  <a:lnTo>
                    <a:pt x="97586" y="13672"/>
                  </a:lnTo>
                  <a:lnTo>
                    <a:pt x="98978" y="13843"/>
                  </a:lnTo>
                  <a:lnTo>
                    <a:pt x="98853" y="13626"/>
                  </a:lnTo>
                  <a:lnTo>
                    <a:pt x="98316" y="13296"/>
                  </a:lnTo>
                  <a:lnTo>
                    <a:pt x="97723" y="13067"/>
                  </a:lnTo>
                  <a:lnTo>
                    <a:pt x="96433" y="12417"/>
                  </a:lnTo>
                  <a:lnTo>
                    <a:pt x="95269" y="11983"/>
                  </a:lnTo>
                  <a:lnTo>
                    <a:pt x="96148" y="12040"/>
                  </a:lnTo>
                  <a:lnTo>
                    <a:pt x="96433" y="11686"/>
                  </a:lnTo>
                  <a:lnTo>
                    <a:pt x="96433" y="11686"/>
                  </a:lnTo>
                  <a:lnTo>
                    <a:pt x="91731" y="8559"/>
                  </a:lnTo>
                  <a:lnTo>
                    <a:pt x="90396" y="8228"/>
                  </a:lnTo>
                  <a:lnTo>
                    <a:pt x="88159" y="7863"/>
                  </a:lnTo>
                  <a:lnTo>
                    <a:pt x="87030" y="7909"/>
                  </a:lnTo>
                  <a:lnTo>
                    <a:pt x="84861" y="7704"/>
                  </a:lnTo>
                  <a:lnTo>
                    <a:pt x="85112" y="8034"/>
                  </a:lnTo>
                  <a:lnTo>
                    <a:pt x="86334" y="8525"/>
                  </a:lnTo>
                  <a:lnTo>
                    <a:pt x="85968" y="8776"/>
                  </a:lnTo>
                  <a:lnTo>
                    <a:pt x="83948" y="8092"/>
                  </a:lnTo>
                  <a:lnTo>
                    <a:pt x="82978" y="8171"/>
                  </a:lnTo>
                  <a:lnTo>
                    <a:pt x="81666" y="8023"/>
                  </a:lnTo>
                  <a:lnTo>
                    <a:pt x="80662" y="8046"/>
                  </a:lnTo>
                  <a:lnTo>
                    <a:pt x="80114" y="8206"/>
                  </a:lnTo>
                  <a:lnTo>
                    <a:pt x="79087" y="7977"/>
                  </a:lnTo>
                  <a:lnTo>
                    <a:pt x="78356" y="7430"/>
                  </a:lnTo>
                  <a:lnTo>
                    <a:pt x="77432" y="7122"/>
                  </a:lnTo>
                  <a:lnTo>
                    <a:pt x="76120" y="6996"/>
                  </a:lnTo>
                  <a:lnTo>
                    <a:pt x="74020" y="7133"/>
                  </a:lnTo>
                  <a:lnTo>
                    <a:pt x="71726" y="6562"/>
                  </a:lnTo>
                  <a:lnTo>
                    <a:pt x="70608" y="6140"/>
                  </a:lnTo>
                  <a:lnTo>
                    <a:pt x="64890" y="5649"/>
                  </a:lnTo>
                  <a:lnTo>
                    <a:pt x="64593" y="5969"/>
                  </a:lnTo>
                  <a:lnTo>
                    <a:pt x="65917" y="6654"/>
                  </a:lnTo>
                  <a:lnTo>
                    <a:pt x="64844" y="6551"/>
                  </a:lnTo>
                  <a:lnTo>
                    <a:pt x="64707" y="6768"/>
                  </a:lnTo>
                  <a:lnTo>
                    <a:pt x="63315" y="6539"/>
                  </a:lnTo>
                  <a:lnTo>
                    <a:pt x="62608" y="6734"/>
                  </a:lnTo>
                  <a:lnTo>
                    <a:pt x="61284" y="6391"/>
                  </a:lnTo>
                  <a:lnTo>
                    <a:pt x="61706" y="7179"/>
                  </a:lnTo>
                  <a:lnTo>
                    <a:pt x="60439" y="6882"/>
                  </a:lnTo>
                  <a:lnTo>
                    <a:pt x="59013" y="6300"/>
                  </a:lnTo>
                  <a:lnTo>
                    <a:pt x="58956" y="5980"/>
                  </a:lnTo>
                  <a:lnTo>
                    <a:pt x="58100" y="5512"/>
                  </a:lnTo>
                  <a:lnTo>
                    <a:pt x="56696" y="5136"/>
                  </a:lnTo>
                  <a:lnTo>
                    <a:pt x="55829" y="5136"/>
                  </a:lnTo>
                  <a:lnTo>
                    <a:pt x="54505" y="5010"/>
                  </a:lnTo>
                  <a:lnTo>
                    <a:pt x="55178" y="5569"/>
                  </a:lnTo>
                  <a:lnTo>
                    <a:pt x="52725" y="5455"/>
                  </a:lnTo>
                  <a:lnTo>
                    <a:pt x="52165" y="5124"/>
                  </a:lnTo>
                  <a:lnTo>
                    <a:pt x="50271" y="4999"/>
                  </a:lnTo>
                  <a:lnTo>
                    <a:pt x="49506" y="5113"/>
                  </a:lnTo>
                  <a:lnTo>
                    <a:pt x="49495" y="5296"/>
                  </a:lnTo>
                  <a:lnTo>
                    <a:pt x="48673" y="4839"/>
                  </a:lnTo>
                  <a:lnTo>
                    <a:pt x="48342" y="4965"/>
                  </a:lnTo>
                  <a:lnTo>
                    <a:pt x="47315" y="4793"/>
                  </a:lnTo>
                  <a:lnTo>
                    <a:pt x="46516" y="4702"/>
                  </a:lnTo>
                  <a:lnTo>
                    <a:pt x="46676" y="4485"/>
                  </a:lnTo>
                  <a:lnTo>
                    <a:pt x="47612" y="4086"/>
                  </a:lnTo>
                  <a:lnTo>
                    <a:pt x="47943" y="3869"/>
                  </a:lnTo>
                  <a:lnTo>
                    <a:pt x="47601" y="3515"/>
                  </a:lnTo>
                  <a:lnTo>
                    <a:pt x="46813" y="3241"/>
                  </a:lnTo>
                  <a:lnTo>
                    <a:pt x="45170" y="2910"/>
                  </a:lnTo>
                  <a:lnTo>
                    <a:pt x="43629" y="2899"/>
                  </a:lnTo>
                  <a:lnTo>
                    <a:pt x="43367" y="3070"/>
                  </a:lnTo>
                  <a:close/>
                  <a:moveTo>
                    <a:pt x="19641" y="7236"/>
                  </a:moveTo>
                  <a:lnTo>
                    <a:pt x="18226" y="6619"/>
                  </a:lnTo>
                  <a:lnTo>
                    <a:pt x="17780" y="6003"/>
                  </a:lnTo>
                  <a:lnTo>
                    <a:pt x="18248" y="5307"/>
                  </a:lnTo>
                  <a:lnTo>
                    <a:pt x="18648" y="4599"/>
                  </a:lnTo>
                  <a:lnTo>
                    <a:pt x="19880" y="3926"/>
                  </a:lnTo>
                  <a:lnTo>
                    <a:pt x="21273" y="3584"/>
                  </a:lnTo>
                  <a:lnTo>
                    <a:pt x="22893" y="3241"/>
                  </a:lnTo>
                  <a:lnTo>
                    <a:pt x="23076" y="3025"/>
                  </a:lnTo>
                  <a:lnTo>
                    <a:pt x="22471" y="2751"/>
                  </a:lnTo>
                  <a:lnTo>
                    <a:pt x="21535" y="2842"/>
                  </a:lnTo>
                  <a:lnTo>
                    <a:pt x="20839" y="3093"/>
                  </a:lnTo>
                  <a:lnTo>
                    <a:pt x="19161" y="3230"/>
                  </a:lnTo>
                  <a:lnTo>
                    <a:pt x="17723" y="3664"/>
                  </a:lnTo>
                  <a:lnTo>
                    <a:pt x="16753" y="4052"/>
                  </a:lnTo>
                  <a:lnTo>
                    <a:pt x="17107" y="4371"/>
                  </a:lnTo>
                  <a:lnTo>
                    <a:pt x="16171" y="4999"/>
                  </a:lnTo>
                  <a:lnTo>
                    <a:pt x="16731" y="5090"/>
                  </a:lnTo>
                  <a:lnTo>
                    <a:pt x="15955" y="5706"/>
                  </a:lnTo>
                  <a:lnTo>
                    <a:pt x="16183" y="6106"/>
                  </a:lnTo>
                  <a:lnTo>
                    <a:pt x="15703" y="6266"/>
                  </a:lnTo>
                  <a:lnTo>
                    <a:pt x="15966" y="6665"/>
                  </a:lnTo>
                  <a:lnTo>
                    <a:pt x="17096" y="6859"/>
                  </a:lnTo>
                  <a:lnTo>
                    <a:pt x="17415" y="7190"/>
                  </a:lnTo>
                  <a:lnTo>
                    <a:pt x="19321" y="7293"/>
                  </a:lnTo>
                  <a:close/>
                  <a:moveTo>
                    <a:pt x="64434" y="3709"/>
                  </a:moveTo>
                  <a:lnTo>
                    <a:pt x="61877" y="3344"/>
                  </a:lnTo>
                  <a:lnTo>
                    <a:pt x="60416" y="3310"/>
                  </a:lnTo>
                  <a:lnTo>
                    <a:pt x="59937" y="3447"/>
                  </a:lnTo>
                  <a:lnTo>
                    <a:pt x="60416" y="3926"/>
                  </a:lnTo>
                  <a:lnTo>
                    <a:pt x="62197" y="4383"/>
                  </a:lnTo>
                  <a:lnTo>
                    <a:pt x="62836" y="4211"/>
                  </a:lnTo>
                  <a:lnTo>
                    <a:pt x="64856" y="4246"/>
                  </a:lnTo>
                  <a:close/>
                  <a:moveTo>
                    <a:pt x="68028" y="4040"/>
                  </a:moveTo>
                  <a:lnTo>
                    <a:pt x="66362" y="3858"/>
                  </a:lnTo>
                  <a:lnTo>
                    <a:pt x="65187" y="3755"/>
                  </a:lnTo>
                  <a:lnTo>
                    <a:pt x="65426" y="3983"/>
                  </a:lnTo>
                  <a:lnTo>
                    <a:pt x="66899" y="4268"/>
                  </a:lnTo>
                  <a:lnTo>
                    <a:pt x="67869" y="4326"/>
                  </a:lnTo>
                  <a:close/>
                  <a:moveTo>
                    <a:pt x="66248" y="5398"/>
                  </a:moveTo>
                  <a:lnTo>
                    <a:pt x="65883" y="5193"/>
                  </a:lnTo>
                  <a:lnTo>
                    <a:pt x="64707" y="4919"/>
                  </a:lnTo>
                  <a:lnTo>
                    <a:pt x="64114" y="4999"/>
                  </a:lnTo>
                  <a:lnTo>
                    <a:pt x="64000" y="5284"/>
                  </a:lnTo>
                  <a:lnTo>
                    <a:pt x="64160" y="5307"/>
                  </a:lnTo>
                  <a:lnTo>
                    <a:pt x="65415" y="5398"/>
                  </a:lnTo>
                  <a:close/>
                  <a:moveTo>
                    <a:pt x="89438" y="7156"/>
                  </a:moveTo>
                  <a:lnTo>
                    <a:pt x="88582" y="6642"/>
                  </a:lnTo>
                  <a:lnTo>
                    <a:pt x="88376" y="6950"/>
                  </a:lnTo>
                  <a:lnTo>
                    <a:pt x="88878" y="7179"/>
                  </a:lnTo>
                  <a:close/>
                  <a:moveTo>
                    <a:pt x="2077" y="20542"/>
                  </a:moveTo>
                  <a:lnTo>
                    <a:pt x="1997" y="20337"/>
                  </a:lnTo>
                  <a:lnTo>
                    <a:pt x="2020" y="20086"/>
                  </a:lnTo>
                  <a:lnTo>
                    <a:pt x="1712" y="19960"/>
                  </a:lnTo>
                  <a:lnTo>
                    <a:pt x="993" y="19800"/>
                  </a:lnTo>
                  <a:lnTo>
                    <a:pt x="92" y="20086"/>
                  </a:lnTo>
                  <a:lnTo>
                    <a:pt x="0" y="20462"/>
                  </a:lnTo>
                  <a:lnTo>
                    <a:pt x="833" y="20565"/>
                  </a:lnTo>
                  <a:close/>
                  <a:moveTo>
                    <a:pt x="86197" y="23658"/>
                  </a:moveTo>
                  <a:lnTo>
                    <a:pt x="85169" y="22768"/>
                  </a:lnTo>
                  <a:lnTo>
                    <a:pt x="84451" y="21912"/>
                  </a:lnTo>
                  <a:lnTo>
                    <a:pt x="83480" y="21090"/>
                  </a:lnTo>
                  <a:lnTo>
                    <a:pt x="82773" y="20519"/>
                  </a:lnTo>
                  <a:lnTo>
                    <a:pt x="82590" y="20634"/>
                  </a:lnTo>
                  <a:lnTo>
                    <a:pt x="83218" y="21033"/>
                  </a:lnTo>
                  <a:lnTo>
                    <a:pt x="82944" y="21432"/>
                  </a:lnTo>
                  <a:lnTo>
                    <a:pt x="83914" y="22619"/>
                  </a:lnTo>
                  <a:lnTo>
                    <a:pt x="85033" y="23475"/>
                  </a:lnTo>
                  <a:lnTo>
                    <a:pt x="85946" y="24651"/>
                  </a:lnTo>
                  <a:lnTo>
                    <a:pt x="86288" y="25313"/>
                  </a:lnTo>
                  <a:lnTo>
                    <a:pt x="87075" y="26283"/>
                  </a:lnTo>
                  <a:lnTo>
                    <a:pt x="87612" y="27138"/>
                  </a:lnTo>
                  <a:lnTo>
                    <a:pt x="88274" y="27880"/>
                  </a:lnTo>
                  <a:lnTo>
                    <a:pt x="88251" y="27196"/>
                  </a:lnTo>
                  <a:lnTo>
                    <a:pt x="89187" y="27732"/>
                  </a:lnTo>
                  <a:lnTo>
                    <a:pt x="88753" y="27104"/>
                  </a:lnTo>
                  <a:lnTo>
                    <a:pt x="87395" y="26214"/>
                  </a:lnTo>
                  <a:lnTo>
                    <a:pt x="86870" y="24925"/>
                  </a:lnTo>
                  <a:lnTo>
                    <a:pt x="88137" y="2521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60" name="Google Shape;331;p29">
              <a:extLst>
                <a:ext uri="{FF2B5EF4-FFF2-40B4-BE49-F238E27FC236}">
                  <a16:creationId xmlns:a16="http://schemas.microsoft.com/office/drawing/2014/main" id="{2A7766C3-1212-48DB-B7D2-C4C4DDFB6BEE}"/>
                </a:ext>
              </a:extLst>
            </p:cNvPr>
            <p:cNvSpPr/>
            <p:nvPr/>
          </p:nvSpPr>
          <p:spPr>
            <a:xfrm>
              <a:off x="4302575" y="3138075"/>
              <a:ext cx="36525" cy="40250"/>
            </a:xfrm>
            <a:custGeom>
              <a:avLst/>
              <a:gdLst/>
              <a:ahLst/>
              <a:cxnLst/>
              <a:rect l="l" t="t" r="r" b="b"/>
              <a:pathLst>
                <a:path w="1461" h="1610" extrusionOk="0">
                  <a:moveTo>
                    <a:pt x="1130" y="0"/>
                  </a:moveTo>
                  <a:lnTo>
                    <a:pt x="662" y="263"/>
                  </a:lnTo>
                  <a:lnTo>
                    <a:pt x="457" y="183"/>
                  </a:lnTo>
                  <a:lnTo>
                    <a:pt x="228" y="434"/>
                  </a:lnTo>
                  <a:lnTo>
                    <a:pt x="206" y="982"/>
                  </a:lnTo>
                  <a:lnTo>
                    <a:pt x="91" y="1039"/>
                  </a:lnTo>
                  <a:lnTo>
                    <a:pt x="0" y="1530"/>
                  </a:lnTo>
                  <a:lnTo>
                    <a:pt x="502" y="1609"/>
                  </a:lnTo>
                  <a:lnTo>
                    <a:pt x="742" y="1096"/>
                  </a:lnTo>
                  <a:lnTo>
                    <a:pt x="1176" y="1153"/>
                  </a:lnTo>
                  <a:lnTo>
                    <a:pt x="1176" y="1153"/>
                  </a:lnTo>
                  <a:lnTo>
                    <a:pt x="1404" y="1039"/>
                  </a:lnTo>
                  <a:lnTo>
                    <a:pt x="1461" y="50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61" name="Google Shape;332;p29">
              <a:extLst>
                <a:ext uri="{FF2B5EF4-FFF2-40B4-BE49-F238E27FC236}">
                  <a16:creationId xmlns:a16="http://schemas.microsoft.com/office/drawing/2014/main" id="{98B66284-AAD7-4A04-9320-5F54FB5405F0}"/>
                </a:ext>
              </a:extLst>
            </p:cNvPr>
            <p:cNvSpPr/>
            <p:nvPr/>
          </p:nvSpPr>
          <p:spPr>
            <a:xfrm>
              <a:off x="3386175" y="2484725"/>
              <a:ext cx="167200" cy="151225"/>
            </a:xfrm>
            <a:custGeom>
              <a:avLst/>
              <a:gdLst/>
              <a:ahLst/>
              <a:cxnLst/>
              <a:rect l="l" t="t" r="r" b="b"/>
              <a:pathLst>
                <a:path w="6688" h="6049" extrusionOk="0">
                  <a:moveTo>
                    <a:pt x="6688" y="0"/>
                  </a:moveTo>
                  <a:lnTo>
                    <a:pt x="6574" y="0"/>
                  </a:lnTo>
                  <a:lnTo>
                    <a:pt x="6574" y="0"/>
                  </a:lnTo>
                  <a:lnTo>
                    <a:pt x="6585" y="480"/>
                  </a:lnTo>
                  <a:lnTo>
                    <a:pt x="6106" y="503"/>
                  </a:lnTo>
                  <a:lnTo>
                    <a:pt x="5843" y="719"/>
                  </a:lnTo>
                  <a:lnTo>
                    <a:pt x="5489" y="719"/>
                  </a:lnTo>
                  <a:lnTo>
                    <a:pt x="5216" y="594"/>
                  </a:lnTo>
                  <a:lnTo>
                    <a:pt x="4565" y="697"/>
                  </a:lnTo>
                  <a:lnTo>
                    <a:pt x="4291" y="1404"/>
                  </a:lnTo>
                  <a:lnTo>
                    <a:pt x="4052" y="1461"/>
                  </a:lnTo>
                  <a:lnTo>
                    <a:pt x="3652" y="2625"/>
                  </a:lnTo>
                  <a:lnTo>
                    <a:pt x="2534" y="3595"/>
                  </a:lnTo>
                  <a:lnTo>
                    <a:pt x="2248" y="4851"/>
                  </a:lnTo>
                  <a:lnTo>
                    <a:pt x="1929" y="5262"/>
                  </a:lnTo>
                  <a:lnTo>
                    <a:pt x="1826" y="5592"/>
                  </a:lnTo>
                  <a:lnTo>
                    <a:pt x="57" y="5661"/>
                  </a:lnTo>
                  <a:lnTo>
                    <a:pt x="46" y="5661"/>
                  </a:lnTo>
                  <a:lnTo>
                    <a:pt x="0" y="6049"/>
                  </a:lnTo>
                  <a:lnTo>
                    <a:pt x="171" y="5729"/>
                  </a:lnTo>
                  <a:lnTo>
                    <a:pt x="3253" y="5741"/>
                  </a:lnTo>
                  <a:lnTo>
                    <a:pt x="3127" y="4428"/>
                  </a:lnTo>
                  <a:lnTo>
                    <a:pt x="3321" y="3961"/>
                  </a:lnTo>
                  <a:lnTo>
                    <a:pt x="4063" y="3892"/>
                  </a:lnTo>
                  <a:lnTo>
                    <a:pt x="4097" y="1564"/>
                  </a:lnTo>
                  <a:lnTo>
                    <a:pt x="6642" y="1610"/>
                  </a:lnTo>
                  <a:lnTo>
                    <a:pt x="6676" y="229"/>
                  </a:lnTo>
                  <a:lnTo>
                    <a:pt x="6688" y="5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62" name="Google Shape;333;p29">
              <a:extLst>
                <a:ext uri="{FF2B5EF4-FFF2-40B4-BE49-F238E27FC236}">
                  <a16:creationId xmlns:a16="http://schemas.microsoft.com/office/drawing/2014/main" id="{840333A8-1B7C-4987-85EF-F1929F7B7DE7}"/>
                </a:ext>
              </a:extLst>
            </p:cNvPr>
            <p:cNvSpPr/>
            <p:nvPr/>
          </p:nvSpPr>
          <p:spPr>
            <a:xfrm>
              <a:off x="4391300" y="2382575"/>
              <a:ext cx="421975" cy="358950"/>
            </a:xfrm>
            <a:custGeom>
              <a:avLst/>
              <a:gdLst/>
              <a:ahLst/>
              <a:cxnLst/>
              <a:rect l="l" t="t" r="r" b="b"/>
              <a:pathLst>
                <a:path w="16879" h="14358" extrusionOk="0">
                  <a:moveTo>
                    <a:pt x="9153" y="2774"/>
                  </a:moveTo>
                  <a:lnTo>
                    <a:pt x="7692" y="2694"/>
                  </a:lnTo>
                  <a:lnTo>
                    <a:pt x="5318" y="891"/>
                  </a:lnTo>
                  <a:lnTo>
                    <a:pt x="4097" y="241"/>
                  </a:lnTo>
                  <a:lnTo>
                    <a:pt x="3139" y="1"/>
                  </a:lnTo>
                  <a:lnTo>
                    <a:pt x="3013" y="149"/>
                  </a:lnTo>
                  <a:lnTo>
                    <a:pt x="1530" y="583"/>
                  </a:lnTo>
                  <a:lnTo>
                    <a:pt x="2397" y="1496"/>
                  </a:lnTo>
                  <a:lnTo>
                    <a:pt x="2157" y="1644"/>
                  </a:lnTo>
                  <a:lnTo>
                    <a:pt x="2055" y="1952"/>
                  </a:lnTo>
                  <a:lnTo>
                    <a:pt x="1484" y="2067"/>
                  </a:lnTo>
                  <a:lnTo>
                    <a:pt x="1336" y="2397"/>
                  </a:lnTo>
                  <a:lnTo>
                    <a:pt x="1027" y="2683"/>
                  </a:lnTo>
                  <a:lnTo>
                    <a:pt x="160" y="2546"/>
                  </a:lnTo>
                  <a:lnTo>
                    <a:pt x="92" y="2900"/>
                  </a:lnTo>
                  <a:lnTo>
                    <a:pt x="92" y="3208"/>
                  </a:lnTo>
                  <a:lnTo>
                    <a:pt x="0" y="3710"/>
                  </a:lnTo>
                  <a:lnTo>
                    <a:pt x="388" y="3710"/>
                  </a:lnTo>
                  <a:lnTo>
                    <a:pt x="845" y="4338"/>
                  </a:lnTo>
                  <a:lnTo>
                    <a:pt x="1381" y="5068"/>
                  </a:lnTo>
                  <a:lnTo>
                    <a:pt x="1735" y="5741"/>
                  </a:lnTo>
                  <a:lnTo>
                    <a:pt x="1975" y="5947"/>
                  </a:lnTo>
                  <a:lnTo>
                    <a:pt x="2214" y="6426"/>
                  </a:lnTo>
                  <a:lnTo>
                    <a:pt x="2192" y="6620"/>
                  </a:lnTo>
                  <a:lnTo>
                    <a:pt x="2488" y="7145"/>
                  </a:lnTo>
                  <a:lnTo>
                    <a:pt x="2922" y="7339"/>
                  </a:lnTo>
                  <a:lnTo>
                    <a:pt x="3321" y="7693"/>
                  </a:lnTo>
                  <a:lnTo>
                    <a:pt x="3823" y="8686"/>
                  </a:lnTo>
                  <a:lnTo>
                    <a:pt x="3823" y="9233"/>
                  </a:lnTo>
                  <a:lnTo>
                    <a:pt x="3960" y="9861"/>
                  </a:lnTo>
                  <a:lnTo>
                    <a:pt x="4531" y="10728"/>
                  </a:lnTo>
                  <a:lnTo>
                    <a:pt x="4885" y="10877"/>
                  </a:lnTo>
                  <a:lnTo>
                    <a:pt x="5467" y="11504"/>
                  </a:lnTo>
                  <a:lnTo>
                    <a:pt x="5741" y="12246"/>
                  </a:lnTo>
                  <a:lnTo>
                    <a:pt x="6197" y="12999"/>
                  </a:lnTo>
                  <a:lnTo>
                    <a:pt x="6631" y="13330"/>
                  </a:lnTo>
                  <a:lnTo>
                    <a:pt x="6711" y="13684"/>
                  </a:lnTo>
                  <a:lnTo>
                    <a:pt x="6962" y="13958"/>
                  </a:lnTo>
                  <a:lnTo>
                    <a:pt x="7099" y="14357"/>
                  </a:lnTo>
                  <a:lnTo>
                    <a:pt x="7418" y="14049"/>
                  </a:lnTo>
                  <a:lnTo>
                    <a:pt x="7327" y="13673"/>
                  </a:lnTo>
                  <a:lnTo>
                    <a:pt x="7498" y="13228"/>
                  </a:lnTo>
                  <a:lnTo>
                    <a:pt x="7841" y="13467"/>
                  </a:lnTo>
                  <a:lnTo>
                    <a:pt x="8057" y="13376"/>
                  </a:lnTo>
                  <a:lnTo>
                    <a:pt x="8970" y="13353"/>
                  </a:lnTo>
                  <a:lnTo>
                    <a:pt x="9107" y="13456"/>
                  </a:lnTo>
                  <a:lnTo>
                    <a:pt x="9883" y="13536"/>
                  </a:lnTo>
                  <a:lnTo>
                    <a:pt x="10180" y="13490"/>
                  </a:lnTo>
                  <a:lnTo>
                    <a:pt x="10408" y="13798"/>
                  </a:lnTo>
                  <a:lnTo>
                    <a:pt x="10762" y="13650"/>
                  </a:lnTo>
                  <a:lnTo>
                    <a:pt x="11264" y="12703"/>
                  </a:lnTo>
                  <a:lnTo>
                    <a:pt x="11972" y="12280"/>
                  </a:lnTo>
                  <a:lnTo>
                    <a:pt x="14220" y="11938"/>
                  </a:lnTo>
                  <a:lnTo>
                    <a:pt x="16514" y="11025"/>
                  </a:lnTo>
                  <a:lnTo>
                    <a:pt x="16879" y="9222"/>
                  </a:lnTo>
                  <a:lnTo>
                    <a:pt x="16468" y="8571"/>
                  </a:lnTo>
                  <a:lnTo>
                    <a:pt x="16320" y="8765"/>
                  </a:lnTo>
                  <a:lnTo>
                    <a:pt x="13923" y="8309"/>
                  </a:lnTo>
                  <a:lnTo>
                    <a:pt x="13558" y="7396"/>
                  </a:lnTo>
                  <a:lnTo>
                    <a:pt x="13501" y="7179"/>
                  </a:lnTo>
                  <a:lnTo>
                    <a:pt x="13330" y="6837"/>
                  </a:lnTo>
                  <a:lnTo>
                    <a:pt x="13113" y="6894"/>
                  </a:lnTo>
                  <a:lnTo>
                    <a:pt x="12862" y="6723"/>
                  </a:lnTo>
                  <a:lnTo>
                    <a:pt x="12714" y="6494"/>
                  </a:lnTo>
                  <a:lnTo>
                    <a:pt x="12588" y="6198"/>
                  </a:lnTo>
                  <a:lnTo>
                    <a:pt x="12348" y="5935"/>
                  </a:lnTo>
                  <a:lnTo>
                    <a:pt x="12200" y="5639"/>
                  </a:lnTo>
                  <a:lnTo>
                    <a:pt x="12257" y="5342"/>
                  </a:lnTo>
                  <a:lnTo>
                    <a:pt x="12177" y="4954"/>
                  </a:lnTo>
                  <a:lnTo>
                    <a:pt x="11607" y="4577"/>
                  </a:lnTo>
                  <a:lnTo>
                    <a:pt x="11435" y="4258"/>
                  </a:lnTo>
                  <a:lnTo>
                    <a:pt x="11013" y="4052"/>
                  </a:lnTo>
                  <a:lnTo>
                    <a:pt x="10637" y="3265"/>
                  </a:lnTo>
                  <a:lnTo>
                    <a:pt x="10089" y="3299"/>
                  </a:lnTo>
                  <a:lnTo>
                    <a:pt x="9849" y="285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63" name="Google Shape;334;p29">
              <a:extLst>
                <a:ext uri="{FF2B5EF4-FFF2-40B4-BE49-F238E27FC236}">
                  <a16:creationId xmlns:a16="http://schemas.microsoft.com/office/drawing/2014/main" id="{6C257C45-FB2B-4D27-9698-32F255EA383D}"/>
                </a:ext>
              </a:extLst>
            </p:cNvPr>
            <p:cNvSpPr/>
            <p:nvPr/>
          </p:nvSpPr>
          <p:spPr>
            <a:xfrm>
              <a:off x="4157925" y="2613100"/>
              <a:ext cx="321850" cy="303325"/>
            </a:xfrm>
            <a:custGeom>
              <a:avLst/>
              <a:gdLst/>
              <a:ahLst/>
              <a:cxnLst/>
              <a:rect l="l" t="t" r="r" b="b"/>
              <a:pathLst>
                <a:path w="12874" h="12133" extrusionOk="0">
                  <a:moveTo>
                    <a:pt x="11652" y="5171"/>
                  </a:moveTo>
                  <a:lnTo>
                    <a:pt x="11709" y="4577"/>
                  </a:lnTo>
                  <a:lnTo>
                    <a:pt x="11937" y="4292"/>
                  </a:lnTo>
                  <a:lnTo>
                    <a:pt x="12508" y="4144"/>
                  </a:lnTo>
                  <a:lnTo>
                    <a:pt x="12873" y="3630"/>
                  </a:lnTo>
                  <a:lnTo>
                    <a:pt x="12439" y="3288"/>
                  </a:lnTo>
                  <a:lnTo>
                    <a:pt x="12120" y="3059"/>
                  </a:lnTo>
                  <a:lnTo>
                    <a:pt x="11766" y="1975"/>
                  </a:lnTo>
                  <a:lnTo>
                    <a:pt x="11606" y="1051"/>
                  </a:lnTo>
                  <a:lnTo>
                    <a:pt x="11766" y="880"/>
                  </a:lnTo>
                  <a:lnTo>
                    <a:pt x="11469" y="1"/>
                  </a:lnTo>
                  <a:lnTo>
                    <a:pt x="8354" y="1"/>
                  </a:lnTo>
                  <a:lnTo>
                    <a:pt x="5307" y="1"/>
                  </a:lnTo>
                  <a:lnTo>
                    <a:pt x="2157" y="1"/>
                  </a:lnTo>
                  <a:lnTo>
                    <a:pt x="2226" y="1804"/>
                  </a:lnTo>
                  <a:lnTo>
                    <a:pt x="1324" y="1804"/>
                  </a:lnTo>
                  <a:lnTo>
                    <a:pt x="1324" y="2192"/>
                  </a:lnTo>
                  <a:lnTo>
                    <a:pt x="1484" y="5787"/>
                  </a:lnTo>
                  <a:lnTo>
                    <a:pt x="799" y="5730"/>
                  </a:lnTo>
                  <a:lnTo>
                    <a:pt x="457" y="6403"/>
                  </a:lnTo>
                  <a:lnTo>
                    <a:pt x="251" y="6951"/>
                  </a:lnTo>
                  <a:lnTo>
                    <a:pt x="422" y="7168"/>
                  </a:lnTo>
                  <a:lnTo>
                    <a:pt x="171" y="7442"/>
                  </a:lnTo>
                  <a:lnTo>
                    <a:pt x="274" y="7830"/>
                  </a:lnTo>
                  <a:lnTo>
                    <a:pt x="69" y="8195"/>
                  </a:lnTo>
                  <a:lnTo>
                    <a:pt x="0" y="8537"/>
                  </a:lnTo>
                  <a:lnTo>
                    <a:pt x="285" y="8480"/>
                  </a:lnTo>
                  <a:lnTo>
                    <a:pt x="457" y="8834"/>
                  </a:lnTo>
                  <a:lnTo>
                    <a:pt x="468" y="9370"/>
                  </a:lnTo>
                  <a:lnTo>
                    <a:pt x="765" y="9621"/>
                  </a:lnTo>
                  <a:lnTo>
                    <a:pt x="765" y="9850"/>
                  </a:lnTo>
                  <a:lnTo>
                    <a:pt x="868" y="10238"/>
                  </a:lnTo>
                  <a:lnTo>
                    <a:pt x="1335" y="10808"/>
                  </a:lnTo>
                  <a:lnTo>
                    <a:pt x="1335" y="11185"/>
                  </a:lnTo>
                  <a:lnTo>
                    <a:pt x="1221" y="11550"/>
                  </a:lnTo>
                  <a:lnTo>
                    <a:pt x="1267" y="11835"/>
                  </a:lnTo>
                  <a:lnTo>
                    <a:pt x="1552" y="12086"/>
                  </a:lnTo>
                  <a:lnTo>
                    <a:pt x="1621" y="12132"/>
                  </a:lnTo>
                  <a:lnTo>
                    <a:pt x="1860" y="12029"/>
                  </a:lnTo>
                  <a:lnTo>
                    <a:pt x="2134" y="11858"/>
                  </a:lnTo>
                  <a:lnTo>
                    <a:pt x="2317" y="11048"/>
                  </a:lnTo>
                  <a:lnTo>
                    <a:pt x="2534" y="10637"/>
                  </a:lnTo>
                  <a:lnTo>
                    <a:pt x="3104" y="10512"/>
                  </a:lnTo>
                  <a:lnTo>
                    <a:pt x="3253" y="10763"/>
                  </a:lnTo>
                  <a:lnTo>
                    <a:pt x="3675" y="11288"/>
                  </a:lnTo>
                  <a:lnTo>
                    <a:pt x="3892" y="11368"/>
                  </a:lnTo>
                  <a:lnTo>
                    <a:pt x="4177" y="11208"/>
                  </a:lnTo>
                  <a:lnTo>
                    <a:pt x="4759" y="11253"/>
                  </a:lnTo>
                  <a:lnTo>
                    <a:pt x="4873" y="11436"/>
                  </a:lnTo>
                  <a:lnTo>
                    <a:pt x="5661" y="11436"/>
                  </a:lnTo>
                  <a:lnTo>
                    <a:pt x="5683" y="11253"/>
                  </a:lnTo>
                  <a:lnTo>
                    <a:pt x="6106" y="11082"/>
                  </a:lnTo>
                  <a:lnTo>
                    <a:pt x="6174" y="10808"/>
                  </a:lnTo>
                  <a:lnTo>
                    <a:pt x="6471" y="10626"/>
                  </a:lnTo>
                  <a:lnTo>
                    <a:pt x="7156" y="11151"/>
                  </a:lnTo>
                  <a:lnTo>
                    <a:pt x="7555" y="11048"/>
                  </a:lnTo>
                  <a:lnTo>
                    <a:pt x="7943" y="10409"/>
                  </a:lnTo>
                  <a:lnTo>
                    <a:pt x="8365" y="9907"/>
                  </a:lnTo>
                  <a:lnTo>
                    <a:pt x="8285" y="9348"/>
                  </a:lnTo>
                  <a:lnTo>
                    <a:pt x="8080" y="9096"/>
                  </a:lnTo>
                  <a:lnTo>
                    <a:pt x="8571" y="9051"/>
                  </a:lnTo>
                  <a:lnTo>
                    <a:pt x="8616" y="8834"/>
                  </a:lnTo>
                  <a:lnTo>
                    <a:pt x="8982" y="8914"/>
                  </a:lnTo>
                  <a:lnTo>
                    <a:pt x="8913" y="9576"/>
                  </a:lnTo>
                  <a:lnTo>
                    <a:pt x="9027" y="10238"/>
                  </a:lnTo>
                  <a:lnTo>
                    <a:pt x="9438" y="10591"/>
                  </a:lnTo>
                  <a:lnTo>
                    <a:pt x="9541" y="10911"/>
                  </a:lnTo>
                  <a:lnTo>
                    <a:pt x="9541" y="11345"/>
                  </a:lnTo>
                  <a:lnTo>
                    <a:pt x="9655" y="11368"/>
                  </a:lnTo>
                  <a:lnTo>
                    <a:pt x="9655" y="11265"/>
                  </a:lnTo>
                  <a:lnTo>
                    <a:pt x="9849" y="10306"/>
                  </a:lnTo>
                  <a:lnTo>
                    <a:pt x="10226" y="10055"/>
                  </a:lnTo>
                  <a:lnTo>
                    <a:pt x="10294" y="9679"/>
                  </a:lnTo>
                  <a:lnTo>
                    <a:pt x="10625" y="8994"/>
                  </a:lnTo>
                  <a:lnTo>
                    <a:pt x="11081" y="8537"/>
                  </a:lnTo>
                  <a:lnTo>
                    <a:pt x="11378" y="7659"/>
                  </a:lnTo>
                  <a:lnTo>
                    <a:pt x="11481" y="6871"/>
                  </a:lnTo>
                  <a:lnTo>
                    <a:pt x="11378" y="6517"/>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64" name="Google Shape;335;p29">
              <a:extLst>
                <a:ext uri="{FF2B5EF4-FFF2-40B4-BE49-F238E27FC236}">
                  <a16:creationId xmlns:a16="http://schemas.microsoft.com/office/drawing/2014/main" id="{FF65F90B-A2DD-4BDC-8664-BD7D24FF6081}"/>
                </a:ext>
              </a:extLst>
            </p:cNvPr>
            <p:cNvSpPr/>
            <p:nvPr/>
          </p:nvSpPr>
          <p:spPr>
            <a:xfrm>
              <a:off x="4198425" y="2834225"/>
              <a:ext cx="229425" cy="198300"/>
            </a:xfrm>
            <a:custGeom>
              <a:avLst/>
              <a:gdLst/>
              <a:ahLst/>
              <a:cxnLst/>
              <a:rect l="l" t="t" r="r" b="b"/>
              <a:pathLst>
                <a:path w="9177" h="7932" extrusionOk="0">
                  <a:moveTo>
                    <a:pt x="7921" y="2066"/>
                  </a:moveTo>
                  <a:lnTo>
                    <a:pt x="7818" y="1746"/>
                  </a:lnTo>
                  <a:lnTo>
                    <a:pt x="7407" y="1393"/>
                  </a:lnTo>
                  <a:lnTo>
                    <a:pt x="7293" y="742"/>
                  </a:lnTo>
                  <a:lnTo>
                    <a:pt x="7362" y="69"/>
                  </a:lnTo>
                  <a:lnTo>
                    <a:pt x="6996" y="0"/>
                  </a:lnTo>
                  <a:lnTo>
                    <a:pt x="6951" y="206"/>
                  </a:lnTo>
                  <a:lnTo>
                    <a:pt x="6471" y="251"/>
                  </a:lnTo>
                  <a:lnTo>
                    <a:pt x="6665" y="514"/>
                  </a:lnTo>
                  <a:lnTo>
                    <a:pt x="6757" y="1062"/>
                  </a:lnTo>
                  <a:lnTo>
                    <a:pt x="6323" y="1564"/>
                  </a:lnTo>
                  <a:lnTo>
                    <a:pt x="5935" y="2203"/>
                  </a:lnTo>
                  <a:lnTo>
                    <a:pt x="5536" y="2306"/>
                  </a:lnTo>
                  <a:lnTo>
                    <a:pt x="4851" y="1781"/>
                  </a:lnTo>
                  <a:lnTo>
                    <a:pt x="4554" y="1963"/>
                  </a:lnTo>
                  <a:lnTo>
                    <a:pt x="4486" y="2237"/>
                  </a:lnTo>
                  <a:lnTo>
                    <a:pt x="4075" y="2408"/>
                  </a:lnTo>
                  <a:lnTo>
                    <a:pt x="4041" y="2591"/>
                  </a:lnTo>
                  <a:lnTo>
                    <a:pt x="3253" y="2591"/>
                  </a:lnTo>
                  <a:lnTo>
                    <a:pt x="3139" y="2408"/>
                  </a:lnTo>
                  <a:lnTo>
                    <a:pt x="2557" y="2363"/>
                  </a:lnTo>
                  <a:lnTo>
                    <a:pt x="2272" y="2523"/>
                  </a:lnTo>
                  <a:lnTo>
                    <a:pt x="2055" y="2454"/>
                  </a:lnTo>
                  <a:lnTo>
                    <a:pt x="1633" y="1918"/>
                  </a:lnTo>
                  <a:lnTo>
                    <a:pt x="1484" y="1667"/>
                  </a:lnTo>
                  <a:lnTo>
                    <a:pt x="914" y="1792"/>
                  </a:lnTo>
                  <a:lnTo>
                    <a:pt x="708" y="2203"/>
                  </a:lnTo>
                  <a:lnTo>
                    <a:pt x="514" y="3025"/>
                  </a:lnTo>
                  <a:lnTo>
                    <a:pt x="252" y="3196"/>
                  </a:lnTo>
                  <a:lnTo>
                    <a:pt x="1" y="3287"/>
                  </a:lnTo>
                  <a:lnTo>
                    <a:pt x="548" y="3652"/>
                  </a:lnTo>
                  <a:lnTo>
                    <a:pt x="982" y="4017"/>
                  </a:lnTo>
                  <a:lnTo>
                    <a:pt x="1005" y="4303"/>
                  </a:lnTo>
                  <a:lnTo>
                    <a:pt x="1541" y="4794"/>
                  </a:lnTo>
                  <a:lnTo>
                    <a:pt x="1884" y="5170"/>
                  </a:lnTo>
                  <a:lnTo>
                    <a:pt x="2101" y="5718"/>
                  </a:lnTo>
                  <a:lnTo>
                    <a:pt x="2694" y="6072"/>
                  </a:lnTo>
                  <a:lnTo>
                    <a:pt x="2831" y="6368"/>
                  </a:lnTo>
                  <a:lnTo>
                    <a:pt x="3333" y="7110"/>
                  </a:lnTo>
                  <a:lnTo>
                    <a:pt x="3687" y="7224"/>
                  </a:lnTo>
                  <a:lnTo>
                    <a:pt x="3904" y="7076"/>
                  </a:lnTo>
                  <a:lnTo>
                    <a:pt x="4269" y="7133"/>
                  </a:lnTo>
                  <a:lnTo>
                    <a:pt x="4714" y="6939"/>
                  </a:lnTo>
                  <a:lnTo>
                    <a:pt x="4908" y="7327"/>
                  </a:lnTo>
                  <a:lnTo>
                    <a:pt x="5627" y="7932"/>
                  </a:lnTo>
                  <a:lnTo>
                    <a:pt x="5627" y="7932"/>
                  </a:lnTo>
                  <a:lnTo>
                    <a:pt x="5946" y="7681"/>
                  </a:lnTo>
                  <a:lnTo>
                    <a:pt x="6449" y="7886"/>
                  </a:lnTo>
                  <a:lnTo>
                    <a:pt x="7088" y="7669"/>
                  </a:lnTo>
                  <a:lnTo>
                    <a:pt x="7658" y="7681"/>
                  </a:lnTo>
                  <a:lnTo>
                    <a:pt x="8149" y="7259"/>
                  </a:lnTo>
                  <a:lnTo>
                    <a:pt x="8640" y="6711"/>
                  </a:lnTo>
                  <a:lnTo>
                    <a:pt x="9176" y="6117"/>
                  </a:lnTo>
                  <a:lnTo>
                    <a:pt x="8674" y="5136"/>
                  </a:lnTo>
                  <a:lnTo>
                    <a:pt x="8309" y="4919"/>
                  </a:lnTo>
                  <a:lnTo>
                    <a:pt x="8160" y="4565"/>
                  </a:lnTo>
                  <a:lnTo>
                    <a:pt x="7750" y="4120"/>
                  </a:lnTo>
                  <a:lnTo>
                    <a:pt x="7259" y="4052"/>
                  </a:lnTo>
                  <a:lnTo>
                    <a:pt x="7521" y="3538"/>
                  </a:lnTo>
                  <a:lnTo>
                    <a:pt x="7944" y="3515"/>
                  </a:lnTo>
                  <a:lnTo>
                    <a:pt x="8058" y="3230"/>
                  </a:lnTo>
                  <a:lnTo>
                    <a:pt x="8035" y="2523"/>
                  </a:lnTo>
                  <a:lnTo>
                    <a:pt x="7921" y="251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65" name="Google Shape;336;p29">
              <a:extLst>
                <a:ext uri="{FF2B5EF4-FFF2-40B4-BE49-F238E27FC236}">
                  <a16:creationId xmlns:a16="http://schemas.microsoft.com/office/drawing/2014/main" id="{6677ECF2-5561-4E40-ADC4-A9AE8C2719F1}"/>
                </a:ext>
              </a:extLst>
            </p:cNvPr>
            <p:cNvSpPr/>
            <p:nvPr/>
          </p:nvSpPr>
          <p:spPr>
            <a:xfrm>
              <a:off x="3371325" y="2735800"/>
              <a:ext cx="121850" cy="96450"/>
            </a:xfrm>
            <a:custGeom>
              <a:avLst/>
              <a:gdLst/>
              <a:ahLst/>
              <a:cxnLst/>
              <a:rect l="l" t="t" r="r" b="b"/>
              <a:pathLst>
                <a:path w="4874" h="3858" extrusionOk="0">
                  <a:moveTo>
                    <a:pt x="4326" y="1792"/>
                  </a:moveTo>
                  <a:lnTo>
                    <a:pt x="3812" y="1164"/>
                  </a:lnTo>
                  <a:lnTo>
                    <a:pt x="3356" y="491"/>
                  </a:lnTo>
                  <a:lnTo>
                    <a:pt x="2831" y="251"/>
                  </a:lnTo>
                  <a:lnTo>
                    <a:pt x="2454" y="0"/>
                  </a:lnTo>
                  <a:lnTo>
                    <a:pt x="2021" y="0"/>
                  </a:lnTo>
                  <a:lnTo>
                    <a:pt x="1621" y="194"/>
                  </a:lnTo>
                  <a:lnTo>
                    <a:pt x="1233" y="126"/>
                  </a:lnTo>
                  <a:lnTo>
                    <a:pt x="948" y="411"/>
                  </a:lnTo>
                  <a:lnTo>
                    <a:pt x="765" y="879"/>
                  </a:lnTo>
                  <a:lnTo>
                    <a:pt x="366" y="1507"/>
                  </a:lnTo>
                  <a:lnTo>
                    <a:pt x="1" y="1678"/>
                  </a:lnTo>
                  <a:lnTo>
                    <a:pt x="389" y="2009"/>
                  </a:lnTo>
                  <a:lnTo>
                    <a:pt x="708" y="2716"/>
                  </a:lnTo>
                  <a:lnTo>
                    <a:pt x="1576" y="2693"/>
                  </a:lnTo>
                  <a:lnTo>
                    <a:pt x="1758" y="2477"/>
                  </a:lnTo>
                  <a:lnTo>
                    <a:pt x="2021" y="2465"/>
                  </a:lnTo>
                  <a:lnTo>
                    <a:pt x="2317" y="2682"/>
                  </a:lnTo>
                  <a:lnTo>
                    <a:pt x="2568" y="2693"/>
                  </a:lnTo>
                  <a:lnTo>
                    <a:pt x="2831" y="2534"/>
                  </a:lnTo>
                  <a:lnTo>
                    <a:pt x="2991" y="2796"/>
                  </a:lnTo>
                  <a:lnTo>
                    <a:pt x="2648" y="3002"/>
                  </a:lnTo>
                  <a:lnTo>
                    <a:pt x="2306" y="2990"/>
                  </a:lnTo>
                  <a:lnTo>
                    <a:pt x="1964" y="2796"/>
                  </a:lnTo>
                  <a:lnTo>
                    <a:pt x="1667" y="3002"/>
                  </a:lnTo>
                  <a:lnTo>
                    <a:pt x="1519" y="3002"/>
                  </a:lnTo>
                  <a:lnTo>
                    <a:pt x="1325" y="3139"/>
                  </a:lnTo>
                  <a:lnTo>
                    <a:pt x="606" y="3116"/>
                  </a:lnTo>
                  <a:lnTo>
                    <a:pt x="720" y="3812"/>
                  </a:lnTo>
                  <a:lnTo>
                    <a:pt x="1142" y="3664"/>
                  </a:lnTo>
                  <a:lnTo>
                    <a:pt x="1404" y="3686"/>
                  </a:lnTo>
                  <a:lnTo>
                    <a:pt x="1621" y="3584"/>
                  </a:lnTo>
                  <a:lnTo>
                    <a:pt x="3082" y="3629"/>
                  </a:lnTo>
                  <a:lnTo>
                    <a:pt x="3470" y="3641"/>
                  </a:lnTo>
                  <a:lnTo>
                    <a:pt x="4041" y="3858"/>
                  </a:lnTo>
                  <a:lnTo>
                    <a:pt x="4223" y="3846"/>
                  </a:lnTo>
                  <a:lnTo>
                    <a:pt x="4280" y="3743"/>
                  </a:lnTo>
                  <a:lnTo>
                    <a:pt x="4714" y="3812"/>
                  </a:lnTo>
                  <a:lnTo>
                    <a:pt x="4828" y="3755"/>
                  </a:lnTo>
                  <a:lnTo>
                    <a:pt x="4874" y="3470"/>
                  </a:lnTo>
                  <a:lnTo>
                    <a:pt x="4817" y="3139"/>
                  </a:lnTo>
                  <a:lnTo>
                    <a:pt x="4509" y="2876"/>
                  </a:lnTo>
                  <a:lnTo>
                    <a:pt x="4360" y="235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66" name="Google Shape;337;p29">
              <a:extLst>
                <a:ext uri="{FF2B5EF4-FFF2-40B4-BE49-F238E27FC236}">
                  <a16:creationId xmlns:a16="http://schemas.microsoft.com/office/drawing/2014/main" id="{D751C3EB-97D5-4218-A4E7-37EA57933D26}"/>
                </a:ext>
              </a:extLst>
            </p:cNvPr>
            <p:cNvSpPr/>
            <p:nvPr/>
          </p:nvSpPr>
          <p:spPr>
            <a:xfrm>
              <a:off x="3456650" y="2884150"/>
              <a:ext cx="60500" cy="74200"/>
            </a:xfrm>
            <a:custGeom>
              <a:avLst/>
              <a:gdLst/>
              <a:ahLst/>
              <a:cxnLst/>
              <a:rect l="l" t="t" r="r" b="b"/>
              <a:pathLst>
                <a:path w="2420" h="2968" extrusionOk="0">
                  <a:moveTo>
                    <a:pt x="2419" y="1496"/>
                  </a:moveTo>
                  <a:lnTo>
                    <a:pt x="2203" y="1541"/>
                  </a:lnTo>
                  <a:lnTo>
                    <a:pt x="2203" y="1210"/>
                  </a:lnTo>
                  <a:lnTo>
                    <a:pt x="2077" y="971"/>
                  </a:lnTo>
                  <a:lnTo>
                    <a:pt x="2100" y="708"/>
                  </a:lnTo>
                  <a:lnTo>
                    <a:pt x="1929" y="320"/>
                  </a:lnTo>
                  <a:lnTo>
                    <a:pt x="1712" y="1"/>
                  </a:lnTo>
                  <a:lnTo>
                    <a:pt x="1073" y="1"/>
                  </a:lnTo>
                  <a:lnTo>
                    <a:pt x="890" y="172"/>
                  </a:lnTo>
                  <a:lnTo>
                    <a:pt x="673" y="195"/>
                  </a:lnTo>
                  <a:lnTo>
                    <a:pt x="536" y="400"/>
                  </a:lnTo>
                  <a:lnTo>
                    <a:pt x="434" y="640"/>
                  </a:lnTo>
                  <a:lnTo>
                    <a:pt x="0" y="1039"/>
                  </a:lnTo>
                  <a:lnTo>
                    <a:pt x="103" y="1712"/>
                  </a:lnTo>
                  <a:lnTo>
                    <a:pt x="228" y="2032"/>
                  </a:lnTo>
                  <a:lnTo>
                    <a:pt x="650" y="2534"/>
                  </a:lnTo>
                  <a:lnTo>
                    <a:pt x="1233" y="2888"/>
                  </a:lnTo>
                  <a:lnTo>
                    <a:pt x="1449" y="2968"/>
                  </a:lnTo>
                  <a:lnTo>
                    <a:pt x="1632" y="2682"/>
                  </a:lnTo>
                  <a:lnTo>
                    <a:pt x="1678" y="2409"/>
                  </a:lnTo>
                  <a:lnTo>
                    <a:pt x="2043" y="191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67" name="Google Shape;338;p29">
              <a:extLst>
                <a:ext uri="{FF2B5EF4-FFF2-40B4-BE49-F238E27FC236}">
                  <a16:creationId xmlns:a16="http://schemas.microsoft.com/office/drawing/2014/main" id="{7A06A36F-21F5-42EC-A0C6-68AD5466C8B8}"/>
                </a:ext>
              </a:extLst>
            </p:cNvPr>
            <p:cNvSpPr/>
            <p:nvPr/>
          </p:nvSpPr>
          <p:spPr>
            <a:xfrm>
              <a:off x="1930550" y="2784875"/>
              <a:ext cx="47375" cy="28825"/>
            </a:xfrm>
            <a:custGeom>
              <a:avLst/>
              <a:gdLst/>
              <a:ahLst/>
              <a:cxnLst/>
              <a:rect l="l" t="t" r="r" b="b"/>
              <a:pathLst>
                <a:path w="1895" h="1153" extrusionOk="0">
                  <a:moveTo>
                    <a:pt x="1803" y="947"/>
                  </a:moveTo>
                  <a:lnTo>
                    <a:pt x="1895" y="582"/>
                  </a:lnTo>
                  <a:lnTo>
                    <a:pt x="1792" y="491"/>
                  </a:lnTo>
                  <a:lnTo>
                    <a:pt x="1632" y="411"/>
                  </a:lnTo>
                  <a:lnTo>
                    <a:pt x="1278" y="525"/>
                  </a:lnTo>
                  <a:lnTo>
                    <a:pt x="1267" y="400"/>
                  </a:lnTo>
                  <a:lnTo>
                    <a:pt x="1027" y="263"/>
                  </a:lnTo>
                  <a:lnTo>
                    <a:pt x="879" y="69"/>
                  </a:lnTo>
                  <a:lnTo>
                    <a:pt x="662" y="0"/>
                  </a:lnTo>
                  <a:lnTo>
                    <a:pt x="457" y="57"/>
                  </a:lnTo>
                  <a:lnTo>
                    <a:pt x="491" y="160"/>
                  </a:lnTo>
                  <a:lnTo>
                    <a:pt x="331" y="263"/>
                  </a:lnTo>
                  <a:lnTo>
                    <a:pt x="34" y="491"/>
                  </a:lnTo>
                  <a:lnTo>
                    <a:pt x="0" y="628"/>
                  </a:lnTo>
                  <a:lnTo>
                    <a:pt x="206" y="810"/>
                  </a:lnTo>
                  <a:lnTo>
                    <a:pt x="651" y="867"/>
                  </a:lnTo>
                  <a:lnTo>
                    <a:pt x="959" y="1061"/>
                  </a:lnTo>
                  <a:lnTo>
                    <a:pt x="1233" y="1141"/>
                  </a:lnTo>
                  <a:lnTo>
                    <a:pt x="1701" y="115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68" name="Google Shape;339;p29">
              <a:extLst>
                <a:ext uri="{FF2B5EF4-FFF2-40B4-BE49-F238E27FC236}">
                  <a16:creationId xmlns:a16="http://schemas.microsoft.com/office/drawing/2014/main" id="{E41374D3-DBF6-4EBE-91F0-A3E755A55427}"/>
                </a:ext>
              </a:extLst>
            </p:cNvPr>
            <p:cNvSpPr/>
            <p:nvPr/>
          </p:nvSpPr>
          <p:spPr>
            <a:xfrm>
              <a:off x="4057500" y="2067050"/>
              <a:ext cx="81050" cy="86175"/>
            </a:xfrm>
            <a:custGeom>
              <a:avLst/>
              <a:gdLst/>
              <a:ahLst/>
              <a:cxnLst/>
              <a:rect l="l" t="t" r="r" b="b"/>
              <a:pathLst>
                <a:path w="3242" h="3447" extrusionOk="0">
                  <a:moveTo>
                    <a:pt x="1974" y="867"/>
                  </a:moveTo>
                  <a:lnTo>
                    <a:pt x="1518" y="651"/>
                  </a:lnTo>
                  <a:lnTo>
                    <a:pt x="1404" y="388"/>
                  </a:lnTo>
                  <a:lnTo>
                    <a:pt x="993" y="23"/>
                  </a:lnTo>
                  <a:lnTo>
                    <a:pt x="536" y="0"/>
                  </a:lnTo>
                  <a:lnTo>
                    <a:pt x="0" y="228"/>
                  </a:lnTo>
                  <a:lnTo>
                    <a:pt x="0" y="228"/>
                  </a:lnTo>
                  <a:lnTo>
                    <a:pt x="217" y="571"/>
                  </a:lnTo>
                  <a:lnTo>
                    <a:pt x="457" y="822"/>
                  </a:lnTo>
                  <a:lnTo>
                    <a:pt x="217" y="1153"/>
                  </a:lnTo>
                  <a:lnTo>
                    <a:pt x="217" y="1153"/>
                  </a:lnTo>
                  <a:lnTo>
                    <a:pt x="479" y="1153"/>
                  </a:lnTo>
                  <a:lnTo>
                    <a:pt x="331" y="1541"/>
                  </a:lnTo>
                  <a:lnTo>
                    <a:pt x="719" y="1872"/>
                  </a:lnTo>
                  <a:lnTo>
                    <a:pt x="651" y="2283"/>
                  </a:lnTo>
                  <a:lnTo>
                    <a:pt x="479" y="2328"/>
                  </a:lnTo>
                  <a:lnTo>
                    <a:pt x="685" y="2477"/>
                  </a:lnTo>
                  <a:lnTo>
                    <a:pt x="799" y="2591"/>
                  </a:lnTo>
                  <a:lnTo>
                    <a:pt x="1061" y="2693"/>
                  </a:lnTo>
                  <a:lnTo>
                    <a:pt x="1347" y="2865"/>
                  </a:lnTo>
                  <a:lnTo>
                    <a:pt x="1290" y="2956"/>
                  </a:lnTo>
                  <a:lnTo>
                    <a:pt x="1461" y="2876"/>
                  </a:lnTo>
                  <a:lnTo>
                    <a:pt x="1529" y="2591"/>
                  </a:lnTo>
                  <a:lnTo>
                    <a:pt x="1655" y="2534"/>
                  </a:lnTo>
                  <a:lnTo>
                    <a:pt x="1769" y="2671"/>
                  </a:lnTo>
                  <a:lnTo>
                    <a:pt x="1917" y="2728"/>
                  </a:lnTo>
                  <a:lnTo>
                    <a:pt x="2031" y="2865"/>
                  </a:lnTo>
                  <a:lnTo>
                    <a:pt x="2146" y="2910"/>
                  </a:lnTo>
                  <a:lnTo>
                    <a:pt x="2305" y="3070"/>
                  </a:lnTo>
                  <a:lnTo>
                    <a:pt x="2419" y="3070"/>
                  </a:lnTo>
                  <a:lnTo>
                    <a:pt x="2340" y="3275"/>
                  </a:lnTo>
                  <a:lnTo>
                    <a:pt x="2271" y="3378"/>
                  </a:lnTo>
                  <a:lnTo>
                    <a:pt x="2305" y="3447"/>
                  </a:lnTo>
                  <a:lnTo>
                    <a:pt x="2545" y="3389"/>
                  </a:lnTo>
                  <a:lnTo>
                    <a:pt x="2887" y="3378"/>
                  </a:lnTo>
                  <a:lnTo>
                    <a:pt x="2990" y="3253"/>
                  </a:lnTo>
                  <a:lnTo>
                    <a:pt x="2899" y="3150"/>
                  </a:lnTo>
                  <a:lnTo>
                    <a:pt x="3001" y="2865"/>
                  </a:lnTo>
                  <a:lnTo>
                    <a:pt x="3241" y="2591"/>
                  </a:lnTo>
                  <a:lnTo>
                    <a:pt x="2842" y="2225"/>
                  </a:lnTo>
                  <a:lnTo>
                    <a:pt x="2739" y="1894"/>
                  </a:lnTo>
                  <a:lnTo>
                    <a:pt x="2899" y="1700"/>
                  </a:lnTo>
                  <a:lnTo>
                    <a:pt x="2762" y="1552"/>
                  </a:lnTo>
                  <a:lnTo>
                    <a:pt x="2910" y="1392"/>
                  </a:lnTo>
                  <a:lnTo>
                    <a:pt x="2716" y="1301"/>
                  </a:lnTo>
                  <a:lnTo>
                    <a:pt x="2511" y="1484"/>
                  </a:lnTo>
                  <a:lnTo>
                    <a:pt x="2077" y="122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69" name="Google Shape;340;p29">
              <a:extLst>
                <a:ext uri="{FF2B5EF4-FFF2-40B4-BE49-F238E27FC236}">
                  <a16:creationId xmlns:a16="http://schemas.microsoft.com/office/drawing/2014/main" id="{0DB5FDBB-5706-435C-9F5C-59872ABA4A8E}"/>
                </a:ext>
              </a:extLst>
            </p:cNvPr>
            <p:cNvSpPr/>
            <p:nvPr/>
          </p:nvSpPr>
          <p:spPr>
            <a:xfrm>
              <a:off x="2559075" y="2975175"/>
              <a:ext cx="82750" cy="95875"/>
            </a:xfrm>
            <a:custGeom>
              <a:avLst/>
              <a:gdLst/>
              <a:ahLst/>
              <a:cxnLst/>
              <a:rect l="l" t="t" r="r" b="b"/>
              <a:pathLst>
                <a:path w="3310" h="3835" extrusionOk="0">
                  <a:moveTo>
                    <a:pt x="2454" y="0"/>
                  </a:moveTo>
                  <a:lnTo>
                    <a:pt x="1803" y="80"/>
                  </a:lnTo>
                  <a:lnTo>
                    <a:pt x="1712" y="240"/>
                  </a:lnTo>
                  <a:lnTo>
                    <a:pt x="753" y="57"/>
                  </a:lnTo>
                  <a:lnTo>
                    <a:pt x="616" y="879"/>
                  </a:lnTo>
                  <a:lnTo>
                    <a:pt x="114" y="1107"/>
                  </a:lnTo>
                  <a:lnTo>
                    <a:pt x="160" y="1324"/>
                  </a:lnTo>
                  <a:lnTo>
                    <a:pt x="0" y="1792"/>
                  </a:lnTo>
                  <a:lnTo>
                    <a:pt x="343" y="2442"/>
                  </a:lnTo>
                  <a:lnTo>
                    <a:pt x="594" y="2465"/>
                  </a:lnTo>
                  <a:lnTo>
                    <a:pt x="696" y="2956"/>
                  </a:lnTo>
                  <a:lnTo>
                    <a:pt x="1164" y="3755"/>
                  </a:lnTo>
                  <a:lnTo>
                    <a:pt x="1609" y="3835"/>
                  </a:lnTo>
                  <a:lnTo>
                    <a:pt x="1678" y="3641"/>
                  </a:lnTo>
                  <a:lnTo>
                    <a:pt x="1552" y="3458"/>
                  </a:lnTo>
                  <a:lnTo>
                    <a:pt x="1621" y="3207"/>
                  </a:lnTo>
                  <a:lnTo>
                    <a:pt x="1952" y="3287"/>
                  </a:lnTo>
                  <a:lnTo>
                    <a:pt x="2340" y="3184"/>
                  </a:lnTo>
                  <a:lnTo>
                    <a:pt x="2796" y="3389"/>
                  </a:lnTo>
                  <a:lnTo>
                    <a:pt x="2990" y="3001"/>
                  </a:lnTo>
                  <a:lnTo>
                    <a:pt x="3082" y="2591"/>
                  </a:lnTo>
                  <a:lnTo>
                    <a:pt x="3218" y="2191"/>
                  </a:lnTo>
                  <a:lnTo>
                    <a:pt x="2922" y="1666"/>
                  </a:lnTo>
                  <a:lnTo>
                    <a:pt x="2865" y="1039"/>
                  </a:lnTo>
                  <a:lnTo>
                    <a:pt x="3310" y="25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70" name="Google Shape;341;p29">
              <a:extLst>
                <a:ext uri="{FF2B5EF4-FFF2-40B4-BE49-F238E27FC236}">
                  <a16:creationId xmlns:a16="http://schemas.microsoft.com/office/drawing/2014/main" id="{961C0F52-A7DA-42F5-8330-6D9B3E727B6F}"/>
                </a:ext>
              </a:extLst>
            </p:cNvPr>
            <p:cNvSpPr/>
            <p:nvPr/>
          </p:nvSpPr>
          <p:spPr>
            <a:xfrm>
              <a:off x="4018125" y="1991425"/>
              <a:ext cx="98150" cy="40250"/>
            </a:xfrm>
            <a:custGeom>
              <a:avLst/>
              <a:gdLst/>
              <a:ahLst/>
              <a:cxnLst/>
              <a:rect l="l" t="t" r="r" b="b"/>
              <a:pathLst>
                <a:path w="3926" h="1610" extrusionOk="0">
                  <a:moveTo>
                    <a:pt x="3926" y="423"/>
                  </a:moveTo>
                  <a:lnTo>
                    <a:pt x="3218" y="92"/>
                  </a:lnTo>
                  <a:lnTo>
                    <a:pt x="2739" y="206"/>
                  </a:lnTo>
                  <a:lnTo>
                    <a:pt x="2397" y="126"/>
                  </a:lnTo>
                  <a:lnTo>
                    <a:pt x="1997" y="309"/>
                  </a:lnTo>
                  <a:lnTo>
                    <a:pt x="1609" y="1"/>
                  </a:lnTo>
                  <a:lnTo>
                    <a:pt x="1335" y="126"/>
                  </a:lnTo>
                  <a:lnTo>
                    <a:pt x="1290" y="69"/>
                  </a:lnTo>
                  <a:lnTo>
                    <a:pt x="1084" y="69"/>
                  </a:lnTo>
                  <a:lnTo>
                    <a:pt x="993" y="229"/>
                  </a:lnTo>
                  <a:lnTo>
                    <a:pt x="845" y="275"/>
                  </a:lnTo>
                  <a:lnTo>
                    <a:pt x="810" y="469"/>
                  </a:lnTo>
                  <a:lnTo>
                    <a:pt x="685" y="514"/>
                  </a:lnTo>
                  <a:lnTo>
                    <a:pt x="662" y="594"/>
                  </a:lnTo>
                  <a:lnTo>
                    <a:pt x="445" y="686"/>
                  </a:lnTo>
                  <a:lnTo>
                    <a:pt x="126" y="674"/>
                  </a:lnTo>
                  <a:lnTo>
                    <a:pt x="46" y="868"/>
                  </a:lnTo>
                  <a:lnTo>
                    <a:pt x="0" y="982"/>
                  </a:lnTo>
                  <a:lnTo>
                    <a:pt x="103" y="1279"/>
                  </a:lnTo>
                  <a:lnTo>
                    <a:pt x="468" y="1507"/>
                  </a:lnTo>
                  <a:lnTo>
                    <a:pt x="742" y="1610"/>
                  </a:lnTo>
                  <a:lnTo>
                    <a:pt x="1324" y="1496"/>
                  </a:lnTo>
                  <a:lnTo>
                    <a:pt x="1370" y="1325"/>
                  </a:lnTo>
                  <a:lnTo>
                    <a:pt x="1644" y="1302"/>
                  </a:lnTo>
                  <a:lnTo>
                    <a:pt x="1963" y="1153"/>
                  </a:lnTo>
                  <a:lnTo>
                    <a:pt x="2054" y="1211"/>
                  </a:lnTo>
                  <a:lnTo>
                    <a:pt x="2363" y="1108"/>
                  </a:lnTo>
                  <a:lnTo>
                    <a:pt x="2511" y="902"/>
                  </a:lnTo>
                  <a:lnTo>
                    <a:pt x="2739" y="845"/>
                  </a:lnTo>
                  <a:lnTo>
                    <a:pt x="3515" y="1108"/>
                  </a:lnTo>
                  <a:lnTo>
                    <a:pt x="3664" y="1028"/>
                  </a:lnTo>
                  <a:lnTo>
                    <a:pt x="3766" y="67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71" name="Google Shape;342;p29">
              <a:extLst>
                <a:ext uri="{FF2B5EF4-FFF2-40B4-BE49-F238E27FC236}">
                  <a16:creationId xmlns:a16="http://schemas.microsoft.com/office/drawing/2014/main" id="{25047511-61B6-4A32-9E4D-DD217AE56997}"/>
                </a:ext>
              </a:extLst>
            </p:cNvPr>
            <p:cNvSpPr/>
            <p:nvPr/>
          </p:nvSpPr>
          <p:spPr>
            <a:xfrm>
              <a:off x="3965900" y="2051625"/>
              <a:ext cx="50525" cy="31125"/>
            </a:xfrm>
            <a:custGeom>
              <a:avLst/>
              <a:gdLst/>
              <a:ahLst/>
              <a:cxnLst/>
              <a:rect l="l" t="t" r="r" b="b"/>
              <a:pathLst>
                <a:path w="2021" h="1245" extrusionOk="0">
                  <a:moveTo>
                    <a:pt x="2021" y="320"/>
                  </a:moveTo>
                  <a:lnTo>
                    <a:pt x="1850" y="12"/>
                  </a:lnTo>
                  <a:lnTo>
                    <a:pt x="1735" y="1"/>
                  </a:lnTo>
                  <a:lnTo>
                    <a:pt x="1598" y="161"/>
                  </a:lnTo>
                  <a:lnTo>
                    <a:pt x="994" y="172"/>
                  </a:lnTo>
                  <a:lnTo>
                    <a:pt x="651" y="366"/>
                  </a:lnTo>
                  <a:lnTo>
                    <a:pt x="46" y="320"/>
                  </a:lnTo>
                  <a:lnTo>
                    <a:pt x="1" y="743"/>
                  </a:lnTo>
                  <a:lnTo>
                    <a:pt x="206" y="1131"/>
                  </a:lnTo>
                  <a:lnTo>
                    <a:pt x="46" y="1199"/>
                  </a:lnTo>
                  <a:lnTo>
                    <a:pt x="549" y="1222"/>
                  </a:lnTo>
                  <a:lnTo>
                    <a:pt x="663" y="1085"/>
                  </a:lnTo>
                  <a:lnTo>
                    <a:pt x="914" y="1222"/>
                  </a:lnTo>
                  <a:lnTo>
                    <a:pt x="1199" y="1245"/>
                  </a:lnTo>
                  <a:lnTo>
                    <a:pt x="1176" y="1005"/>
                  </a:lnTo>
                  <a:lnTo>
                    <a:pt x="1416" y="914"/>
                  </a:lnTo>
                  <a:lnTo>
                    <a:pt x="1462" y="56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72" name="Google Shape;343;p29">
              <a:extLst>
                <a:ext uri="{FF2B5EF4-FFF2-40B4-BE49-F238E27FC236}">
                  <a16:creationId xmlns:a16="http://schemas.microsoft.com/office/drawing/2014/main" id="{B5B71750-3180-49D4-86CA-D56F32BC540B}"/>
                </a:ext>
              </a:extLst>
            </p:cNvPr>
            <p:cNvSpPr/>
            <p:nvPr/>
          </p:nvSpPr>
          <p:spPr>
            <a:xfrm>
              <a:off x="3899725" y="1585450"/>
              <a:ext cx="181750" cy="280475"/>
            </a:xfrm>
            <a:custGeom>
              <a:avLst/>
              <a:gdLst/>
              <a:ahLst/>
              <a:cxnLst/>
              <a:rect l="l" t="t" r="r" b="b"/>
              <a:pathLst>
                <a:path w="7270" h="11219" extrusionOk="0">
                  <a:moveTo>
                    <a:pt x="7270" y="2431"/>
                  </a:moveTo>
                  <a:lnTo>
                    <a:pt x="7007" y="2112"/>
                  </a:lnTo>
                  <a:lnTo>
                    <a:pt x="6756" y="913"/>
                  </a:lnTo>
                  <a:lnTo>
                    <a:pt x="5729" y="388"/>
                  </a:lnTo>
                  <a:lnTo>
                    <a:pt x="4885" y="0"/>
                  </a:lnTo>
                  <a:lnTo>
                    <a:pt x="4531" y="46"/>
                  </a:lnTo>
                  <a:lnTo>
                    <a:pt x="4531" y="548"/>
                  </a:lnTo>
                  <a:lnTo>
                    <a:pt x="3401" y="423"/>
                  </a:lnTo>
                  <a:lnTo>
                    <a:pt x="3321" y="856"/>
                  </a:lnTo>
                  <a:lnTo>
                    <a:pt x="2750" y="845"/>
                  </a:lnTo>
                  <a:lnTo>
                    <a:pt x="2431" y="1404"/>
                  </a:lnTo>
                  <a:lnTo>
                    <a:pt x="1952" y="2271"/>
                  </a:lnTo>
                  <a:lnTo>
                    <a:pt x="1141" y="3401"/>
                  </a:lnTo>
                  <a:lnTo>
                    <a:pt x="1392" y="3675"/>
                  </a:lnTo>
                  <a:lnTo>
                    <a:pt x="1210" y="3983"/>
                  </a:lnTo>
                  <a:lnTo>
                    <a:pt x="594" y="3972"/>
                  </a:lnTo>
                  <a:lnTo>
                    <a:pt x="263" y="4725"/>
                  </a:lnTo>
                  <a:lnTo>
                    <a:pt x="411" y="5809"/>
                  </a:lnTo>
                  <a:lnTo>
                    <a:pt x="856" y="6220"/>
                  </a:lnTo>
                  <a:lnTo>
                    <a:pt x="719" y="7213"/>
                  </a:lnTo>
                  <a:lnTo>
                    <a:pt x="240" y="7783"/>
                  </a:lnTo>
                  <a:lnTo>
                    <a:pt x="0" y="8251"/>
                  </a:lnTo>
                  <a:lnTo>
                    <a:pt x="594" y="9450"/>
                  </a:lnTo>
                  <a:lnTo>
                    <a:pt x="1221" y="10408"/>
                  </a:lnTo>
                  <a:lnTo>
                    <a:pt x="1507" y="11218"/>
                  </a:lnTo>
                  <a:lnTo>
                    <a:pt x="2260" y="11173"/>
                  </a:lnTo>
                  <a:lnTo>
                    <a:pt x="2579" y="10500"/>
                  </a:lnTo>
                  <a:lnTo>
                    <a:pt x="3390" y="10579"/>
                  </a:lnTo>
                  <a:lnTo>
                    <a:pt x="3675" y="9792"/>
                  </a:lnTo>
                  <a:lnTo>
                    <a:pt x="3766" y="8365"/>
                  </a:lnTo>
                  <a:lnTo>
                    <a:pt x="4417" y="8183"/>
                  </a:lnTo>
                  <a:lnTo>
                    <a:pt x="4885" y="7236"/>
                  </a:lnTo>
                  <a:lnTo>
                    <a:pt x="4200" y="6768"/>
                  </a:lnTo>
                  <a:lnTo>
                    <a:pt x="3686" y="6197"/>
                  </a:lnTo>
                  <a:lnTo>
                    <a:pt x="3994" y="5045"/>
                  </a:lnTo>
                  <a:lnTo>
                    <a:pt x="5090" y="4337"/>
                  </a:lnTo>
                  <a:lnTo>
                    <a:pt x="5957" y="3698"/>
                  </a:lnTo>
                  <a:lnTo>
                    <a:pt x="5786" y="3196"/>
                  </a:lnTo>
                  <a:lnTo>
                    <a:pt x="6277" y="264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73" name="Google Shape;344;p29">
              <a:extLst>
                <a:ext uri="{FF2B5EF4-FFF2-40B4-BE49-F238E27FC236}">
                  <a16:creationId xmlns:a16="http://schemas.microsoft.com/office/drawing/2014/main" id="{DAE51646-9A31-46D1-9E69-4CDCBE250B6D}"/>
                </a:ext>
              </a:extLst>
            </p:cNvPr>
            <p:cNvSpPr/>
            <p:nvPr/>
          </p:nvSpPr>
          <p:spPr>
            <a:xfrm>
              <a:off x="4317400" y="3694425"/>
              <a:ext cx="27125" cy="37100"/>
            </a:xfrm>
            <a:custGeom>
              <a:avLst/>
              <a:gdLst/>
              <a:ahLst/>
              <a:cxnLst/>
              <a:rect l="l" t="t" r="r" b="b"/>
              <a:pathLst>
                <a:path w="1085" h="1484" extrusionOk="0">
                  <a:moveTo>
                    <a:pt x="948" y="171"/>
                  </a:moveTo>
                  <a:lnTo>
                    <a:pt x="571" y="0"/>
                  </a:lnTo>
                  <a:lnTo>
                    <a:pt x="343" y="69"/>
                  </a:lnTo>
                  <a:lnTo>
                    <a:pt x="240" y="320"/>
                  </a:lnTo>
                  <a:lnTo>
                    <a:pt x="12" y="662"/>
                  </a:lnTo>
                  <a:lnTo>
                    <a:pt x="1" y="982"/>
                  </a:lnTo>
                  <a:lnTo>
                    <a:pt x="423" y="1484"/>
                  </a:lnTo>
                  <a:lnTo>
                    <a:pt x="891" y="1381"/>
                  </a:lnTo>
                  <a:lnTo>
                    <a:pt x="1085" y="982"/>
                  </a:lnTo>
                  <a:lnTo>
                    <a:pt x="1039" y="58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74" name="Google Shape;345;p29">
              <a:extLst>
                <a:ext uri="{FF2B5EF4-FFF2-40B4-BE49-F238E27FC236}">
                  <a16:creationId xmlns:a16="http://schemas.microsoft.com/office/drawing/2014/main" id="{404B032F-C3C9-424A-A2D4-DD1647A3FACA}"/>
                </a:ext>
              </a:extLst>
            </p:cNvPr>
            <p:cNvSpPr/>
            <p:nvPr/>
          </p:nvSpPr>
          <p:spPr>
            <a:xfrm>
              <a:off x="4398425" y="2266175"/>
              <a:ext cx="115875" cy="113000"/>
            </a:xfrm>
            <a:custGeom>
              <a:avLst/>
              <a:gdLst/>
              <a:ahLst/>
              <a:cxnLst/>
              <a:rect l="l" t="t" r="r" b="b"/>
              <a:pathLst>
                <a:path w="4635" h="4520" extrusionOk="0">
                  <a:moveTo>
                    <a:pt x="2420" y="3561"/>
                  </a:moveTo>
                  <a:lnTo>
                    <a:pt x="3984" y="2603"/>
                  </a:lnTo>
                  <a:lnTo>
                    <a:pt x="4120" y="1496"/>
                  </a:lnTo>
                  <a:lnTo>
                    <a:pt x="3949" y="822"/>
                  </a:lnTo>
                  <a:lnTo>
                    <a:pt x="4326" y="594"/>
                  </a:lnTo>
                  <a:lnTo>
                    <a:pt x="4634" y="1"/>
                  </a:lnTo>
                  <a:lnTo>
                    <a:pt x="3790" y="161"/>
                  </a:lnTo>
                  <a:lnTo>
                    <a:pt x="3390" y="138"/>
                  </a:lnTo>
                  <a:lnTo>
                    <a:pt x="2568" y="491"/>
                  </a:lnTo>
                  <a:lnTo>
                    <a:pt x="1964" y="491"/>
                  </a:lnTo>
                  <a:lnTo>
                    <a:pt x="1530" y="320"/>
                  </a:lnTo>
                  <a:lnTo>
                    <a:pt x="754" y="583"/>
                  </a:lnTo>
                  <a:lnTo>
                    <a:pt x="480" y="389"/>
                  </a:lnTo>
                  <a:lnTo>
                    <a:pt x="491" y="902"/>
                  </a:lnTo>
                  <a:lnTo>
                    <a:pt x="320" y="1119"/>
                  </a:lnTo>
                  <a:lnTo>
                    <a:pt x="149" y="1325"/>
                  </a:lnTo>
                  <a:lnTo>
                    <a:pt x="1" y="1690"/>
                  </a:lnTo>
                  <a:lnTo>
                    <a:pt x="160" y="2409"/>
                  </a:lnTo>
                  <a:lnTo>
                    <a:pt x="503" y="2443"/>
                  </a:lnTo>
                  <a:lnTo>
                    <a:pt x="674" y="2808"/>
                  </a:lnTo>
                  <a:lnTo>
                    <a:pt x="309" y="3151"/>
                  </a:lnTo>
                  <a:lnTo>
                    <a:pt x="172" y="3641"/>
                  </a:lnTo>
                  <a:lnTo>
                    <a:pt x="217" y="4018"/>
                  </a:lnTo>
                  <a:lnTo>
                    <a:pt x="138" y="4155"/>
                  </a:lnTo>
                  <a:lnTo>
                    <a:pt x="149" y="4155"/>
                  </a:lnTo>
                  <a:lnTo>
                    <a:pt x="1051" y="452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75" name="Google Shape;346;p29">
              <a:extLst>
                <a:ext uri="{FF2B5EF4-FFF2-40B4-BE49-F238E27FC236}">
                  <a16:creationId xmlns:a16="http://schemas.microsoft.com/office/drawing/2014/main" id="{614C2F5E-BC12-45D1-AF2C-5E3B9FD70C4F}"/>
                </a:ext>
              </a:extLst>
            </p:cNvPr>
            <p:cNvSpPr/>
            <p:nvPr/>
          </p:nvSpPr>
          <p:spPr>
            <a:xfrm>
              <a:off x="3990150" y="2580875"/>
              <a:ext cx="204875" cy="362650"/>
            </a:xfrm>
            <a:custGeom>
              <a:avLst/>
              <a:gdLst/>
              <a:ahLst/>
              <a:cxnLst/>
              <a:rect l="l" t="t" r="r" b="b"/>
              <a:pathLst>
                <a:path w="8195" h="14506" extrusionOk="0">
                  <a:moveTo>
                    <a:pt x="8035" y="3481"/>
                  </a:moveTo>
                  <a:lnTo>
                    <a:pt x="4840" y="1746"/>
                  </a:lnTo>
                  <a:lnTo>
                    <a:pt x="1656" y="0"/>
                  </a:lnTo>
                  <a:lnTo>
                    <a:pt x="891" y="503"/>
                  </a:lnTo>
                  <a:lnTo>
                    <a:pt x="1119" y="1918"/>
                  </a:lnTo>
                  <a:lnTo>
                    <a:pt x="1405" y="2146"/>
                  </a:lnTo>
                  <a:lnTo>
                    <a:pt x="1427" y="2443"/>
                  </a:lnTo>
                  <a:lnTo>
                    <a:pt x="1758" y="2751"/>
                  </a:lnTo>
                  <a:lnTo>
                    <a:pt x="1599" y="3139"/>
                  </a:lnTo>
                  <a:lnTo>
                    <a:pt x="1347" y="4976"/>
                  </a:lnTo>
                  <a:lnTo>
                    <a:pt x="1313" y="6163"/>
                  </a:lnTo>
                  <a:lnTo>
                    <a:pt x="332" y="7019"/>
                  </a:lnTo>
                  <a:lnTo>
                    <a:pt x="1" y="8217"/>
                  </a:lnTo>
                  <a:lnTo>
                    <a:pt x="343" y="8548"/>
                  </a:lnTo>
                  <a:lnTo>
                    <a:pt x="343" y="9130"/>
                  </a:lnTo>
                  <a:lnTo>
                    <a:pt x="857" y="9164"/>
                  </a:lnTo>
                  <a:lnTo>
                    <a:pt x="788" y="9575"/>
                  </a:lnTo>
                  <a:lnTo>
                    <a:pt x="1108" y="10157"/>
                  </a:lnTo>
                  <a:lnTo>
                    <a:pt x="1176" y="10762"/>
                  </a:lnTo>
                  <a:lnTo>
                    <a:pt x="1142" y="11367"/>
                  </a:lnTo>
                  <a:lnTo>
                    <a:pt x="1587" y="12200"/>
                  </a:lnTo>
                  <a:lnTo>
                    <a:pt x="1142" y="12189"/>
                  </a:lnTo>
                  <a:lnTo>
                    <a:pt x="914" y="12246"/>
                  </a:lnTo>
                  <a:lnTo>
                    <a:pt x="560" y="12154"/>
                  </a:lnTo>
                  <a:lnTo>
                    <a:pt x="389" y="12588"/>
                  </a:lnTo>
                  <a:lnTo>
                    <a:pt x="857" y="13113"/>
                  </a:lnTo>
                  <a:lnTo>
                    <a:pt x="1211" y="13273"/>
                  </a:lnTo>
                  <a:lnTo>
                    <a:pt x="1325" y="13638"/>
                  </a:lnTo>
                  <a:lnTo>
                    <a:pt x="1587" y="14266"/>
                  </a:lnTo>
                  <a:lnTo>
                    <a:pt x="1462" y="14505"/>
                  </a:lnTo>
                  <a:lnTo>
                    <a:pt x="2123" y="14448"/>
                  </a:lnTo>
                  <a:lnTo>
                    <a:pt x="2272" y="14209"/>
                  </a:lnTo>
                  <a:lnTo>
                    <a:pt x="2397" y="14243"/>
                  </a:lnTo>
                  <a:lnTo>
                    <a:pt x="2603" y="14437"/>
                  </a:lnTo>
                  <a:lnTo>
                    <a:pt x="3607" y="14094"/>
                  </a:lnTo>
                  <a:lnTo>
                    <a:pt x="3938" y="13741"/>
                  </a:lnTo>
                  <a:lnTo>
                    <a:pt x="4349" y="13421"/>
                  </a:lnTo>
                  <a:lnTo>
                    <a:pt x="4269" y="13102"/>
                  </a:lnTo>
                  <a:lnTo>
                    <a:pt x="4497" y="13010"/>
                  </a:lnTo>
                  <a:lnTo>
                    <a:pt x="5273" y="13067"/>
                  </a:lnTo>
                  <a:lnTo>
                    <a:pt x="6015" y="12657"/>
                  </a:lnTo>
                  <a:lnTo>
                    <a:pt x="6586" y="11652"/>
                  </a:lnTo>
                  <a:lnTo>
                    <a:pt x="6985" y="11298"/>
                  </a:lnTo>
                  <a:lnTo>
                    <a:pt x="7476" y="11139"/>
                  </a:lnTo>
                  <a:lnTo>
                    <a:pt x="7476" y="10910"/>
                  </a:lnTo>
                  <a:lnTo>
                    <a:pt x="7179" y="10659"/>
                  </a:lnTo>
                  <a:lnTo>
                    <a:pt x="7168" y="10134"/>
                  </a:lnTo>
                  <a:lnTo>
                    <a:pt x="6996" y="9769"/>
                  </a:lnTo>
                  <a:lnTo>
                    <a:pt x="6711" y="9826"/>
                  </a:lnTo>
                  <a:lnTo>
                    <a:pt x="6780" y="9484"/>
                  </a:lnTo>
                  <a:lnTo>
                    <a:pt x="6985" y="9119"/>
                  </a:lnTo>
                  <a:lnTo>
                    <a:pt x="6882" y="8731"/>
                  </a:lnTo>
                  <a:lnTo>
                    <a:pt x="7133" y="8457"/>
                  </a:lnTo>
                  <a:lnTo>
                    <a:pt x="6962" y="8251"/>
                  </a:lnTo>
                  <a:lnTo>
                    <a:pt x="7168" y="7692"/>
                  </a:lnTo>
                  <a:lnTo>
                    <a:pt x="7510" y="7019"/>
                  </a:lnTo>
                  <a:lnTo>
                    <a:pt x="8195" y="7076"/>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76" name="Google Shape;347;p29">
              <a:extLst>
                <a:ext uri="{FF2B5EF4-FFF2-40B4-BE49-F238E27FC236}">
                  <a16:creationId xmlns:a16="http://schemas.microsoft.com/office/drawing/2014/main" id="{C87C8156-EF4C-4201-96E0-B57A40CF983A}"/>
                </a:ext>
              </a:extLst>
            </p:cNvPr>
            <p:cNvSpPr/>
            <p:nvPr/>
          </p:nvSpPr>
          <p:spPr>
            <a:xfrm>
              <a:off x="3720250" y="2862175"/>
              <a:ext cx="38550" cy="115300"/>
            </a:xfrm>
            <a:custGeom>
              <a:avLst/>
              <a:gdLst/>
              <a:ahLst/>
              <a:cxnLst/>
              <a:rect l="l" t="t" r="r" b="b"/>
              <a:pathLst>
                <a:path w="1542" h="4612" extrusionOk="0">
                  <a:moveTo>
                    <a:pt x="754" y="24"/>
                  </a:moveTo>
                  <a:lnTo>
                    <a:pt x="58" y="1"/>
                  </a:lnTo>
                  <a:lnTo>
                    <a:pt x="1" y="275"/>
                  </a:lnTo>
                  <a:lnTo>
                    <a:pt x="343" y="743"/>
                  </a:lnTo>
                  <a:lnTo>
                    <a:pt x="332" y="1405"/>
                  </a:lnTo>
                  <a:lnTo>
                    <a:pt x="412" y="2135"/>
                  </a:lnTo>
                  <a:lnTo>
                    <a:pt x="617" y="2454"/>
                  </a:lnTo>
                  <a:lnTo>
                    <a:pt x="446" y="3276"/>
                  </a:lnTo>
                  <a:lnTo>
                    <a:pt x="503" y="3733"/>
                  </a:lnTo>
                  <a:lnTo>
                    <a:pt x="720" y="4303"/>
                  </a:lnTo>
                  <a:lnTo>
                    <a:pt x="891" y="4611"/>
                  </a:lnTo>
                  <a:lnTo>
                    <a:pt x="1542" y="4429"/>
                  </a:lnTo>
                  <a:lnTo>
                    <a:pt x="1348" y="3801"/>
                  </a:lnTo>
                  <a:lnTo>
                    <a:pt x="1370" y="1713"/>
                  </a:lnTo>
                  <a:lnTo>
                    <a:pt x="1211" y="1530"/>
                  </a:lnTo>
                  <a:lnTo>
                    <a:pt x="1188" y="1085"/>
                  </a:lnTo>
                  <a:lnTo>
                    <a:pt x="902" y="765"/>
                  </a:lnTo>
                  <a:lnTo>
                    <a:pt x="663" y="49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77" name="Google Shape;348;p29">
              <a:extLst>
                <a:ext uri="{FF2B5EF4-FFF2-40B4-BE49-F238E27FC236}">
                  <a16:creationId xmlns:a16="http://schemas.microsoft.com/office/drawing/2014/main" id="{0810C0DE-4D23-46D3-923B-4344016FE7FB}"/>
                </a:ext>
              </a:extLst>
            </p:cNvPr>
            <p:cNvSpPr/>
            <p:nvPr/>
          </p:nvSpPr>
          <p:spPr>
            <a:xfrm>
              <a:off x="5643225" y="2649050"/>
              <a:ext cx="173475" cy="334125"/>
            </a:xfrm>
            <a:custGeom>
              <a:avLst/>
              <a:gdLst/>
              <a:ahLst/>
              <a:cxnLst/>
              <a:rect l="l" t="t" r="r" b="b"/>
              <a:pathLst>
                <a:path w="6939" h="13365" extrusionOk="0">
                  <a:moveTo>
                    <a:pt x="6722" y="5581"/>
                  </a:moveTo>
                  <a:lnTo>
                    <a:pt x="6939" y="5159"/>
                  </a:lnTo>
                  <a:lnTo>
                    <a:pt x="6859" y="4395"/>
                  </a:lnTo>
                  <a:lnTo>
                    <a:pt x="6117" y="3607"/>
                  </a:lnTo>
                  <a:lnTo>
                    <a:pt x="5934" y="2706"/>
                  </a:lnTo>
                  <a:lnTo>
                    <a:pt x="5238" y="1964"/>
                  </a:lnTo>
                  <a:lnTo>
                    <a:pt x="4622" y="1907"/>
                  </a:lnTo>
                  <a:lnTo>
                    <a:pt x="4508" y="2226"/>
                  </a:lnTo>
                  <a:lnTo>
                    <a:pt x="4051" y="2249"/>
                  </a:lnTo>
                  <a:lnTo>
                    <a:pt x="3800" y="2078"/>
                  </a:lnTo>
                  <a:lnTo>
                    <a:pt x="3036" y="2626"/>
                  </a:lnTo>
                  <a:lnTo>
                    <a:pt x="2899" y="1815"/>
                  </a:lnTo>
                  <a:lnTo>
                    <a:pt x="2956" y="857"/>
                  </a:lnTo>
                  <a:lnTo>
                    <a:pt x="2408" y="811"/>
                  </a:lnTo>
                  <a:lnTo>
                    <a:pt x="2283" y="275"/>
                  </a:lnTo>
                  <a:lnTo>
                    <a:pt x="1917" y="1"/>
                  </a:lnTo>
                  <a:lnTo>
                    <a:pt x="1484" y="195"/>
                  </a:lnTo>
                  <a:lnTo>
                    <a:pt x="1084" y="594"/>
                  </a:lnTo>
                  <a:lnTo>
                    <a:pt x="525" y="640"/>
                  </a:lnTo>
                  <a:lnTo>
                    <a:pt x="320" y="1621"/>
                  </a:lnTo>
                  <a:lnTo>
                    <a:pt x="0" y="1781"/>
                  </a:lnTo>
                  <a:lnTo>
                    <a:pt x="502" y="2580"/>
                  </a:lnTo>
                  <a:lnTo>
                    <a:pt x="1084" y="3242"/>
                  </a:lnTo>
                  <a:lnTo>
                    <a:pt x="1495" y="3835"/>
                  </a:lnTo>
                  <a:lnTo>
                    <a:pt x="1301" y="4634"/>
                  </a:lnTo>
                  <a:lnTo>
                    <a:pt x="1061" y="4794"/>
                  </a:lnTo>
                  <a:lnTo>
                    <a:pt x="1301" y="5251"/>
                  </a:lnTo>
                  <a:lnTo>
                    <a:pt x="1895" y="5981"/>
                  </a:lnTo>
                  <a:lnTo>
                    <a:pt x="2043" y="6472"/>
                  </a:lnTo>
                  <a:lnTo>
                    <a:pt x="2066" y="6905"/>
                  </a:lnTo>
                  <a:lnTo>
                    <a:pt x="2465" y="7727"/>
                  </a:lnTo>
                  <a:lnTo>
                    <a:pt x="2100" y="8571"/>
                  </a:lnTo>
                  <a:lnTo>
                    <a:pt x="1780" y="9519"/>
                  </a:lnTo>
                  <a:lnTo>
                    <a:pt x="1598" y="10386"/>
                  </a:lnTo>
                  <a:lnTo>
                    <a:pt x="1552" y="10945"/>
                  </a:lnTo>
                  <a:lnTo>
                    <a:pt x="1723" y="11459"/>
                  </a:lnTo>
                  <a:lnTo>
                    <a:pt x="1826" y="10911"/>
                  </a:lnTo>
                  <a:lnTo>
                    <a:pt x="2237" y="11356"/>
                  </a:lnTo>
                  <a:lnTo>
                    <a:pt x="2693" y="11858"/>
                  </a:lnTo>
                  <a:lnTo>
                    <a:pt x="2853" y="12315"/>
                  </a:lnTo>
                  <a:lnTo>
                    <a:pt x="3195" y="12657"/>
                  </a:lnTo>
                  <a:lnTo>
                    <a:pt x="3321" y="12497"/>
                  </a:lnTo>
                  <a:lnTo>
                    <a:pt x="3994" y="12897"/>
                  </a:lnTo>
                  <a:lnTo>
                    <a:pt x="4086" y="13365"/>
                  </a:lnTo>
                  <a:lnTo>
                    <a:pt x="4611" y="13250"/>
                  </a:lnTo>
                  <a:lnTo>
                    <a:pt x="4850" y="12885"/>
                  </a:lnTo>
                  <a:lnTo>
                    <a:pt x="4405" y="12406"/>
                  </a:lnTo>
                  <a:lnTo>
                    <a:pt x="3926" y="12292"/>
                  </a:lnTo>
                  <a:lnTo>
                    <a:pt x="3458" y="11778"/>
                  </a:lnTo>
                  <a:lnTo>
                    <a:pt x="3253" y="11002"/>
                  </a:lnTo>
                  <a:lnTo>
                    <a:pt x="2887" y="10169"/>
                  </a:lnTo>
                  <a:lnTo>
                    <a:pt x="2351" y="10146"/>
                  </a:lnTo>
                  <a:lnTo>
                    <a:pt x="2260" y="9484"/>
                  </a:lnTo>
                  <a:lnTo>
                    <a:pt x="2454" y="8686"/>
                  </a:lnTo>
                  <a:lnTo>
                    <a:pt x="2773" y="7362"/>
                  </a:lnTo>
                  <a:lnTo>
                    <a:pt x="2739" y="6357"/>
                  </a:lnTo>
                  <a:lnTo>
                    <a:pt x="3435" y="6346"/>
                  </a:lnTo>
                  <a:lnTo>
                    <a:pt x="3401" y="7065"/>
                  </a:lnTo>
                  <a:lnTo>
                    <a:pt x="4063" y="7042"/>
                  </a:lnTo>
                  <a:lnTo>
                    <a:pt x="4827" y="7464"/>
                  </a:lnTo>
                  <a:lnTo>
                    <a:pt x="4519" y="6357"/>
                  </a:lnTo>
                  <a:lnTo>
                    <a:pt x="4953" y="5616"/>
                  </a:lnTo>
                  <a:lnTo>
                    <a:pt x="5969" y="543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78" name="Google Shape;349;p29">
              <a:extLst>
                <a:ext uri="{FF2B5EF4-FFF2-40B4-BE49-F238E27FC236}">
                  <a16:creationId xmlns:a16="http://schemas.microsoft.com/office/drawing/2014/main" id="{8CCD4623-7A15-4D70-8ECB-32EC487C662A}"/>
                </a:ext>
              </a:extLst>
            </p:cNvPr>
            <p:cNvSpPr/>
            <p:nvPr/>
          </p:nvSpPr>
          <p:spPr>
            <a:xfrm>
              <a:off x="4972475" y="2181450"/>
              <a:ext cx="151225" cy="96450"/>
            </a:xfrm>
            <a:custGeom>
              <a:avLst/>
              <a:gdLst/>
              <a:ahLst/>
              <a:cxnLst/>
              <a:rect l="l" t="t" r="r" b="b"/>
              <a:pathLst>
                <a:path w="6049" h="3858" extrusionOk="0">
                  <a:moveTo>
                    <a:pt x="2362" y="639"/>
                  </a:moveTo>
                  <a:lnTo>
                    <a:pt x="2066" y="674"/>
                  </a:lnTo>
                  <a:lnTo>
                    <a:pt x="1883" y="411"/>
                  </a:lnTo>
                  <a:lnTo>
                    <a:pt x="1906" y="0"/>
                  </a:lnTo>
                  <a:lnTo>
                    <a:pt x="993" y="217"/>
                  </a:lnTo>
                  <a:lnTo>
                    <a:pt x="924" y="788"/>
                  </a:lnTo>
                  <a:lnTo>
                    <a:pt x="708" y="1290"/>
                  </a:lnTo>
                  <a:lnTo>
                    <a:pt x="80" y="1244"/>
                  </a:lnTo>
                  <a:lnTo>
                    <a:pt x="0" y="1644"/>
                  </a:lnTo>
                  <a:lnTo>
                    <a:pt x="593" y="1872"/>
                  </a:lnTo>
                  <a:lnTo>
                    <a:pt x="936" y="2545"/>
                  </a:lnTo>
                  <a:lnTo>
                    <a:pt x="753" y="3481"/>
                  </a:lnTo>
                  <a:lnTo>
                    <a:pt x="1016" y="3595"/>
                  </a:lnTo>
                  <a:lnTo>
                    <a:pt x="1484" y="3298"/>
                  </a:lnTo>
                  <a:lnTo>
                    <a:pt x="1780" y="3481"/>
                  </a:lnTo>
                  <a:lnTo>
                    <a:pt x="1906" y="3059"/>
                  </a:lnTo>
                  <a:lnTo>
                    <a:pt x="2362" y="3070"/>
                  </a:lnTo>
                  <a:lnTo>
                    <a:pt x="2454" y="2945"/>
                  </a:lnTo>
                  <a:lnTo>
                    <a:pt x="2419" y="2568"/>
                  </a:lnTo>
                  <a:lnTo>
                    <a:pt x="2670" y="2237"/>
                  </a:lnTo>
                  <a:lnTo>
                    <a:pt x="3127" y="2454"/>
                  </a:lnTo>
                  <a:lnTo>
                    <a:pt x="3127" y="2739"/>
                  </a:lnTo>
                  <a:lnTo>
                    <a:pt x="3355" y="2785"/>
                  </a:lnTo>
                  <a:lnTo>
                    <a:pt x="3492" y="3550"/>
                  </a:lnTo>
                  <a:lnTo>
                    <a:pt x="3869" y="3858"/>
                  </a:lnTo>
                  <a:lnTo>
                    <a:pt x="4074" y="3664"/>
                  </a:lnTo>
                  <a:lnTo>
                    <a:pt x="4371" y="3572"/>
                  </a:lnTo>
                  <a:lnTo>
                    <a:pt x="4736" y="3150"/>
                  </a:lnTo>
                  <a:lnTo>
                    <a:pt x="5272" y="3230"/>
                  </a:lnTo>
                  <a:lnTo>
                    <a:pt x="6048" y="3230"/>
                  </a:lnTo>
                  <a:lnTo>
                    <a:pt x="5786" y="2694"/>
                  </a:lnTo>
                  <a:lnTo>
                    <a:pt x="5706" y="2340"/>
                  </a:lnTo>
                  <a:lnTo>
                    <a:pt x="5204" y="2146"/>
                  </a:lnTo>
                  <a:lnTo>
                    <a:pt x="4976" y="2226"/>
                  </a:lnTo>
                  <a:lnTo>
                    <a:pt x="4553" y="1381"/>
                  </a:lnTo>
                  <a:lnTo>
                    <a:pt x="3195" y="1518"/>
                  </a:lnTo>
                  <a:lnTo>
                    <a:pt x="2180" y="1233"/>
                  </a:lnTo>
                  <a:lnTo>
                    <a:pt x="1415" y="1301"/>
                  </a:lnTo>
                  <a:lnTo>
                    <a:pt x="1324" y="776"/>
                  </a:lnTo>
                  <a:lnTo>
                    <a:pt x="2168" y="92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79" name="Google Shape;350;p29">
              <a:extLst>
                <a:ext uri="{FF2B5EF4-FFF2-40B4-BE49-F238E27FC236}">
                  <a16:creationId xmlns:a16="http://schemas.microsoft.com/office/drawing/2014/main" id="{B9514B8C-CF72-402A-8C6D-D972087DBBDE}"/>
                </a:ext>
              </a:extLst>
            </p:cNvPr>
            <p:cNvSpPr/>
            <p:nvPr/>
          </p:nvSpPr>
          <p:spPr>
            <a:xfrm>
              <a:off x="4682025" y="2141800"/>
              <a:ext cx="283625" cy="169775"/>
            </a:xfrm>
            <a:custGeom>
              <a:avLst/>
              <a:gdLst/>
              <a:ahLst/>
              <a:cxnLst/>
              <a:rect l="l" t="t" r="r" b="b"/>
              <a:pathLst>
                <a:path w="11345" h="6791" extrusionOk="0">
                  <a:moveTo>
                    <a:pt x="11344" y="4873"/>
                  </a:moveTo>
                  <a:lnTo>
                    <a:pt x="11230" y="4302"/>
                  </a:lnTo>
                  <a:lnTo>
                    <a:pt x="10134" y="3914"/>
                  </a:lnTo>
                  <a:lnTo>
                    <a:pt x="9244" y="3458"/>
                  </a:lnTo>
                  <a:lnTo>
                    <a:pt x="8651" y="3024"/>
                  </a:lnTo>
                  <a:lnTo>
                    <a:pt x="7647" y="2397"/>
                  </a:lnTo>
                  <a:lnTo>
                    <a:pt x="7030" y="1484"/>
                  </a:lnTo>
                  <a:lnTo>
                    <a:pt x="6745" y="1312"/>
                  </a:lnTo>
                  <a:lnTo>
                    <a:pt x="5969" y="1358"/>
                  </a:lnTo>
                  <a:lnTo>
                    <a:pt x="5638" y="1176"/>
                  </a:lnTo>
                  <a:lnTo>
                    <a:pt x="5364" y="479"/>
                  </a:lnTo>
                  <a:lnTo>
                    <a:pt x="4257" y="0"/>
                  </a:lnTo>
                  <a:lnTo>
                    <a:pt x="3778" y="514"/>
                  </a:lnTo>
                  <a:lnTo>
                    <a:pt x="3241" y="833"/>
                  </a:lnTo>
                  <a:lnTo>
                    <a:pt x="3470" y="1278"/>
                  </a:lnTo>
                  <a:lnTo>
                    <a:pt x="2637" y="1290"/>
                  </a:lnTo>
                  <a:lnTo>
                    <a:pt x="2283" y="1335"/>
                  </a:lnTo>
                  <a:lnTo>
                    <a:pt x="1587" y="628"/>
                  </a:lnTo>
                  <a:lnTo>
                    <a:pt x="1039" y="388"/>
                  </a:lnTo>
                  <a:lnTo>
                    <a:pt x="263" y="571"/>
                  </a:lnTo>
                  <a:lnTo>
                    <a:pt x="0" y="856"/>
                  </a:lnTo>
                  <a:lnTo>
                    <a:pt x="354" y="1427"/>
                  </a:lnTo>
                  <a:lnTo>
                    <a:pt x="286" y="788"/>
                  </a:lnTo>
                  <a:lnTo>
                    <a:pt x="822" y="559"/>
                  </a:lnTo>
                  <a:lnTo>
                    <a:pt x="1164" y="1073"/>
                  </a:lnTo>
                  <a:lnTo>
                    <a:pt x="1815" y="1598"/>
                  </a:lnTo>
                  <a:lnTo>
                    <a:pt x="1244" y="1883"/>
                  </a:lnTo>
                  <a:lnTo>
                    <a:pt x="491" y="1678"/>
                  </a:lnTo>
                  <a:lnTo>
                    <a:pt x="503" y="2419"/>
                  </a:lnTo>
                  <a:lnTo>
                    <a:pt x="1005" y="2477"/>
                  </a:lnTo>
                  <a:lnTo>
                    <a:pt x="948" y="3104"/>
                  </a:lnTo>
                  <a:lnTo>
                    <a:pt x="1587" y="3401"/>
                  </a:lnTo>
                  <a:lnTo>
                    <a:pt x="1689" y="4371"/>
                  </a:lnTo>
                  <a:lnTo>
                    <a:pt x="1940" y="5010"/>
                  </a:lnTo>
                  <a:lnTo>
                    <a:pt x="2568" y="4839"/>
                  </a:lnTo>
                  <a:lnTo>
                    <a:pt x="3002" y="4314"/>
                  </a:lnTo>
                  <a:lnTo>
                    <a:pt x="3493" y="4337"/>
                  </a:lnTo>
                  <a:lnTo>
                    <a:pt x="3801" y="4166"/>
                  </a:lnTo>
                  <a:lnTo>
                    <a:pt x="4337" y="4257"/>
                  </a:lnTo>
                  <a:lnTo>
                    <a:pt x="5261" y="4725"/>
                  </a:lnTo>
                  <a:lnTo>
                    <a:pt x="5878" y="4827"/>
                  </a:lnTo>
                  <a:lnTo>
                    <a:pt x="6916" y="5638"/>
                  </a:lnTo>
                  <a:lnTo>
                    <a:pt x="7475" y="5672"/>
                  </a:lnTo>
                  <a:lnTo>
                    <a:pt x="7704" y="6448"/>
                  </a:lnTo>
                  <a:lnTo>
                    <a:pt x="8548" y="6790"/>
                  </a:lnTo>
                  <a:lnTo>
                    <a:pt x="9107" y="6676"/>
                  </a:lnTo>
                  <a:lnTo>
                    <a:pt x="9164" y="6254"/>
                  </a:lnTo>
                  <a:lnTo>
                    <a:pt x="9735" y="6128"/>
                  </a:lnTo>
                  <a:lnTo>
                    <a:pt x="10089" y="5843"/>
                  </a:lnTo>
                  <a:lnTo>
                    <a:pt x="10077" y="5101"/>
                  </a:lnTo>
                  <a:lnTo>
                    <a:pt x="10659" y="4930"/>
                  </a:lnTo>
                  <a:lnTo>
                    <a:pt x="10705" y="4599"/>
                  </a:lnTo>
                  <a:lnTo>
                    <a:pt x="11116" y="4839"/>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80" name="Google Shape;351;p29">
              <a:extLst>
                <a:ext uri="{FF2B5EF4-FFF2-40B4-BE49-F238E27FC236}">
                  <a16:creationId xmlns:a16="http://schemas.microsoft.com/office/drawing/2014/main" id="{B5910C97-74BF-41CB-B22C-8AC3A41D0C09}"/>
                </a:ext>
              </a:extLst>
            </p:cNvPr>
            <p:cNvSpPr/>
            <p:nvPr/>
          </p:nvSpPr>
          <p:spPr>
            <a:xfrm>
              <a:off x="6216675" y="3299850"/>
              <a:ext cx="48250" cy="25400"/>
            </a:xfrm>
            <a:custGeom>
              <a:avLst/>
              <a:gdLst/>
              <a:ahLst/>
              <a:cxnLst/>
              <a:rect l="l" t="t" r="r" b="b"/>
              <a:pathLst>
                <a:path w="1930" h="1016" extrusionOk="0">
                  <a:moveTo>
                    <a:pt x="58" y="1016"/>
                  </a:moveTo>
                  <a:lnTo>
                    <a:pt x="754" y="753"/>
                  </a:lnTo>
                  <a:lnTo>
                    <a:pt x="1610" y="354"/>
                  </a:lnTo>
                  <a:lnTo>
                    <a:pt x="1929" y="114"/>
                  </a:lnTo>
                  <a:lnTo>
                    <a:pt x="1644" y="0"/>
                  </a:lnTo>
                  <a:lnTo>
                    <a:pt x="1381" y="114"/>
                  </a:lnTo>
                  <a:lnTo>
                    <a:pt x="811" y="148"/>
                  </a:lnTo>
                  <a:lnTo>
                    <a:pt x="115" y="342"/>
                  </a:lnTo>
                  <a:lnTo>
                    <a:pt x="1" y="559"/>
                  </a:lnTo>
                  <a:lnTo>
                    <a:pt x="69" y="74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81" name="Google Shape;352;p29">
              <a:extLst>
                <a:ext uri="{FF2B5EF4-FFF2-40B4-BE49-F238E27FC236}">
                  <a16:creationId xmlns:a16="http://schemas.microsoft.com/office/drawing/2014/main" id="{24192333-1EE1-4692-9900-7708BF90639D}"/>
                </a:ext>
              </a:extLst>
            </p:cNvPr>
            <p:cNvSpPr/>
            <p:nvPr/>
          </p:nvSpPr>
          <p:spPr>
            <a:xfrm>
              <a:off x="3864050" y="2263900"/>
              <a:ext cx="75925" cy="160375"/>
            </a:xfrm>
            <a:custGeom>
              <a:avLst/>
              <a:gdLst/>
              <a:ahLst/>
              <a:cxnLst/>
              <a:rect l="l" t="t" r="r" b="b"/>
              <a:pathLst>
                <a:path w="3037" h="6415" extrusionOk="0">
                  <a:moveTo>
                    <a:pt x="3036" y="3869"/>
                  </a:moveTo>
                  <a:lnTo>
                    <a:pt x="2751" y="3721"/>
                  </a:lnTo>
                  <a:lnTo>
                    <a:pt x="2534" y="3299"/>
                  </a:lnTo>
                  <a:lnTo>
                    <a:pt x="2135" y="3276"/>
                  </a:lnTo>
                  <a:lnTo>
                    <a:pt x="1986" y="2774"/>
                  </a:lnTo>
                  <a:lnTo>
                    <a:pt x="2466" y="2329"/>
                  </a:lnTo>
                  <a:lnTo>
                    <a:pt x="2534" y="1518"/>
                  </a:lnTo>
                  <a:lnTo>
                    <a:pt x="2272" y="1290"/>
                  </a:lnTo>
                  <a:lnTo>
                    <a:pt x="2249" y="868"/>
                  </a:lnTo>
                  <a:lnTo>
                    <a:pt x="2614" y="411"/>
                  </a:lnTo>
                  <a:lnTo>
                    <a:pt x="2557" y="229"/>
                  </a:lnTo>
                  <a:lnTo>
                    <a:pt x="1929" y="571"/>
                  </a:lnTo>
                  <a:lnTo>
                    <a:pt x="1941" y="92"/>
                  </a:lnTo>
                  <a:lnTo>
                    <a:pt x="1404" y="0"/>
                  </a:lnTo>
                  <a:lnTo>
                    <a:pt x="605" y="366"/>
                  </a:lnTo>
                  <a:lnTo>
                    <a:pt x="469" y="834"/>
                  </a:lnTo>
                  <a:lnTo>
                    <a:pt x="605" y="1724"/>
                  </a:lnTo>
                  <a:lnTo>
                    <a:pt x="457" y="2477"/>
                  </a:lnTo>
                  <a:lnTo>
                    <a:pt x="1" y="2990"/>
                  </a:lnTo>
                  <a:lnTo>
                    <a:pt x="81" y="3675"/>
                  </a:lnTo>
                  <a:lnTo>
                    <a:pt x="720" y="4223"/>
                  </a:lnTo>
                  <a:lnTo>
                    <a:pt x="720" y="4440"/>
                  </a:lnTo>
                  <a:lnTo>
                    <a:pt x="1210" y="4805"/>
                  </a:lnTo>
                  <a:lnTo>
                    <a:pt x="1576" y="6414"/>
                  </a:lnTo>
                  <a:lnTo>
                    <a:pt x="1952" y="6220"/>
                  </a:lnTo>
                  <a:lnTo>
                    <a:pt x="2009" y="5832"/>
                  </a:lnTo>
                  <a:lnTo>
                    <a:pt x="1906" y="5467"/>
                  </a:lnTo>
                  <a:lnTo>
                    <a:pt x="2431" y="5102"/>
                  </a:lnTo>
                  <a:lnTo>
                    <a:pt x="2648" y="4816"/>
                  </a:lnTo>
                  <a:lnTo>
                    <a:pt x="3025" y="456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82" name="Google Shape;353;p29">
              <a:extLst>
                <a:ext uri="{FF2B5EF4-FFF2-40B4-BE49-F238E27FC236}">
                  <a16:creationId xmlns:a16="http://schemas.microsoft.com/office/drawing/2014/main" id="{4139AE71-7CE4-4015-B1EB-DB296B29747E}"/>
                </a:ext>
              </a:extLst>
            </p:cNvPr>
            <p:cNvSpPr/>
            <p:nvPr/>
          </p:nvSpPr>
          <p:spPr>
            <a:xfrm>
              <a:off x="4199275" y="2155475"/>
              <a:ext cx="360100" cy="143550"/>
            </a:xfrm>
            <a:custGeom>
              <a:avLst/>
              <a:gdLst/>
              <a:ahLst/>
              <a:cxnLst/>
              <a:rect l="l" t="t" r="r" b="b"/>
              <a:pathLst>
                <a:path w="14404" h="5742" extrusionOk="0">
                  <a:moveTo>
                    <a:pt x="7967" y="708"/>
                  </a:moveTo>
                  <a:lnTo>
                    <a:pt x="6586" y="81"/>
                  </a:lnTo>
                  <a:lnTo>
                    <a:pt x="5376" y="115"/>
                  </a:lnTo>
                  <a:lnTo>
                    <a:pt x="4566" y="355"/>
                  </a:lnTo>
                  <a:lnTo>
                    <a:pt x="3767" y="925"/>
                  </a:lnTo>
                  <a:lnTo>
                    <a:pt x="2352" y="811"/>
                  </a:lnTo>
                  <a:lnTo>
                    <a:pt x="2124" y="1496"/>
                  </a:lnTo>
                  <a:lnTo>
                    <a:pt x="994" y="1519"/>
                  </a:lnTo>
                  <a:lnTo>
                    <a:pt x="263" y="2397"/>
                  </a:lnTo>
                  <a:lnTo>
                    <a:pt x="777" y="2820"/>
                  </a:lnTo>
                  <a:lnTo>
                    <a:pt x="492" y="3539"/>
                  </a:lnTo>
                  <a:lnTo>
                    <a:pt x="1097" y="4052"/>
                  </a:lnTo>
                  <a:lnTo>
                    <a:pt x="1621" y="4965"/>
                  </a:lnTo>
                  <a:lnTo>
                    <a:pt x="2455" y="4954"/>
                  </a:lnTo>
                  <a:lnTo>
                    <a:pt x="3219" y="5444"/>
                  </a:lnTo>
                  <a:lnTo>
                    <a:pt x="3733" y="5330"/>
                  </a:lnTo>
                  <a:lnTo>
                    <a:pt x="3870" y="4954"/>
                  </a:lnTo>
                  <a:lnTo>
                    <a:pt x="4680" y="4977"/>
                  </a:lnTo>
                  <a:lnTo>
                    <a:pt x="5330" y="5479"/>
                  </a:lnTo>
                  <a:lnTo>
                    <a:pt x="6472" y="5376"/>
                  </a:lnTo>
                  <a:lnTo>
                    <a:pt x="6917" y="4851"/>
                  </a:lnTo>
                  <a:lnTo>
                    <a:pt x="7567" y="5068"/>
                  </a:lnTo>
                  <a:lnTo>
                    <a:pt x="8024" y="4977"/>
                  </a:lnTo>
                  <a:lnTo>
                    <a:pt x="7784" y="5319"/>
                  </a:lnTo>
                  <a:lnTo>
                    <a:pt x="8115" y="5741"/>
                  </a:lnTo>
                  <a:lnTo>
                    <a:pt x="8286" y="5547"/>
                  </a:lnTo>
                  <a:lnTo>
                    <a:pt x="8457" y="5330"/>
                  </a:lnTo>
                  <a:lnTo>
                    <a:pt x="8446" y="4817"/>
                  </a:lnTo>
                  <a:lnTo>
                    <a:pt x="8720" y="4999"/>
                  </a:lnTo>
                  <a:lnTo>
                    <a:pt x="9496" y="4748"/>
                  </a:lnTo>
                  <a:lnTo>
                    <a:pt x="9930" y="4919"/>
                  </a:lnTo>
                  <a:lnTo>
                    <a:pt x="10534" y="4919"/>
                  </a:lnTo>
                  <a:lnTo>
                    <a:pt x="11356" y="4566"/>
                  </a:lnTo>
                  <a:lnTo>
                    <a:pt x="11756" y="4589"/>
                  </a:lnTo>
                  <a:lnTo>
                    <a:pt x="12600" y="4429"/>
                  </a:lnTo>
                  <a:lnTo>
                    <a:pt x="12897" y="4292"/>
                  </a:lnTo>
                  <a:lnTo>
                    <a:pt x="13775" y="4417"/>
                  </a:lnTo>
                  <a:lnTo>
                    <a:pt x="14072" y="4646"/>
                  </a:lnTo>
                  <a:lnTo>
                    <a:pt x="14403" y="4486"/>
                  </a:lnTo>
                  <a:lnTo>
                    <a:pt x="14403" y="4486"/>
                  </a:lnTo>
                  <a:lnTo>
                    <a:pt x="13878" y="3744"/>
                  </a:lnTo>
                  <a:lnTo>
                    <a:pt x="13981" y="3459"/>
                  </a:lnTo>
                  <a:lnTo>
                    <a:pt x="13559" y="2420"/>
                  </a:lnTo>
                  <a:lnTo>
                    <a:pt x="14038" y="2169"/>
                  </a:lnTo>
                  <a:lnTo>
                    <a:pt x="13696" y="1895"/>
                  </a:lnTo>
                  <a:lnTo>
                    <a:pt x="13091" y="1678"/>
                  </a:lnTo>
                  <a:lnTo>
                    <a:pt x="13091" y="1233"/>
                  </a:lnTo>
                  <a:lnTo>
                    <a:pt x="12908" y="925"/>
                  </a:lnTo>
                  <a:lnTo>
                    <a:pt x="12109" y="492"/>
                  </a:lnTo>
                  <a:lnTo>
                    <a:pt x="11333" y="537"/>
                  </a:lnTo>
                  <a:lnTo>
                    <a:pt x="10557" y="994"/>
                  </a:lnTo>
                  <a:lnTo>
                    <a:pt x="9907" y="914"/>
                  </a:lnTo>
                  <a:lnTo>
                    <a:pt x="9085" y="1051"/>
                  </a:lnTo>
                  <a:close/>
                  <a:moveTo>
                    <a:pt x="903" y="1279"/>
                  </a:moveTo>
                  <a:lnTo>
                    <a:pt x="1188" y="1017"/>
                  </a:lnTo>
                  <a:lnTo>
                    <a:pt x="2055" y="959"/>
                  </a:lnTo>
                  <a:lnTo>
                    <a:pt x="2158" y="743"/>
                  </a:lnTo>
                  <a:lnTo>
                    <a:pt x="1485" y="457"/>
                  </a:lnTo>
                  <a:lnTo>
                    <a:pt x="1348" y="115"/>
                  </a:lnTo>
                  <a:lnTo>
                    <a:pt x="709" y="1"/>
                  </a:lnTo>
                  <a:lnTo>
                    <a:pt x="1" y="286"/>
                  </a:lnTo>
                  <a:lnTo>
                    <a:pt x="378" y="514"/>
                  </a:lnTo>
                  <a:lnTo>
                    <a:pt x="206" y="1074"/>
                  </a:lnTo>
                  <a:lnTo>
                    <a:pt x="58" y="1165"/>
                  </a:lnTo>
                  <a:lnTo>
                    <a:pt x="69" y="1359"/>
                  </a:lnTo>
                  <a:lnTo>
                    <a:pt x="343" y="177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83" name="Google Shape;354;p29">
              <a:extLst>
                <a:ext uri="{FF2B5EF4-FFF2-40B4-BE49-F238E27FC236}">
                  <a16:creationId xmlns:a16="http://schemas.microsoft.com/office/drawing/2014/main" id="{133944A0-1923-43A2-9538-7A84AD427843}"/>
                </a:ext>
              </a:extLst>
            </p:cNvPr>
            <p:cNvSpPr/>
            <p:nvPr/>
          </p:nvSpPr>
          <p:spPr>
            <a:xfrm>
              <a:off x="6070875" y="2538075"/>
              <a:ext cx="28850" cy="75625"/>
            </a:xfrm>
            <a:custGeom>
              <a:avLst/>
              <a:gdLst/>
              <a:ahLst/>
              <a:cxnLst/>
              <a:rect l="l" t="t" r="r" b="b"/>
              <a:pathLst>
                <a:path w="1154" h="3025" extrusionOk="0">
                  <a:moveTo>
                    <a:pt x="971" y="2283"/>
                  </a:moveTo>
                  <a:lnTo>
                    <a:pt x="1142" y="834"/>
                  </a:lnTo>
                  <a:lnTo>
                    <a:pt x="1154" y="274"/>
                  </a:lnTo>
                  <a:lnTo>
                    <a:pt x="743" y="1"/>
                  </a:lnTo>
                  <a:lnTo>
                    <a:pt x="275" y="685"/>
                  </a:lnTo>
                  <a:lnTo>
                    <a:pt x="1" y="1587"/>
                  </a:lnTo>
                  <a:lnTo>
                    <a:pt x="206" y="2260"/>
                  </a:lnTo>
                  <a:lnTo>
                    <a:pt x="777" y="302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84" name="Google Shape;355;p29">
              <a:extLst>
                <a:ext uri="{FF2B5EF4-FFF2-40B4-BE49-F238E27FC236}">
                  <a16:creationId xmlns:a16="http://schemas.microsoft.com/office/drawing/2014/main" id="{4A454E26-6434-4BA3-BE6B-0F09C2D1B4EE}"/>
                </a:ext>
              </a:extLst>
            </p:cNvPr>
            <p:cNvSpPr/>
            <p:nvPr/>
          </p:nvSpPr>
          <p:spPr>
            <a:xfrm>
              <a:off x="4313700" y="3135225"/>
              <a:ext cx="211725" cy="242825"/>
            </a:xfrm>
            <a:custGeom>
              <a:avLst/>
              <a:gdLst/>
              <a:ahLst/>
              <a:cxnLst/>
              <a:rect l="l" t="t" r="r" b="b"/>
              <a:pathLst>
                <a:path w="8469" h="9713" extrusionOk="0">
                  <a:moveTo>
                    <a:pt x="970" y="0"/>
                  </a:moveTo>
                  <a:lnTo>
                    <a:pt x="685" y="114"/>
                  </a:lnTo>
                  <a:lnTo>
                    <a:pt x="1016" y="628"/>
                  </a:lnTo>
                  <a:lnTo>
                    <a:pt x="959" y="1153"/>
                  </a:lnTo>
                  <a:lnTo>
                    <a:pt x="731" y="1267"/>
                  </a:lnTo>
                  <a:lnTo>
                    <a:pt x="731" y="1267"/>
                  </a:lnTo>
                  <a:lnTo>
                    <a:pt x="765" y="1621"/>
                  </a:lnTo>
                  <a:lnTo>
                    <a:pt x="936" y="1838"/>
                  </a:lnTo>
                  <a:lnTo>
                    <a:pt x="936" y="2123"/>
                  </a:lnTo>
                  <a:lnTo>
                    <a:pt x="742" y="2317"/>
                  </a:lnTo>
                  <a:lnTo>
                    <a:pt x="422" y="2785"/>
                  </a:lnTo>
                  <a:lnTo>
                    <a:pt x="126" y="3116"/>
                  </a:lnTo>
                  <a:lnTo>
                    <a:pt x="46" y="3127"/>
                  </a:lnTo>
                  <a:lnTo>
                    <a:pt x="0" y="3515"/>
                  </a:lnTo>
                  <a:lnTo>
                    <a:pt x="160" y="3641"/>
                  </a:lnTo>
                  <a:lnTo>
                    <a:pt x="126" y="4029"/>
                  </a:lnTo>
                  <a:lnTo>
                    <a:pt x="274" y="4405"/>
                  </a:lnTo>
                  <a:lnTo>
                    <a:pt x="80" y="4748"/>
                  </a:lnTo>
                  <a:lnTo>
                    <a:pt x="731" y="5353"/>
                  </a:lnTo>
                  <a:lnTo>
                    <a:pt x="765" y="5912"/>
                  </a:lnTo>
                  <a:lnTo>
                    <a:pt x="1153" y="6836"/>
                  </a:lnTo>
                  <a:lnTo>
                    <a:pt x="1153" y="6836"/>
                  </a:lnTo>
                  <a:lnTo>
                    <a:pt x="1199" y="6870"/>
                  </a:lnTo>
                  <a:lnTo>
                    <a:pt x="1507" y="7030"/>
                  </a:lnTo>
                  <a:lnTo>
                    <a:pt x="2009" y="7190"/>
                  </a:lnTo>
                  <a:lnTo>
                    <a:pt x="2465" y="7452"/>
                  </a:lnTo>
                  <a:lnTo>
                    <a:pt x="3241" y="7624"/>
                  </a:lnTo>
                  <a:lnTo>
                    <a:pt x="3390" y="7875"/>
                  </a:lnTo>
                  <a:lnTo>
                    <a:pt x="3390" y="7875"/>
                  </a:lnTo>
                  <a:lnTo>
                    <a:pt x="3458" y="7703"/>
                  </a:lnTo>
                  <a:lnTo>
                    <a:pt x="3858" y="8183"/>
                  </a:lnTo>
                  <a:lnTo>
                    <a:pt x="3892" y="9141"/>
                  </a:lnTo>
                  <a:lnTo>
                    <a:pt x="4154" y="9484"/>
                  </a:lnTo>
                  <a:lnTo>
                    <a:pt x="4154" y="9495"/>
                  </a:lnTo>
                  <a:lnTo>
                    <a:pt x="4451" y="9450"/>
                  </a:lnTo>
                  <a:lnTo>
                    <a:pt x="5410" y="9712"/>
                  </a:lnTo>
                  <a:lnTo>
                    <a:pt x="5604" y="9598"/>
                  </a:lnTo>
                  <a:lnTo>
                    <a:pt x="6163" y="9586"/>
                  </a:lnTo>
                  <a:lnTo>
                    <a:pt x="6460" y="9313"/>
                  </a:lnTo>
                  <a:lnTo>
                    <a:pt x="6927" y="9324"/>
                  </a:lnTo>
                  <a:lnTo>
                    <a:pt x="7818" y="8970"/>
                  </a:lnTo>
                  <a:lnTo>
                    <a:pt x="8468" y="8445"/>
                  </a:lnTo>
                  <a:lnTo>
                    <a:pt x="8468" y="8445"/>
                  </a:lnTo>
                  <a:lnTo>
                    <a:pt x="8183" y="8240"/>
                  </a:lnTo>
                  <a:lnTo>
                    <a:pt x="7875" y="7338"/>
                  </a:lnTo>
                  <a:lnTo>
                    <a:pt x="7612" y="6791"/>
                  </a:lnTo>
                  <a:lnTo>
                    <a:pt x="7669" y="6345"/>
                  </a:lnTo>
                  <a:lnTo>
                    <a:pt x="7635" y="6072"/>
                  </a:lnTo>
                  <a:lnTo>
                    <a:pt x="7875" y="5512"/>
                  </a:lnTo>
                  <a:lnTo>
                    <a:pt x="7852" y="5284"/>
                  </a:lnTo>
                  <a:lnTo>
                    <a:pt x="7350" y="4965"/>
                  </a:lnTo>
                  <a:lnTo>
                    <a:pt x="7304" y="4451"/>
                  </a:lnTo>
                  <a:lnTo>
                    <a:pt x="7703" y="3321"/>
                  </a:lnTo>
                  <a:lnTo>
                    <a:pt x="6562" y="2420"/>
                  </a:lnTo>
                  <a:lnTo>
                    <a:pt x="6505" y="1895"/>
                  </a:lnTo>
                  <a:lnTo>
                    <a:pt x="3618" y="34"/>
                  </a:lnTo>
                  <a:lnTo>
                    <a:pt x="3618" y="34"/>
                  </a:lnTo>
                  <a:lnTo>
                    <a:pt x="3218" y="434"/>
                  </a:lnTo>
                  <a:lnTo>
                    <a:pt x="2956" y="856"/>
                  </a:lnTo>
                  <a:lnTo>
                    <a:pt x="3264" y="1164"/>
                  </a:lnTo>
                  <a:lnTo>
                    <a:pt x="2808" y="1393"/>
                  </a:lnTo>
                  <a:lnTo>
                    <a:pt x="2705" y="1278"/>
                  </a:lnTo>
                  <a:lnTo>
                    <a:pt x="2248" y="1335"/>
                  </a:lnTo>
                  <a:lnTo>
                    <a:pt x="1895" y="1541"/>
                  </a:lnTo>
                  <a:lnTo>
                    <a:pt x="1666" y="1199"/>
                  </a:lnTo>
                  <a:lnTo>
                    <a:pt x="1826" y="548"/>
                  </a:lnTo>
                  <a:lnTo>
                    <a:pt x="1849" y="12"/>
                  </a:lnTo>
                  <a:lnTo>
                    <a:pt x="1849" y="12"/>
                  </a:lnTo>
                  <a:lnTo>
                    <a:pt x="1849" y="1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85" name="Google Shape;356;p29">
              <a:extLst>
                <a:ext uri="{FF2B5EF4-FFF2-40B4-BE49-F238E27FC236}">
                  <a16:creationId xmlns:a16="http://schemas.microsoft.com/office/drawing/2014/main" id="{55DEBEFE-9362-4B0C-8BF5-F85FB6155E6F}"/>
                </a:ext>
              </a:extLst>
            </p:cNvPr>
            <p:cNvSpPr/>
            <p:nvPr/>
          </p:nvSpPr>
          <p:spPr>
            <a:xfrm>
              <a:off x="4313975" y="3015675"/>
              <a:ext cx="109575" cy="128975"/>
            </a:xfrm>
            <a:custGeom>
              <a:avLst/>
              <a:gdLst/>
              <a:ahLst/>
              <a:cxnLst/>
              <a:rect l="l" t="t" r="r" b="b"/>
              <a:pathLst>
                <a:path w="4383" h="5159" extrusionOk="0">
                  <a:moveTo>
                    <a:pt x="3527" y="1"/>
                  </a:moveTo>
                  <a:lnTo>
                    <a:pt x="3036" y="423"/>
                  </a:lnTo>
                  <a:lnTo>
                    <a:pt x="2466" y="411"/>
                  </a:lnTo>
                  <a:lnTo>
                    <a:pt x="1827" y="628"/>
                  </a:lnTo>
                  <a:lnTo>
                    <a:pt x="1324" y="423"/>
                  </a:lnTo>
                  <a:lnTo>
                    <a:pt x="1005" y="674"/>
                  </a:lnTo>
                  <a:lnTo>
                    <a:pt x="1005" y="674"/>
                  </a:lnTo>
                  <a:lnTo>
                    <a:pt x="959" y="1735"/>
                  </a:lnTo>
                  <a:lnTo>
                    <a:pt x="1290" y="1849"/>
                  </a:lnTo>
                  <a:lnTo>
                    <a:pt x="1028" y="2180"/>
                  </a:lnTo>
                  <a:lnTo>
                    <a:pt x="720" y="2420"/>
                  </a:lnTo>
                  <a:lnTo>
                    <a:pt x="423" y="2899"/>
                  </a:lnTo>
                  <a:lnTo>
                    <a:pt x="240" y="3321"/>
                  </a:lnTo>
                  <a:lnTo>
                    <a:pt x="206" y="4052"/>
                  </a:lnTo>
                  <a:lnTo>
                    <a:pt x="23" y="4394"/>
                  </a:lnTo>
                  <a:lnTo>
                    <a:pt x="1" y="5079"/>
                  </a:lnTo>
                  <a:lnTo>
                    <a:pt x="206" y="5159"/>
                  </a:lnTo>
                  <a:lnTo>
                    <a:pt x="674" y="4896"/>
                  </a:lnTo>
                  <a:lnTo>
                    <a:pt x="959" y="4782"/>
                  </a:lnTo>
                  <a:lnTo>
                    <a:pt x="1849" y="4794"/>
                  </a:lnTo>
                  <a:lnTo>
                    <a:pt x="1849" y="4794"/>
                  </a:lnTo>
                  <a:lnTo>
                    <a:pt x="1804" y="4440"/>
                  </a:lnTo>
                  <a:lnTo>
                    <a:pt x="2169" y="3904"/>
                  </a:lnTo>
                  <a:lnTo>
                    <a:pt x="2671" y="3778"/>
                  </a:lnTo>
                  <a:lnTo>
                    <a:pt x="3013" y="3561"/>
                  </a:lnTo>
                  <a:lnTo>
                    <a:pt x="3424" y="3732"/>
                  </a:lnTo>
                  <a:lnTo>
                    <a:pt x="3470" y="3812"/>
                  </a:lnTo>
                  <a:lnTo>
                    <a:pt x="3470" y="3767"/>
                  </a:lnTo>
                  <a:lnTo>
                    <a:pt x="3698" y="3390"/>
                  </a:lnTo>
                  <a:lnTo>
                    <a:pt x="4086" y="2797"/>
                  </a:lnTo>
                  <a:lnTo>
                    <a:pt x="4383" y="2123"/>
                  </a:lnTo>
                  <a:lnTo>
                    <a:pt x="4018" y="1085"/>
                  </a:lnTo>
                  <a:lnTo>
                    <a:pt x="3915" y="62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86" name="Google Shape;357;p29">
              <a:extLst>
                <a:ext uri="{FF2B5EF4-FFF2-40B4-BE49-F238E27FC236}">
                  <a16:creationId xmlns:a16="http://schemas.microsoft.com/office/drawing/2014/main" id="{06431E8A-E891-4030-AE20-3ECF2437AA55}"/>
                </a:ext>
              </a:extLst>
            </p:cNvPr>
            <p:cNvSpPr/>
            <p:nvPr/>
          </p:nvSpPr>
          <p:spPr>
            <a:xfrm>
              <a:off x="4109700" y="1931225"/>
              <a:ext cx="313850" cy="175775"/>
            </a:xfrm>
            <a:custGeom>
              <a:avLst/>
              <a:gdLst/>
              <a:ahLst/>
              <a:cxnLst/>
              <a:rect l="l" t="t" r="r" b="b"/>
              <a:pathLst>
                <a:path w="12554" h="7031" extrusionOk="0">
                  <a:moveTo>
                    <a:pt x="7544" y="1"/>
                  </a:moveTo>
                  <a:lnTo>
                    <a:pt x="6859" y="69"/>
                  </a:lnTo>
                  <a:lnTo>
                    <a:pt x="6654" y="24"/>
                  </a:lnTo>
                  <a:lnTo>
                    <a:pt x="6505" y="229"/>
                  </a:lnTo>
                  <a:lnTo>
                    <a:pt x="6254" y="195"/>
                  </a:lnTo>
                  <a:lnTo>
                    <a:pt x="6254" y="195"/>
                  </a:lnTo>
                  <a:lnTo>
                    <a:pt x="5661" y="241"/>
                  </a:lnTo>
                  <a:lnTo>
                    <a:pt x="5490" y="435"/>
                  </a:lnTo>
                  <a:lnTo>
                    <a:pt x="5524" y="880"/>
                  </a:lnTo>
                  <a:lnTo>
                    <a:pt x="5239" y="800"/>
                  </a:lnTo>
                  <a:lnTo>
                    <a:pt x="4622" y="834"/>
                  </a:lnTo>
                  <a:lnTo>
                    <a:pt x="4406" y="629"/>
                  </a:lnTo>
                  <a:lnTo>
                    <a:pt x="4177" y="777"/>
                  </a:lnTo>
                  <a:lnTo>
                    <a:pt x="3892" y="651"/>
                  </a:lnTo>
                  <a:lnTo>
                    <a:pt x="3356" y="640"/>
                  </a:lnTo>
                  <a:lnTo>
                    <a:pt x="2557" y="423"/>
                  </a:lnTo>
                  <a:lnTo>
                    <a:pt x="1838" y="355"/>
                  </a:lnTo>
                  <a:lnTo>
                    <a:pt x="1313" y="377"/>
                  </a:lnTo>
                  <a:lnTo>
                    <a:pt x="971" y="606"/>
                  </a:lnTo>
                  <a:lnTo>
                    <a:pt x="662" y="651"/>
                  </a:lnTo>
                  <a:lnTo>
                    <a:pt x="1096" y="1405"/>
                  </a:lnTo>
                  <a:lnTo>
                    <a:pt x="1062" y="1667"/>
                  </a:lnTo>
                  <a:lnTo>
                    <a:pt x="731" y="1770"/>
                  </a:lnTo>
                  <a:lnTo>
                    <a:pt x="183" y="2489"/>
                  </a:lnTo>
                  <a:lnTo>
                    <a:pt x="411" y="2888"/>
                  </a:lnTo>
                  <a:lnTo>
                    <a:pt x="263" y="2831"/>
                  </a:lnTo>
                  <a:lnTo>
                    <a:pt x="103" y="3082"/>
                  </a:lnTo>
                  <a:lnTo>
                    <a:pt x="1" y="3436"/>
                  </a:lnTo>
                  <a:lnTo>
                    <a:pt x="411" y="3676"/>
                  </a:lnTo>
                  <a:lnTo>
                    <a:pt x="503" y="3904"/>
                  </a:lnTo>
                  <a:lnTo>
                    <a:pt x="777" y="3721"/>
                  </a:lnTo>
                  <a:lnTo>
                    <a:pt x="1233" y="3824"/>
                  </a:lnTo>
                  <a:lnTo>
                    <a:pt x="1690" y="3824"/>
                  </a:lnTo>
                  <a:lnTo>
                    <a:pt x="2032" y="4029"/>
                  </a:lnTo>
                  <a:lnTo>
                    <a:pt x="2260" y="3904"/>
                  </a:lnTo>
                  <a:lnTo>
                    <a:pt x="2774" y="3824"/>
                  </a:lnTo>
                  <a:lnTo>
                    <a:pt x="2911" y="3607"/>
                  </a:lnTo>
                  <a:lnTo>
                    <a:pt x="3207" y="3607"/>
                  </a:lnTo>
                  <a:lnTo>
                    <a:pt x="3367" y="3482"/>
                  </a:lnTo>
                  <a:lnTo>
                    <a:pt x="3824" y="3390"/>
                  </a:lnTo>
                  <a:lnTo>
                    <a:pt x="4383" y="3664"/>
                  </a:lnTo>
                  <a:lnTo>
                    <a:pt x="4668" y="3710"/>
                  </a:lnTo>
                  <a:lnTo>
                    <a:pt x="5022" y="3938"/>
                  </a:lnTo>
                  <a:lnTo>
                    <a:pt x="5022" y="4235"/>
                  </a:lnTo>
                  <a:lnTo>
                    <a:pt x="5296" y="4395"/>
                  </a:lnTo>
                  <a:lnTo>
                    <a:pt x="5456" y="4760"/>
                  </a:lnTo>
                  <a:lnTo>
                    <a:pt x="5741" y="4977"/>
                  </a:lnTo>
                  <a:lnTo>
                    <a:pt x="5707" y="5114"/>
                  </a:lnTo>
                  <a:lnTo>
                    <a:pt x="5855" y="5205"/>
                  </a:lnTo>
                  <a:lnTo>
                    <a:pt x="5684" y="5273"/>
                  </a:lnTo>
                  <a:lnTo>
                    <a:pt x="5250" y="5250"/>
                  </a:lnTo>
                  <a:lnTo>
                    <a:pt x="5170" y="5114"/>
                  </a:lnTo>
                  <a:lnTo>
                    <a:pt x="5022" y="5193"/>
                  </a:lnTo>
                  <a:lnTo>
                    <a:pt x="5090" y="5342"/>
                  </a:lnTo>
                  <a:lnTo>
                    <a:pt x="4942" y="5627"/>
                  </a:lnTo>
                  <a:lnTo>
                    <a:pt x="4862" y="5935"/>
                  </a:lnTo>
                  <a:lnTo>
                    <a:pt x="4691" y="6027"/>
                  </a:lnTo>
                  <a:lnTo>
                    <a:pt x="5033" y="6186"/>
                  </a:lnTo>
                  <a:lnTo>
                    <a:pt x="5353" y="6049"/>
                  </a:lnTo>
                  <a:lnTo>
                    <a:pt x="5695" y="6198"/>
                  </a:lnTo>
                  <a:lnTo>
                    <a:pt x="6163" y="5547"/>
                  </a:lnTo>
                  <a:lnTo>
                    <a:pt x="6346" y="5056"/>
                  </a:lnTo>
                  <a:lnTo>
                    <a:pt x="6996" y="4942"/>
                  </a:lnTo>
                  <a:lnTo>
                    <a:pt x="7087" y="5285"/>
                  </a:lnTo>
                  <a:lnTo>
                    <a:pt x="8229" y="5502"/>
                  </a:lnTo>
                  <a:lnTo>
                    <a:pt x="8480" y="5707"/>
                  </a:lnTo>
                  <a:lnTo>
                    <a:pt x="7829" y="6004"/>
                  </a:lnTo>
                  <a:lnTo>
                    <a:pt x="7738" y="6175"/>
                  </a:lnTo>
                  <a:lnTo>
                    <a:pt x="8560" y="6426"/>
                  </a:lnTo>
                  <a:lnTo>
                    <a:pt x="8480" y="6848"/>
                  </a:lnTo>
                  <a:lnTo>
                    <a:pt x="8902" y="7031"/>
                  </a:lnTo>
                  <a:lnTo>
                    <a:pt x="9804" y="6517"/>
                  </a:lnTo>
                  <a:lnTo>
                    <a:pt x="10557" y="6357"/>
                  </a:lnTo>
                  <a:lnTo>
                    <a:pt x="10648" y="6049"/>
                  </a:lnTo>
                  <a:lnTo>
                    <a:pt x="9918" y="6106"/>
                  </a:lnTo>
                  <a:lnTo>
                    <a:pt x="9530" y="5890"/>
                  </a:lnTo>
                  <a:lnTo>
                    <a:pt x="9393" y="5330"/>
                  </a:lnTo>
                  <a:lnTo>
                    <a:pt x="9941" y="4999"/>
                  </a:lnTo>
                  <a:lnTo>
                    <a:pt x="10602" y="4965"/>
                  </a:lnTo>
                  <a:lnTo>
                    <a:pt x="11025" y="4680"/>
                  </a:lnTo>
                  <a:lnTo>
                    <a:pt x="11584" y="4600"/>
                  </a:lnTo>
                  <a:lnTo>
                    <a:pt x="11527" y="4201"/>
                  </a:lnTo>
                  <a:lnTo>
                    <a:pt x="11846" y="3961"/>
                  </a:lnTo>
                  <a:lnTo>
                    <a:pt x="12508" y="3892"/>
                  </a:lnTo>
                  <a:lnTo>
                    <a:pt x="12554" y="3596"/>
                  </a:lnTo>
                  <a:lnTo>
                    <a:pt x="12303" y="3105"/>
                  </a:lnTo>
                  <a:lnTo>
                    <a:pt x="12485" y="2649"/>
                  </a:lnTo>
                  <a:lnTo>
                    <a:pt x="12428" y="2375"/>
                  </a:lnTo>
                  <a:lnTo>
                    <a:pt x="11344" y="2089"/>
                  </a:lnTo>
                  <a:lnTo>
                    <a:pt x="10933" y="2112"/>
                  </a:lnTo>
                  <a:lnTo>
                    <a:pt x="10420" y="1690"/>
                  </a:lnTo>
                  <a:lnTo>
                    <a:pt x="9918" y="1838"/>
                  </a:lnTo>
                  <a:lnTo>
                    <a:pt x="8971" y="1519"/>
                  </a:lnTo>
                  <a:lnTo>
                    <a:pt x="8948" y="1348"/>
                  </a:lnTo>
                  <a:lnTo>
                    <a:pt x="8628" y="971"/>
                  </a:lnTo>
                  <a:lnTo>
                    <a:pt x="8058" y="937"/>
                  </a:lnTo>
                  <a:lnTo>
                    <a:pt x="7966" y="663"/>
                  </a:lnTo>
                  <a:lnTo>
                    <a:pt x="8092" y="48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87" name="Google Shape;358;p29">
              <a:extLst>
                <a:ext uri="{FF2B5EF4-FFF2-40B4-BE49-F238E27FC236}">
                  <a16:creationId xmlns:a16="http://schemas.microsoft.com/office/drawing/2014/main" id="{30A59966-DE88-4C21-93AA-62C70CC9C5F4}"/>
                </a:ext>
              </a:extLst>
            </p:cNvPr>
            <p:cNvSpPr/>
            <p:nvPr/>
          </p:nvSpPr>
          <p:spPr>
            <a:xfrm>
              <a:off x="2610425" y="3795125"/>
              <a:ext cx="97300" cy="109875"/>
            </a:xfrm>
            <a:custGeom>
              <a:avLst/>
              <a:gdLst/>
              <a:ahLst/>
              <a:cxnLst/>
              <a:rect l="l" t="t" r="r" b="b"/>
              <a:pathLst>
                <a:path w="3892" h="4395" extrusionOk="0">
                  <a:moveTo>
                    <a:pt x="3892" y="3333"/>
                  </a:moveTo>
                  <a:lnTo>
                    <a:pt x="3595" y="2797"/>
                  </a:lnTo>
                  <a:lnTo>
                    <a:pt x="3869" y="2374"/>
                  </a:lnTo>
                  <a:lnTo>
                    <a:pt x="3321" y="1758"/>
                  </a:lnTo>
                  <a:lnTo>
                    <a:pt x="2637" y="1256"/>
                  </a:lnTo>
                  <a:lnTo>
                    <a:pt x="1758" y="674"/>
                  </a:lnTo>
                  <a:lnTo>
                    <a:pt x="1484" y="708"/>
                  </a:lnTo>
                  <a:lnTo>
                    <a:pt x="605" y="1"/>
                  </a:lnTo>
                  <a:lnTo>
                    <a:pt x="115" y="103"/>
                  </a:lnTo>
                  <a:lnTo>
                    <a:pt x="46" y="834"/>
                  </a:lnTo>
                  <a:lnTo>
                    <a:pt x="0" y="1758"/>
                  </a:lnTo>
                  <a:lnTo>
                    <a:pt x="160" y="2660"/>
                  </a:lnTo>
                  <a:lnTo>
                    <a:pt x="35" y="2854"/>
                  </a:lnTo>
                  <a:lnTo>
                    <a:pt x="92" y="3459"/>
                  </a:lnTo>
                  <a:lnTo>
                    <a:pt x="640" y="3961"/>
                  </a:lnTo>
                  <a:lnTo>
                    <a:pt x="1153" y="3926"/>
                  </a:lnTo>
                  <a:lnTo>
                    <a:pt x="1929" y="4314"/>
                  </a:lnTo>
                  <a:lnTo>
                    <a:pt x="2317" y="4223"/>
                  </a:lnTo>
                  <a:lnTo>
                    <a:pt x="2911" y="4394"/>
                  </a:lnTo>
                  <a:lnTo>
                    <a:pt x="3664" y="390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88" name="Google Shape;359;p29">
              <a:extLst>
                <a:ext uri="{FF2B5EF4-FFF2-40B4-BE49-F238E27FC236}">
                  <a16:creationId xmlns:a16="http://schemas.microsoft.com/office/drawing/2014/main" id="{E911A14C-CEF0-40CF-BACD-EB6313BD4141}"/>
                </a:ext>
              </a:extLst>
            </p:cNvPr>
            <p:cNvSpPr/>
            <p:nvPr/>
          </p:nvSpPr>
          <p:spPr>
            <a:xfrm>
              <a:off x="586475" y="1543225"/>
              <a:ext cx="1932400" cy="1139800"/>
            </a:xfrm>
            <a:custGeom>
              <a:avLst/>
              <a:gdLst/>
              <a:ahLst/>
              <a:cxnLst/>
              <a:rect l="l" t="t" r="r" b="b"/>
              <a:pathLst>
                <a:path w="77296" h="45592" extrusionOk="0">
                  <a:moveTo>
                    <a:pt x="2716" y="45432"/>
                  </a:moveTo>
                  <a:lnTo>
                    <a:pt x="3002" y="45307"/>
                  </a:lnTo>
                  <a:lnTo>
                    <a:pt x="3355" y="45101"/>
                  </a:lnTo>
                  <a:lnTo>
                    <a:pt x="3390" y="45044"/>
                  </a:lnTo>
                  <a:lnTo>
                    <a:pt x="3253" y="44736"/>
                  </a:lnTo>
                  <a:lnTo>
                    <a:pt x="3161" y="44622"/>
                  </a:lnTo>
                  <a:lnTo>
                    <a:pt x="3047" y="44531"/>
                  </a:lnTo>
                  <a:lnTo>
                    <a:pt x="2773" y="44371"/>
                  </a:lnTo>
                  <a:lnTo>
                    <a:pt x="2716" y="44359"/>
                  </a:lnTo>
                  <a:lnTo>
                    <a:pt x="2659" y="44451"/>
                  </a:lnTo>
                  <a:lnTo>
                    <a:pt x="2659" y="44633"/>
                  </a:lnTo>
                  <a:lnTo>
                    <a:pt x="2488" y="44770"/>
                  </a:lnTo>
                  <a:lnTo>
                    <a:pt x="2431" y="44873"/>
                  </a:lnTo>
                  <a:lnTo>
                    <a:pt x="2488" y="45204"/>
                  </a:lnTo>
                  <a:lnTo>
                    <a:pt x="2397" y="45455"/>
                  </a:lnTo>
                  <a:lnTo>
                    <a:pt x="2568" y="45592"/>
                  </a:lnTo>
                  <a:close/>
                  <a:moveTo>
                    <a:pt x="2625" y="44017"/>
                  </a:moveTo>
                  <a:lnTo>
                    <a:pt x="2716" y="43914"/>
                  </a:lnTo>
                  <a:lnTo>
                    <a:pt x="2545" y="43777"/>
                  </a:lnTo>
                  <a:lnTo>
                    <a:pt x="2283" y="43686"/>
                  </a:lnTo>
                  <a:lnTo>
                    <a:pt x="2191" y="43766"/>
                  </a:lnTo>
                  <a:lnTo>
                    <a:pt x="2191" y="43823"/>
                  </a:lnTo>
                  <a:lnTo>
                    <a:pt x="2260" y="43892"/>
                  </a:lnTo>
                  <a:lnTo>
                    <a:pt x="2340" y="44086"/>
                  </a:lnTo>
                  <a:close/>
                  <a:moveTo>
                    <a:pt x="2203" y="43538"/>
                  </a:moveTo>
                  <a:lnTo>
                    <a:pt x="1826" y="43504"/>
                  </a:lnTo>
                  <a:lnTo>
                    <a:pt x="1746" y="43606"/>
                  </a:lnTo>
                  <a:lnTo>
                    <a:pt x="2157" y="43629"/>
                  </a:lnTo>
                  <a:close/>
                  <a:moveTo>
                    <a:pt x="1530" y="43401"/>
                  </a:moveTo>
                  <a:lnTo>
                    <a:pt x="1370" y="43104"/>
                  </a:lnTo>
                  <a:lnTo>
                    <a:pt x="1336" y="43047"/>
                  </a:lnTo>
                  <a:lnTo>
                    <a:pt x="1084" y="43173"/>
                  </a:lnTo>
                  <a:lnTo>
                    <a:pt x="1107" y="43207"/>
                  </a:lnTo>
                  <a:lnTo>
                    <a:pt x="1164" y="43424"/>
                  </a:lnTo>
                  <a:lnTo>
                    <a:pt x="1415" y="43446"/>
                  </a:lnTo>
                  <a:lnTo>
                    <a:pt x="1472" y="43458"/>
                  </a:lnTo>
                  <a:close/>
                  <a:moveTo>
                    <a:pt x="343" y="42807"/>
                  </a:moveTo>
                  <a:lnTo>
                    <a:pt x="388" y="42591"/>
                  </a:lnTo>
                  <a:lnTo>
                    <a:pt x="206" y="42579"/>
                  </a:lnTo>
                  <a:lnTo>
                    <a:pt x="57" y="42659"/>
                  </a:lnTo>
                  <a:lnTo>
                    <a:pt x="0" y="42739"/>
                  </a:lnTo>
                  <a:lnTo>
                    <a:pt x="229" y="42887"/>
                  </a:lnTo>
                  <a:close/>
                  <a:moveTo>
                    <a:pt x="59138" y="18100"/>
                  </a:moveTo>
                  <a:lnTo>
                    <a:pt x="58910" y="18100"/>
                  </a:lnTo>
                  <a:lnTo>
                    <a:pt x="58716" y="18442"/>
                  </a:lnTo>
                  <a:lnTo>
                    <a:pt x="57278" y="18442"/>
                  </a:lnTo>
                  <a:lnTo>
                    <a:pt x="54882" y="18442"/>
                  </a:lnTo>
                  <a:lnTo>
                    <a:pt x="52496" y="18442"/>
                  </a:lnTo>
                  <a:lnTo>
                    <a:pt x="50385" y="18442"/>
                  </a:lnTo>
                  <a:lnTo>
                    <a:pt x="48297" y="18442"/>
                  </a:lnTo>
                  <a:lnTo>
                    <a:pt x="46220" y="18442"/>
                  </a:lnTo>
                  <a:lnTo>
                    <a:pt x="44086" y="18442"/>
                  </a:lnTo>
                  <a:lnTo>
                    <a:pt x="43401" y="18442"/>
                  </a:lnTo>
                  <a:lnTo>
                    <a:pt x="41312" y="18442"/>
                  </a:lnTo>
                  <a:lnTo>
                    <a:pt x="39338" y="18442"/>
                  </a:lnTo>
                  <a:lnTo>
                    <a:pt x="39098" y="19173"/>
                  </a:lnTo>
                  <a:lnTo>
                    <a:pt x="38768" y="19892"/>
                  </a:lnTo>
                  <a:lnTo>
                    <a:pt x="38437" y="20120"/>
                  </a:lnTo>
                  <a:lnTo>
                    <a:pt x="38596" y="19287"/>
                  </a:lnTo>
                  <a:lnTo>
                    <a:pt x="37763" y="18979"/>
                  </a:lnTo>
                  <a:lnTo>
                    <a:pt x="37569" y="19150"/>
                  </a:lnTo>
                  <a:lnTo>
                    <a:pt x="37512" y="19572"/>
                  </a:lnTo>
                  <a:lnTo>
                    <a:pt x="37250" y="20337"/>
                  </a:lnTo>
                  <a:lnTo>
                    <a:pt x="36656" y="21524"/>
                  </a:lnTo>
                  <a:lnTo>
                    <a:pt x="36086" y="22323"/>
                  </a:lnTo>
                  <a:lnTo>
                    <a:pt x="35515" y="23121"/>
                  </a:lnTo>
                  <a:lnTo>
                    <a:pt x="34739" y="23943"/>
                  </a:lnTo>
                  <a:lnTo>
                    <a:pt x="34579" y="24616"/>
                  </a:lnTo>
                  <a:lnTo>
                    <a:pt x="34180" y="25370"/>
                  </a:lnTo>
                  <a:lnTo>
                    <a:pt x="33632" y="26111"/>
                  </a:lnTo>
                  <a:lnTo>
                    <a:pt x="33769" y="26602"/>
                  </a:lnTo>
                  <a:lnTo>
                    <a:pt x="33495" y="27344"/>
                  </a:lnTo>
                  <a:lnTo>
                    <a:pt x="33712" y="28109"/>
                  </a:lnTo>
                  <a:lnTo>
                    <a:pt x="33895" y="28428"/>
                  </a:lnTo>
                  <a:lnTo>
                    <a:pt x="33780" y="28645"/>
                  </a:lnTo>
                  <a:lnTo>
                    <a:pt x="33837" y="29923"/>
                  </a:lnTo>
                  <a:lnTo>
                    <a:pt x="34203" y="30847"/>
                  </a:lnTo>
                  <a:lnTo>
                    <a:pt x="34089" y="31350"/>
                  </a:lnTo>
                  <a:lnTo>
                    <a:pt x="34225" y="31498"/>
                  </a:lnTo>
                  <a:lnTo>
                    <a:pt x="34887" y="31589"/>
                  </a:lnTo>
                  <a:lnTo>
                    <a:pt x="35070" y="31840"/>
                  </a:lnTo>
                  <a:lnTo>
                    <a:pt x="35469" y="31875"/>
                  </a:lnTo>
                  <a:lnTo>
                    <a:pt x="35458" y="32148"/>
                  </a:lnTo>
                  <a:lnTo>
                    <a:pt x="35766" y="32251"/>
                  </a:lnTo>
                  <a:lnTo>
                    <a:pt x="36063" y="32776"/>
                  </a:lnTo>
                  <a:lnTo>
                    <a:pt x="36029" y="33233"/>
                  </a:lnTo>
                  <a:lnTo>
                    <a:pt x="36919" y="33164"/>
                  </a:lnTo>
                  <a:lnTo>
                    <a:pt x="37923" y="33061"/>
                  </a:lnTo>
                  <a:lnTo>
                    <a:pt x="37775" y="33244"/>
                  </a:lnTo>
                  <a:lnTo>
                    <a:pt x="38790" y="33689"/>
                  </a:lnTo>
                  <a:lnTo>
                    <a:pt x="40320" y="34317"/>
                  </a:lnTo>
                  <a:lnTo>
                    <a:pt x="41849" y="34317"/>
                  </a:lnTo>
                  <a:lnTo>
                    <a:pt x="42454" y="34317"/>
                  </a:lnTo>
                  <a:lnTo>
                    <a:pt x="42568" y="33952"/>
                  </a:lnTo>
                  <a:lnTo>
                    <a:pt x="43903" y="33952"/>
                  </a:lnTo>
                  <a:lnTo>
                    <a:pt x="44086" y="34260"/>
                  </a:lnTo>
                  <a:lnTo>
                    <a:pt x="44382" y="34545"/>
                  </a:lnTo>
                  <a:lnTo>
                    <a:pt x="44725" y="34944"/>
                  </a:lnTo>
                  <a:lnTo>
                    <a:pt x="44839" y="35412"/>
                  </a:lnTo>
                  <a:lnTo>
                    <a:pt x="44896" y="35914"/>
                  </a:lnTo>
                  <a:lnTo>
                    <a:pt x="45215" y="36188"/>
                  </a:lnTo>
                  <a:lnTo>
                    <a:pt x="45786" y="36451"/>
                  </a:lnTo>
                  <a:lnTo>
                    <a:pt x="46471" y="35743"/>
                  </a:lnTo>
                  <a:lnTo>
                    <a:pt x="47098" y="35732"/>
                  </a:lnTo>
                  <a:lnTo>
                    <a:pt x="47532" y="36086"/>
                  </a:lnTo>
                  <a:lnTo>
                    <a:pt x="47760" y="36713"/>
                  </a:lnTo>
                  <a:lnTo>
                    <a:pt x="47909" y="37238"/>
                  </a:lnTo>
                  <a:lnTo>
                    <a:pt x="48251" y="37752"/>
                  </a:lnTo>
                  <a:lnTo>
                    <a:pt x="48274" y="38391"/>
                  </a:lnTo>
                  <a:lnTo>
                    <a:pt x="48388" y="38825"/>
                  </a:lnTo>
                  <a:lnTo>
                    <a:pt x="48947" y="39110"/>
                  </a:lnTo>
                  <a:lnTo>
                    <a:pt x="49461" y="39304"/>
                  </a:lnTo>
                  <a:lnTo>
                    <a:pt x="49757" y="39281"/>
                  </a:lnTo>
                  <a:lnTo>
                    <a:pt x="49678" y="38961"/>
                  </a:lnTo>
                  <a:lnTo>
                    <a:pt x="49735" y="38528"/>
                  </a:lnTo>
                  <a:lnTo>
                    <a:pt x="49872" y="37900"/>
                  </a:lnTo>
                  <a:lnTo>
                    <a:pt x="50145" y="37501"/>
                  </a:lnTo>
                  <a:lnTo>
                    <a:pt x="50670" y="37056"/>
                  </a:lnTo>
                  <a:lnTo>
                    <a:pt x="51526" y="36668"/>
                  </a:lnTo>
                  <a:lnTo>
                    <a:pt x="52405" y="35994"/>
                  </a:lnTo>
                  <a:lnTo>
                    <a:pt x="53101" y="35789"/>
                  </a:lnTo>
                  <a:lnTo>
                    <a:pt x="53603" y="35732"/>
                  </a:lnTo>
                  <a:lnTo>
                    <a:pt x="54094" y="35926"/>
                  </a:lnTo>
                  <a:lnTo>
                    <a:pt x="54802" y="35812"/>
                  </a:lnTo>
                  <a:lnTo>
                    <a:pt x="55270" y="36302"/>
                  </a:lnTo>
                  <a:lnTo>
                    <a:pt x="55806" y="36325"/>
                  </a:lnTo>
                  <a:lnTo>
                    <a:pt x="56148" y="36154"/>
                  </a:lnTo>
                  <a:lnTo>
                    <a:pt x="56399" y="36280"/>
                  </a:lnTo>
                  <a:lnTo>
                    <a:pt x="56582" y="36166"/>
                  </a:lnTo>
                  <a:lnTo>
                    <a:pt x="56456" y="35983"/>
                  </a:lnTo>
                  <a:lnTo>
                    <a:pt x="56548" y="35629"/>
                  </a:lnTo>
                  <a:lnTo>
                    <a:pt x="56479" y="35389"/>
                  </a:lnTo>
                  <a:lnTo>
                    <a:pt x="56822" y="35241"/>
                  </a:lnTo>
                  <a:lnTo>
                    <a:pt x="57426" y="35184"/>
                  </a:lnTo>
                  <a:lnTo>
                    <a:pt x="58088" y="35287"/>
                  </a:lnTo>
                  <a:lnTo>
                    <a:pt x="58979" y="35173"/>
                  </a:lnTo>
                  <a:lnTo>
                    <a:pt x="59401" y="35389"/>
                  </a:lnTo>
                  <a:lnTo>
                    <a:pt x="59686" y="35812"/>
                  </a:lnTo>
                  <a:lnTo>
                    <a:pt x="59812" y="35857"/>
                  </a:lnTo>
                  <a:lnTo>
                    <a:pt x="60690" y="35447"/>
                  </a:lnTo>
                  <a:lnTo>
                    <a:pt x="60953" y="35583"/>
                  </a:lnTo>
                  <a:lnTo>
                    <a:pt x="61387" y="36337"/>
                  </a:lnTo>
                  <a:lnTo>
                    <a:pt x="61501" y="36839"/>
                  </a:lnTo>
                  <a:lnTo>
                    <a:pt x="61215" y="37444"/>
                  </a:lnTo>
                  <a:lnTo>
                    <a:pt x="61272" y="37797"/>
                  </a:lnTo>
                  <a:lnTo>
                    <a:pt x="61501" y="38494"/>
                  </a:lnTo>
                  <a:lnTo>
                    <a:pt x="61786" y="39281"/>
                  </a:lnTo>
                  <a:lnTo>
                    <a:pt x="62037" y="39475"/>
                  </a:lnTo>
                  <a:lnTo>
                    <a:pt x="62094" y="39874"/>
                  </a:lnTo>
                  <a:lnTo>
                    <a:pt x="62471" y="39989"/>
                  </a:lnTo>
                  <a:lnTo>
                    <a:pt x="62710" y="39874"/>
                  </a:lnTo>
                  <a:lnTo>
                    <a:pt x="62996" y="39327"/>
                  </a:lnTo>
                  <a:lnTo>
                    <a:pt x="63098" y="38961"/>
                  </a:lnTo>
                  <a:lnTo>
                    <a:pt x="63224" y="38357"/>
                  </a:lnTo>
                  <a:lnTo>
                    <a:pt x="63053" y="37295"/>
                  </a:lnTo>
                  <a:lnTo>
                    <a:pt x="63121" y="36907"/>
                  </a:lnTo>
                  <a:lnTo>
                    <a:pt x="62916" y="36268"/>
                  </a:lnTo>
                  <a:lnTo>
                    <a:pt x="62813" y="35504"/>
                  </a:lnTo>
                  <a:lnTo>
                    <a:pt x="62824" y="34876"/>
                  </a:lnTo>
                  <a:lnTo>
                    <a:pt x="63087" y="34225"/>
                  </a:lnTo>
                  <a:lnTo>
                    <a:pt x="63578" y="33689"/>
                  </a:lnTo>
                  <a:lnTo>
                    <a:pt x="64114" y="33255"/>
                  </a:lnTo>
                  <a:lnTo>
                    <a:pt x="65095" y="32673"/>
                  </a:lnTo>
                  <a:lnTo>
                    <a:pt x="65278" y="32365"/>
                  </a:lnTo>
                  <a:lnTo>
                    <a:pt x="65746" y="32034"/>
                  </a:lnTo>
                  <a:lnTo>
                    <a:pt x="66145" y="31977"/>
                  </a:lnTo>
                  <a:lnTo>
                    <a:pt x="66773" y="31429"/>
                  </a:lnTo>
                  <a:lnTo>
                    <a:pt x="67629" y="31167"/>
                  </a:lnTo>
                  <a:lnTo>
                    <a:pt x="68291" y="30482"/>
                  </a:lnTo>
                  <a:lnTo>
                    <a:pt x="68416" y="29546"/>
                  </a:lnTo>
                  <a:lnTo>
                    <a:pt x="68428" y="29238"/>
                  </a:lnTo>
                  <a:lnTo>
                    <a:pt x="68234" y="29181"/>
                  </a:lnTo>
                  <a:lnTo>
                    <a:pt x="68451" y="28303"/>
                  </a:lnTo>
                  <a:lnTo>
                    <a:pt x="68017" y="27994"/>
                  </a:lnTo>
                  <a:lnTo>
                    <a:pt x="68473" y="28143"/>
                  </a:lnTo>
                  <a:lnTo>
                    <a:pt x="68473" y="27549"/>
                  </a:lnTo>
                  <a:lnTo>
                    <a:pt x="68747" y="27173"/>
                  </a:lnTo>
                  <a:lnTo>
                    <a:pt x="68599" y="27926"/>
                  </a:lnTo>
                  <a:lnTo>
                    <a:pt x="68884" y="28280"/>
                  </a:lnTo>
                  <a:lnTo>
                    <a:pt x="68473" y="28907"/>
                  </a:lnTo>
                  <a:lnTo>
                    <a:pt x="68531" y="28942"/>
                  </a:lnTo>
                  <a:lnTo>
                    <a:pt x="69158" y="28211"/>
                  </a:lnTo>
                  <a:lnTo>
                    <a:pt x="69501" y="27857"/>
                  </a:lnTo>
                  <a:lnTo>
                    <a:pt x="69592" y="27492"/>
                  </a:lnTo>
                  <a:lnTo>
                    <a:pt x="69455" y="27344"/>
                  </a:lnTo>
                  <a:lnTo>
                    <a:pt x="69444" y="26842"/>
                  </a:lnTo>
                  <a:lnTo>
                    <a:pt x="69615" y="27070"/>
                  </a:lnTo>
                  <a:lnTo>
                    <a:pt x="69774" y="27127"/>
                  </a:lnTo>
                  <a:lnTo>
                    <a:pt x="69763" y="27355"/>
                  </a:lnTo>
                  <a:lnTo>
                    <a:pt x="70505" y="26659"/>
                  </a:lnTo>
                  <a:lnTo>
                    <a:pt x="70859" y="26009"/>
                  </a:lnTo>
                  <a:lnTo>
                    <a:pt x="70653" y="25974"/>
                  </a:lnTo>
                  <a:lnTo>
                    <a:pt x="70961" y="25712"/>
                  </a:lnTo>
                  <a:lnTo>
                    <a:pt x="70904" y="25826"/>
                  </a:lnTo>
                  <a:lnTo>
                    <a:pt x="71372" y="25826"/>
                  </a:lnTo>
                  <a:lnTo>
                    <a:pt x="72479" y="25552"/>
                  </a:lnTo>
                  <a:lnTo>
                    <a:pt x="72331" y="25381"/>
                  </a:lnTo>
                  <a:lnTo>
                    <a:pt x="71201" y="25552"/>
                  </a:lnTo>
                  <a:lnTo>
                    <a:pt x="71886" y="25301"/>
                  </a:lnTo>
                  <a:lnTo>
                    <a:pt x="72331" y="25255"/>
                  </a:lnTo>
                  <a:lnTo>
                    <a:pt x="72673" y="25210"/>
                  </a:lnTo>
                  <a:lnTo>
                    <a:pt x="73255" y="25061"/>
                  </a:lnTo>
                  <a:lnTo>
                    <a:pt x="73598" y="25073"/>
                  </a:lnTo>
                  <a:lnTo>
                    <a:pt x="74134" y="24925"/>
                  </a:lnTo>
                  <a:lnTo>
                    <a:pt x="74282" y="24685"/>
                  </a:lnTo>
                  <a:lnTo>
                    <a:pt x="74123" y="24491"/>
                  </a:lnTo>
                  <a:lnTo>
                    <a:pt x="74100" y="24799"/>
                  </a:lnTo>
                  <a:lnTo>
                    <a:pt x="73792" y="24788"/>
                  </a:lnTo>
                  <a:lnTo>
                    <a:pt x="73712" y="24320"/>
                  </a:lnTo>
                  <a:lnTo>
                    <a:pt x="73871" y="23840"/>
                  </a:lnTo>
                  <a:lnTo>
                    <a:pt x="74065" y="23658"/>
                  </a:lnTo>
                  <a:lnTo>
                    <a:pt x="74625" y="23133"/>
                  </a:lnTo>
                  <a:lnTo>
                    <a:pt x="75469" y="22870"/>
                  </a:lnTo>
                  <a:lnTo>
                    <a:pt x="76325" y="22574"/>
                  </a:lnTo>
                  <a:lnTo>
                    <a:pt x="77215" y="22151"/>
                  </a:lnTo>
                  <a:lnTo>
                    <a:pt x="77192" y="21866"/>
                  </a:lnTo>
                  <a:lnTo>
                    <a:pt x="76896" y="21364"/>
                  </a:lnTo>
                  <a:lnTo>
                    <a:pt x="77295" y="20154"/>
                  </a:lnTo>
                  <a:lnTo>
                    <a:pt x="77078" y="19892"/>
                  </a:lnTo>
                  <a:lnTo>
                    <a:pt x="76553" y="20052"/>
                  </a:lnTo>
                  <a:lnTo>
                    <a:pt x="76394" y="19812"/>
                  </a:lnTo>
                  <a:lnTo>
                    <a:pt x="75606" y="20474"/>
                  </a:lnTo>
                  <a:lnTo>
                    <a:pt x="75150" y="21181"/>
                  </a:lnTo>
                  <a:lnTo>
                    <a:pt x="74762" y="21581"/>
                  </a:lnTo>
                  <a:lnTo>
                    <a:pt x="74408" y="21706"/>
                  </a:lnTo>
                  <a:lnTo>
                    <a:pt x="74168" y="21752"/>
                  </a:lnTo>
                  <a:lnTo>
                    <a:pt x="74020" y="21980"/>
                  </a:lnTo>
                  <a:lnTo>
                    <a:pt x="72696" y="21980"/>
                  </a:lnTo>
                  <a:lnTo>
                    <a:pt x="71600" y="21980"/>
                  </a:lnTo>
                  <a:lnTo>
                    <a:pt x="71212" y="22151"/>
                  </a:lnTo>
                  <a:lnTo>
                    <a:pt x="70254" y="22745"/>
                  </a:lnTo>
                  <a:lnTo>
                    <a:pt x="70288" y="22870"/>
                  </a:lnTo>
                  <a:lnTo>
                    <a:pt x="70197" y="23213"/>
                  </a:lnTo>
                  <a:lnTo>
                    <a:pt x="69546" y="23498"/>
                  </a:lnTo>
                  <a:lnTo>
                    <a:pt x="68987" y="23430"/>
                  </a:lnTo>
                  <a:lnTo>
                    <a:pt x="68416" y="23407"/>
                  </a:lnTo>
                  <a:lnTo>
                    <a:pt x="68051" y="23498"/>
                  </a:lnTo>
                  <a:lnTo>
                    <a:pt x="68006" y="23760"/>
                  </a:lnTo>
                  <a:lnTo>
                    <a:pt x="68006" y="23760"/>
                  </a:lnTo>
                  <a:lnTo>
                    <a:pt x="67994" y="23840"/>
                  </a:lnTo>
                  <a:lnTo>
                    <a:pt x="67161" y="24377"/>
                  </a:lnTo>
                  <a:lnTo>
                    <a:pt x="66522" y="24628"/>
                  </a:lnTo>
                  <a:lnTo>
                    <a:pt x="66111" y="24742"/>
                  </a:lnTo>
                  <a:lnTo>
                    <a:pt x="65575" y="24982"/>
                  </a:lnTo>
                  <a:lnTo>
                    <a:pt x="65004" y="25119"/>
                  </a:lnTo>
                  <a:lnTo>
                    <a:pt x="64650" y="25073"/>
                  </a:lnTo>
                  <a:lnTo>
                    <a:pt x="64262" y="24890"/>
                  </a:lnTo>
                  <a:lnTo>
                    <a:pt x="64650" y="24548"/>
                  </a:lnTo>
                  <a:lnTo>
                    <a:pt x="64650" y="24548"/>
                  </a:lnTo>
                  <a:lnTo>
                    <a:pt x="64936" y="24228"/>
                  </a:lnTo>
                  <a:lnTo>
                    <a:pt x="65461" y="23749"/>
                  </a:lnTo>
                  <a:lnTo>
                    <a:pt x="65461" y="23749"/>
                  </a:lnTo>
                  <a:lnTo>
                    <a:pt x="65461" y="23749"/>
                  </a:lnTo>
                  <a:lnTo>
                    <a:pt x="65563" y="23384"/>
                  </a:lnTo>
                  <a:lnTo>
                    <a:pt x="65632" y="22893"/>
                  </a:lnTo>
                  <a:lnTo>
                    <a:pt x="65404" y="22790"/>
                  </a:lnTo>
                  <a:lnTo>
                    <a:pt x="64799" y="23190"/>
                  </a:lnTo>
                  <a:lnTo>
                    <a:pt x="64662" y="23178"/>
                  </a:lnTo>
                  <a:lnTo>
                    <a:pt x="64707" y="22962"/>
                  </a:lnTo>
                  <a:lnTo>
                    <a:pt x="65255" y="22608"/>
                  </a:lnTo>
                  <a:lnTo>
                    <a:pt x="65483" y="22208"/>
                  </a:lnTo>
                  <a:lnTo>
                    <a:pt x="65575" y="21809"/>
                  </a:lnTo>
                  <a:lnTo>
                    <a:pt x="65198" y="21467"/>
                  </a:lnTo>
                  <a:lnTo>
                    <a:pt x="64662" y="21273"/>
                  </a:lnTo>
                  <a:lnTo>
                    <a:pt x="64422" y="21615"/>
                  </a:lnTo>
                  <a:lnTo>
                    <a:pt x="64228" y="21706"/>
                  </a:lnTo>
                  <a:lnTo>
                    <a:pt x="63909" y="22151"/>
                  </a:lnTo>
                  <a:lnTo>
                    <a:pt x="63966" y="21843"/>
                  </a:lnTo>
                  <a:lnTo>
                    <a:pt x="63600" y="22060"/>
                  </a:lnTo>
                  <a:lnTo>
                    <a:pt x="63292" y="22345"/>
                  </a:lnTo>
                  <a:lnTo>
                    <a:pt x="62927" y="22790"/>
                  </a:lnTo>
                  <a:lnTo>
                    <a:pt x="62745" y="23156"/>
                  </a:lnTo>
                  <a:lnTo>
                    <a:pt x="62756" y="23703"/>
                  </a:lnTo>
                  <a:lnTo>
                    <a:pt x="62493" y="24274"/>
                  </a:lnTo>
                  <a:lnTo>
                    <a:pt x="62026" y="24696"/>
                  </a:lnTo>
                  <a:lnTo>
                    <a:pt x="61832" y="24833"/>
                  </a:lnTo>
                  <a:lnTo>
                    <a:pt x="61603" y="24925"/>
                  </a:lnTo>
                  <a:lnTo>
                    <a:pt x="61341" y="24925"/>
                  </a:lnTo>
                  <a:lnTo>
                    <a:pt x="61295" y="24867"/>
                  </a:lnTo>
                  <a:lnTo>
                    <a:pt x="61284" y="24400"/>
                  </a:lnTo>
                  <a:lnTo>
                    <a:pt x="61387" y="24171"/>
                  </a:lnTo>
                  <a:lnTo>
                    <a:pt x="61489" y="23954"/>
                  </a:lnTo>
                  <a:lnTo>
                    <a:pt x="61569" y="23532"/>
                  </a:lnTo>
                  <a:lnTo>
                    <a:pt x="61923" y="23030"/>
                  </a:lnTo>
                  <a:lnTo>
                    <a:pt x="62345" y="22414"/>
                  </a:lnTo>
                  <a:lnTo>
                    <a:pt x="62996" y="21752"/>
                  </a:lnTo>
                  <a:lnTo>
                    <a:pt x="62893" y="21752"/>
                  </a:lnTo>
                  <a:lnTo>
                    <a:pt x="62128" y="22323"/>
                  </a:lnTo>
                  <a:lnTo>
                    <a:pt x="62071" y="22220"/>
                  </a:lnTo>
                  <a:lnTo>
                    <a:pt x="62482" y="21889"/>
                  </a:lnTo>
                  <a:lnTo>
                    <a:pt x="63155" y="21318"/>
                  </a:lnTo>
                  <a:lnTo>
                    <a:pt x="63680" y="21250"/>
                  </a:lnTo>
                  <a:lnTo>
                    <a:pt x="64308" y="21067"/>
                  </a:lnTo>
                  <a:lnTo>
                    <a:pt x="64833" y="21158"/>
                  </a:lnTo>
                  <a:lnTo>
                    <a:pt x="64856" y="21158"/>
                  </a:lnTo>
                  <a:lnTo>
                    <a:pt x="65518" y="21090"/>
                  </a:lnTo>
                  <a:lnTo>
                    <a:pt x="65312" y="20736"/>
                  </a:lnTo>
                  <a:lnTo>
                    <a:pt x="65312" y="20736"/>
                  </a:lnTo>
                  <a:lnTo>
                    <a:pt x="65141" y="20702"/>
                  </a:lnTo>
                  <a:lnTo>
                    <a:pt x="65141" y="20702"/>
                  </a:lnTo>
                  <a:lnTo>
                    <a:pt x="65141" y="20702"/>
                  </a:lnTo>
                  <a:lnTo>
                    <a:pt x="64936" y="20668"/>
                  </a:lnTo>
                  <a:lnTo>
                    <a:pt x="64879" y="20417"/>
                  </a:lnTo>
                  <a:lnTo>
                    <a:pt x="64148" y="20497"/>
                  </a:lnTo>
                  <a:lnTo>
                    <a:pt x="63441" y="20691"/>
                  </a:lnTo>
                  <a:lnTo>
                    <a:pt x="63087" y="20360"/>
                  </a:lnTo>
                  <a:lnTo>
                    <a:pt x="62722" y="20246"/>
                  </a:lnTo>
                  <a:lnTo>
                    <a:pt x="63167" y="19778"/>
                  </a:lnTo>
                  <a:lnTo>
                    <a:pt x="62414" y="20063"/>
                  </a:lnTo>
                  <a:lnTo>
                    <a:pt x="61717" y="20360"/>
                  </a:lnTo>
                  <a:lnTo>
                    <a:pt x="61056" y="20576"/>
                  </a:lnTo>
                  <a:lnTo>
                    <a:pt x="60759" y="20280"/>
                  </a:lnTo>
                  <a:lnTo>
                    <a:pt x="59971" y="20462"/>
                  </a:lnTo>
                  <a:lnTo>
                    <a:pt x="60028" y="20337"/>
                  </a:lnTo>
                  <a:lnTo>
                    <a:pt x="60690" y="19960"/>
                  </a:lnTo>
                  <a:lnTo>
                    <a:pt x="61352" y="19606"/>
                  </a:lnTo>
                  <a:lnTo>
                    <a:pt x="62197" y="19310"/>
                  </a:lnTo>
                  <a:lnTo>
                    <a:pt x="62197" y="19310"/>
                  </a:lnTo>
                  <a:lnTo>
                    <a:pt x="62197" y="19310"/>
                  </a:lnTo>
                  <a:lnTo>
                    <a:pt x="61444" y="19081"/>
                  </a:lnTo>
                  <a:lnTo>
                    <a:pt x="60816" y="19196"/>
                  </a:lnTo>
                  <a:lnTo>
                    <a:pt x="60268" y="18922"/>
                  </a:lnTo>
                  <a:lnTo>
                    <a:pt x="59618" y="18785"/>
                  </a:lnTo>
                  <a:lnTo>
                    <a:pt x="59161" y="18728"/>
                  </a:lnTo>
                  <a:lnTo>
                    <a:pt x="59013" y="18579"/>
                  </a:lnTo>
                  <a:close/>
                  <a:moveTo>
                    <a:pt x="24810" y="11413"/>
                  </a:moveTo>
                  <a:lnTo>
                    <a:pt x="25792" y="11013"/>
                  </a:lnTo>
                  <a:lnTo>
                    <a:pt x="25792" y="10751"/>
                  </a:lnTo>
                  <a:lnTo>
                    <a:pt x="25427" y="10694"/>
                  </a:lnTo>
                  <a:lnTo>
                    <a:pt x="24936" y="10819"/>
                  </a:lnTo>
                  <a:lnTo>
                    <a:pt x="24023" y="11127"/>
                  </a:lnTo>
                  <a:lnTo>
                    <a:pt x="23715" y="11504"/>
                  </a:lnTo>
                  <a:lnTo>
                    <a:pt x="23818" y="11732"/>
                  </a:lnTo>
                  <a:close/>
                  <a:moveTo>
                    <a:pt x="19287" y="9073"/>
                  </a:moveTo>
                  <a:lnTo>
                    <a:pt x="19618" y="8742"/>
                  </a:lnTo>
                  <a:lnTo>
                    <a:pt x="19207" y="8674"/>
                  </a:lnTo>
                  <a:lnTo>
                    <a:pt x="18397" y="8811"/>
                  </a:lnTo>
                  <a:lnTo>
                    <a:pt x="18511" y="9039"/>
                  </a:lnTo>
                  <a:lnTo>
                    <a:pt x="18739" y="9199"/>
                  </a:lnTo>
                  <a:close/>
                  <a:moveTo>
                    <a:pt x="19458" y="5889"/>
                  </a:moveTo>
                  <a:lnTo>
                    <a:pt x="19024" y="6197"/>
                  </a:lnTo>
                  <a:lnTo>
                    <a:pt x="19081" y="6277"/>
                  </a:lnTo>
                  <a:lnTo>
                    <a:pt x="19675" y="6220"/>
                  </a:lnTo>
                  <a:lnTo>
                    <a:pt x="19721" y="6368"/>
                  </a:lnTo>
                  <a:lnTo>
                    <a:pt x="19960" y="6540"/>
                  </a:lnTo>
                  <a:lnTo>
                    <a:pt x="20656" y="6368"/>
                  </a:lnTo>
                  <a:lnTo>
                    <a:pt x="20828" y="6288"/>
                  </a:lnTo>
                  <a:lnTo>
                    <a:pt x="20360" y="6174"/>
                  </a:lnTo>
                  <a:lnTo>
                    <a:pt x="20131" y="5957"/>
                  </a:lnTo>
                  <a:lnTo>
                    <a:pt x="19652" y="6049"/>
                  </a:lnTo>
                  <a:close/>
                  <a:moveTo>
                    <a:pt x="37284" y="149"/>
                  </a:moveTo>
                  <a:lnTo>
                    <a:pt x="36656" y="0"/>
                  </a:lnTo>
                  <a:lnTo>
                    <a:pt x="35196" y="400"/>
                  </a:lnTo>
                  <a:lnTo>
                    <a:pt x="34739" y="354"/>
                  </a:lnTo>
                  <a:lnTo>
                    <a:pt x="33176" y="685"/>
                  </a:lnTo>
                  <a:lnTo>
                    <a:pt x="32491" y="765"/>
                  </a:lnTo>
                  <a:lnTo>
                    <a:pt x="31372" y="1119"/>
                  </a:lnTo>
                  <a:lnTo>
                    <a:pt x="30688" y="1495"/>
                  </a:lnTo>
                  <a:lnTo>
                    <a:pt x="29467" y="1849"/>
                  </a:lnTo>
                  <a:lnTo>
                    <a:pt x="28371" y="1861"/>
                  </a:lnTo>
                  <a:lnTo>
                    <a:pt x="27481" y="2283"/>
                  </a:lnTo>
                  <a:lnTo>
                    <a:pt x="27937" y="2522"/>
                  </a:lnTo>
                  <a:lnTo>
                    <a:pt x="28029" y="2853"/>
                  </a:lnTo>
                  <a:lnTo>
                    <a:pt x="27915" y="3230"/>
                  </a:lnTo>
                  <a:lnTo>
                    <a:pt x="28245" y="3538"/>
                  </a:lnTo>
                  <a:lnTo>
                    <a:pt x="28074" y="4029"/>
                  </a:lnTo>
                  <a:lnTo>
                    <a:pt x="26762" y="4063"/>
                  </a:lnTo>
                  <a:lnTo>
                    <a:pt x="27378" y="3664"/>
                  </a:lnTo>
                  <a:lnTo>
                    <a:pt x="26899" y="3664"/>
                  </a:lnTo>
                  <a:lnTo>
                    <a:pt x="25027" y="4052"/>
                  </a:lnTo>
                  <a:lnTo>
                    <a:pt x="23726" y="4371"/>
                  </a:lnTo>
                  <a:lnTo>
                    <a:pt x="23863" y="4851"/>
                  </a:lnTo>
                  <a:lnTo>
                    <a:pt x="23692" y="5159"/>
                  </a:lnTo>
                  <a:lnTo>
                    <a:pt x="24343" y="5364"/>
                  </a:lnTo>
                  <a:lnTo>
                    <a:pt x="25324" y="5261"/>
                  </a:lnTo>
                  <a:lnTo>
                    <a:pt x="25575" y="5444"/>
                  </a:lnTo>
                  <a:lnTo>
                    <a:pt x="25997" y="5261"/>
                  </a:lnTo>
                  <a:lnTo>
                    <a:pt x="26865" y="5090"/>
                  </a:lnTo>
                  <a:lnTo>
                    <a:pt x="27253" y="5090"/>
                  </a:lnTo>
                  <a:lnTo>
                    <a:pt x="26408" y="5387"/>
                  </a:lnTo>
                  <a:lnTo>
                    <a:pt x="26568" y="5535"/>
                  </a:lnTo>
                  <a:lnTo>
                    <a:pt x="26203" y="5900"/>
                  </a:lnTo>
                  <a:lnTo>
                    <a:pt x="25427" y="6163"/>
                  </a:lnTo>
                  <a:lnTo>
                    <a:pt x="25061" y="6083"/>
                  </a:lnTo>
                  <a:lnTo>
                    <a:pt x="24069" y="6471"/>
                  </a:lnTo>
                  <a:lnTo>
                    <a:pt x="23806" y="6345"/>
                  </a:lnTo>
                  <a:lnTo>
                    <a:pt x="23224" y="6403"/>
                  </a:lnTo>
                  <a:lnTo>
                    <a:pt x="22471" y="6825"/>
                  </a:lnTo>
                  <a:lnTo>
                    <a:pt x="21387" y="7270"/>
                  </a:lnTo>
                  <a:lnTo>
                    <a:pt x="20554" y="7761"/>
                  </a:lnTo>
                  <a:lnTo>
                    <a:pt x="20599" y="8103"/>
                  </a:lnTo>
                  <a:lnTo>
                    <a:pt x="20029" y="8571"/>
                  </a:lnTo>
                  <a:lnTo>
                    <a:pt x="20234" y="8765"/>
                  </a:lnTo>
                  <a:lnTo>
                    <a:pt x="20303" y="9153"/>
                  </a:lnTo>
                  <a:lnTo>
                    <a:pt x="21330" y="8993"/>
                  </a:lnTo>
                  <a:lnTo>
                    <a:pt x="21387" y="9301"/>
                  </a:lnTo>
                  <a:lnTo>
                    <a:pt x="20919" y="9598"/>
                  </a:lnTo>
                  <a:lnTo>
                    <a:pt x="20405" y="10100"/>
                  </a:lnTo>
                  <a:lnTo>
                    <a:pt x="20805" y="10100"/>
                  </a:lnTo>
                  <a:lnTo>
                    <a:pt x="21832" y="9769"/>
                  </a:lnTo>
                  <a:lnTo>
                    <a:pt x="21604" y="10180"/>
                  </a:lnTo>
                  <a:lnTo>
                    <a:pt x="22117" y="9883"/>
                  </a:lnTo>
                  <a:lnTo>
                    <a:pt x="22060" y="10306"/>
                  </a:lnTo>
                  <a:lnTo>
                    <a:pt x="22745" y="9997"/>
                  </a:lnTo>
                  <a:lnTo>
                    <a:pt x="22802" y="10157"/>
                  </a:lnTo>
                  <a:lnTo>
                    <a:pt x="23829" y="9895"/>
                  </a:lnTo>
                  <a:lnTo>
                    <a:pt x="22939" y="10385"/>
                  </a:lnTo>
                  <a:lnTo>
                    <a:pt x="22129" y="11024"/>
                  </a:lnTo>
                  <a:lnTo>
                    <a:pt x="21318" y="11321"/>
                  </a:lnTo>
                  <a:lnTo>
                    <a:pt x="20987" y="11492"/>
                  </a:lnTo>
                  <a:lnTo>
                    <a:pt x="19515" y="12006"/>
                  </a:lnTo>
                  <a:lnTo>
                    <a:pt x="18819" y="12348"/>
                  </a:lnTo>
                  <a:lnTo>
                    <a:pt x="17895" y="12451"/>
                  </a:lnTo>
                  <a:lnTo>
                    <a:pt x="16674" y="12919"/>
                  </a:lnTo>
                  <a:lnTo>
                    <a:pt x="15738" y="13181"/>
                  </a:lnTo>
                  <a:lnTo>
                    <a:pt x="14585" y="13581"/>
                  </a:lnTo>
                  <a:lnTo>
                    <a:pt x="14528" y="13718"/>
                  </a:lnTo>
                  <a:lnTo>
                    <a:pt x="15955" y="13478"/>
                  </a:lnTo>
                  <a:lnTo>
                    <a:pt x="16810" y="13193"/>
                  </a:lnTo>
                  <a:lnTo>
                    <a:pt x="17792" y="12907"/>
                  </a:lnTo>
                  <a:lnTo>
                    <a:pt x="18659" y="12668"/>
                  </a:lnTo>
                  <a:lnTo>
                    <a:pt x="19059" y="12736"/>
                  </a:lnTo>
                  <a:lnTo>
                    <a:pt x="20211" y="12360"/>
                  </a:lnTo>
                  <a:lnTo>
                    <a:pt x="20862" y="11960"/>
                  </a:lnTo>
                  <a:lnTo>
                    <a:pt x="22357" y="11527"/>
                  </a:lnTo>
                  <a:lnTo>
                    <a:pt x="22916" y="11150"/>
                  </a:lnTo>
                  <a:lnTo>
                    <a:pt x="23852" y="10899"/>
                  </a:lnTo>
                  <a:lnTo>
                    <a:pt x="24936" y="10534"/>
                  </a:lnTo>
                  <a:lnTo>
                    <a:pt x="26203" y="9940"/>
                  </a:lnTo>
                  <a:lnTo>
                    <a:pt x="26180" y="9529"/>
                  </a:lnTo>
                  <a:lnTo>
                    <a:pt x="27766" y="8936"/>
                  </a:lnTo>
                  <a:lnTo>
                    <a:pt x="28816" y="8388"/>
                  </a:lnTo>
                  <a:lnTo>
                    <a:pt x="30128" y="7932"/>
                  </a:lnTo>
                  <a:lnTo>
                    <a:pt x="30071" y="8126"/>
                  </a:lnTo>
                  <a:lnTo>
                    <a:pt x="29113" y="8388"/>
                  </a:lnTo>
                  <a:lnTo>
                    <a:pt x="27937" y="9199"/>
                  </a:lnTo>
                  <a:lnTo>
                    <a:pt x="27481" y="9701"/>
                  </a:lnTo>
                  <a:lnTo>
                    <a:pt x="28394" y="9507"/>
                  </a:lnTo>
                  <a:lnTo>
                    <a:pt x="29261" y="9244"/>
                  </a:lnTo>
                  <a:lnTo>
                    <a:pt x="30186" y="9050"/>
                  </a:lnTo>
                  <a:lnTo>
                    <a:pt x="30596" y="9016"/>
                  </a:lnTo>
                  <a:lnTo>
                    <a:pt x="31099" y="8423"/>
                  </a:lnTo>
                  <a:lnTo>
                    <a:pt x="32000" y="8251"/>
                  </a:lnTo>
                  <a:lnTo>
                    <a:pt x="32365" y="8617"/>
                  </a:lnTo>
                  <a:lnTo>
                    <a:pt x="33233" y="8993"/>
                  </a:lnTo>
                  <a:lnTo>
                    <a:pt x="34180" y="8925"/>
                  </a:lnTo>
                  <a:lnTo>
                    <a:pt x="34990" y="9210"/>
                  </a:lnTo>
                  <a:lnTo>
                    <a:pt x="35447" y="9370"/>
                  </a:lnTo>
                  <a:lnTo>
                    <a:pt x="35926" y="10237"/>
                  </a:lnTo>
                  <a:lnTo>
                    <a:pt x="36451" y="10477"/>
                  </a:lnTo>
                  <a:lnTo>
                    <a:pt x="37467" y="10511"/>
                  </a:lnTo>
                  <a:lnTo>
                    <a:pt x="38049" y="10568"/>
                  </a:lnTo>
                  <a:lnTo>
                    <a:pt x="37661" y="11355"/>
                  </a:lnTo>
                  <a:lnTo>
                    <a:pt x="37889" y="12052"/>
                  </a:lnTo>
                  <a:lnTo>
                    <a:pt x="37421" y="12793"/>
                  </a:lnTo>
                  <a:lnTo>
                    <a:pt x="37775" y="13067"/>
                  </a:lnTo>
                  <a:lnTo>
                    <a:pt x="37866" y="13375"/>
                  </a:lnTo>
                  <a:lnTo>
                    <a:pt x="37866" y="13375"/>
                  </a:lnTo>
                  <a:lnTo>
                    <a:pt x="38596" y="12965"/>
                  </a:lnTo>
                  <a:lnTo>
                    <a:pt x="39030" y="12440"/>
                  </a:lnTo>
                  <a:lnTo>
                    <a:pt x="38380" y="11892"/>
                  </a:lnTo>
                  <a:lnTo>
                    <a:pt x="38596" y="10922"/>
                  </a:lnTo>
                  <a:lnTo>
                    <a:pt x="38745" y="10328"/>
                  </a:lnTo>
                  <a:lnTo>
                    <a:pt x="38505" y="9940"/>
                  </a:lnTo>
                  <a:lnTo>
                    <a:pt x="38402" y="9598"/>
                  </a:lnTo>
                  <a:lnTo>
                    <a:pt x="38482" y="9164"/>
                  </a:lnTo>
                  <a:lnTo>
                    <a:pt x="37569" y="9438"/>
                  </a:lnTo>
                  <a:lnTo>
                    <a:pt x="36485" y="9906"/>
                  </a:lnTo>
                  <a:lnTo>
                    <a:pt x="36451" y="9358"/>
                  </a:lnTo>
                  <a:lnTo>
                    <a:pt x="36371" y="8982"/>
                  </a:lnTo>
                  <a:lnTo>
                    <a:pt x="35983" y="8753"/>
                  </a:lnTo>
                  <a:lnTo>
                    <a:pt x="35378" y="8742"/>
                  </a:lnTo>
                  <a:lnTo>
                    <a:pt x="40434" y="4120"/>
                  </a:lnTo>
                  <a:lnTo>
                    <a:pt x="43903" y="1233"/>
                  </a:lnTo>
                  <a:lnTo>
                    <a:pt x="43903" y="1233"/>
                  </a:lnTo>
                  <a:lnTo>
                    <a:pt x="43903" y="1233"/>
                  </a:lnTo>
                  <a:lnTo>
                    <a:pt x="43401" y="1142"/>
                  </a:lnTo>
                  <a:lnTo>
                    <a:pt x="42819" y="913"/>
                  </a:lnTo>
                  <a:lnTo>
                    <a:pt x="41883" y="1027"/>
                  </a:lnTo>
                  <a:lnTo>
                    <a:pt x="41575" y="925"/>
                  </a:lnTo>
                  <a:lnTo>
                    <a:pt x="40559" y="856"/>
                  </a:lnTo>
                  <a:lnTo>
                    <a:pt x="39681" y="628"/>
                  </a:lnTo>
                  <a:lnTo>
                    <a:pt x="38996" y="696"/>
                  </a:lnTo>
                  <a:lnTo>
                    <a:pt x="38288" y="571"/>
                  </a:lnTo>
                  <a:lnTo>
                    <a:pt x="38574" y="400"/>
                  </a:lnTo>
                  <a:lnTo>
                    <a:pt x="37683" y="354"/>
                  </a:lnTo>
                  <a:lnTo>
                    <a:pt x="37204" y="49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89" name="Google Shape;360;p29">
              <a:extLst>
                <a:ext uri="{FF2B5EF4-FFF2-40B4-BE49-F238E27FC236}">
                  <a16:creationId xmlns:a16="http://schemas.microsoft.com/office/drawing/2014/main" id="{778837E8-8F6B-444C-81E4-33B8CADA559B}"/>
                </a:ext>
              </a:extLst>
            </p:cNvPr>
            <p:cNvSpPr/>
            <p:nvPr/>
          </p:nvSpPr>
          <p:spPr>
            <a:xfrm>
              <a:off x="4725950" y="2079875"/>
              <a:ext cx="338975" cy="188625"/>
            </a:xfrm>
            <a:custGeom>
              <a:avLst/>
              <a:gdLst/>
              <a:ahLst/>
              <a:cxnLst/>
              <a:rect l="l" t="t" r="r" b="b"/>
              <a:pathLst>
                <a:path w="13559" h="7545" extrusionOk="0">
                  <a:moveTo>
                    <a:pt x="11618" y="2911"/>
                  </a:moveTo>
                  <a:lnTo>
                    <a:pt x="11253" y="3082"/>
                  </a:lnTo>
                  <a:lnTo>
                    <a:pt x="10489" y="3698"/>
                  </a:lnTo>
                  <a:lnTo>
                    <a:pt x="10352" y="4337"/>
                  </a:lnTo>
                  <a:lnTo>
                    <a:pt x="10089" y="4337"/>
                  </a:lnTo>
                  <a:lnTo>
                    <a:pt x="9758" y="3904"/>
                  </a:lnTo>
                  <a:lnTo>
                    <a:pt x="8811" y="3881"/>
                  </a:lnTo>
                  <a:lnTo>
                    <a:pt x="8446" y="3162"/>
                  </a:lnTo>
                  <a:lnTo>
                    <a:pt x="8092" y="3150"/>
                  </a:lnTo>
                  <a:lnTo>
                    <a:pt x="7875" y="2272"/>
                  </a:lnTo>
                  <a:lnTo>
                    <a:pt x="6803" y="1621"/>
                  </a:lnTo>
                  <a:lnTo>
                    <a:pt x="5581" y="1701"/>
                  </a:lnTo>
                  <a:lnTo>
                    <a:pt x="4771" y="1827"/>
                  </a:lnTo>
                  <a:lnTo>
                    <a:pt x="3835" y="1039"/>
                  </a:lnTo>
                  <a:lnTo>
                    <a:pt x="3151" y="708"/>
                  </a:lnTo>
                  <a:lnTo>
                    <a:pt x="1861" y="69"/>
                  </a:lnTo>
                  <a:lnTo>
                    <a:pt x="1701" y="1"/>
                  </a:lnTo>
                  <a:lnTo>
                    <a:pt x="1" y="514"/>
                  </a:lnTo>
                  <a:lnTo>
                    <a:pt x="891" y="3767"/>
                  </a:lnTo>
                  <a:lnTo>
                    <a:pt x="1713" y="3755"/>
                  </a:lnTo>
                  <a:lnTo>
                    <a:pt x="1484" y="3310"/>
                  </a:lnTo>
                  <a:lnTo>
                    <a:pt x="2032" y="2991"/>
                  </a:lnTo>
                  <a:lnTo>
                    <a:pt x="2500" y="2477"/>
                  </a:lnTo>
                  <a:lnTo>
                    <a:pt x="3607" y="2945"/>
                  </a:lnTo>
                  <a:lnTo>
                    <a:pt x="3881" y="3653"/>
                  </a:lnTo>
                  <a:lnTo>
                    <a:pt x="4212" y="3835"/>
                  </a:lnTo>
                  <a:lnTo>
                    <a:pt x="4999" y="3789"/>
                  </a:lnTo>
                  <a:lnTo>
                    <a:pt x="5285" y="3961"/>
                  </a:lnTo>
                  <a:lnTo>
                    <a:pt x="5890" y="4874"/>
                  </a:lnTo>
                  <a:lnTo>
                    <a:pt x="6894" y="5501"/>
                  </a:lnTo>
                  <a:lnTo>
                    <a:pt x="7487" y="5935"/>
                  </a:lnTo>
                  <a:lnTo>
                    <a:pt x="8377" y="6391"/>
                  </a:lnTo>
                  <a:lnTo>
                    <a:pt x="9473" y="6768"/>
                  </a:lnTo>
                  <a:lnTo>
                    <a:pt x="9587" y="7339"/>
                  </a:lnTo>
                  <a:lnTo>
                    <a:pt x="9998" y="7339"/>
                  </a:lnTo>
                  <a:lnTo>
                    <a:pt x="10614" y="7544"/>
                  </a:lnTo>
                  <a:lnTo>
                    <a:pt x="10797" y="6597"/>
                  </a:lnTo>
                  <a:lnTo>
                    <a:pt x="10454" y="5935"/>
                  </a:lnTo>
                  <a:lnTo>
                    <a:pt x="9861" y="5707"/>
                  </a:lnTo>
                  <a:lnTo>
                    <a:pt x="9941" y="5307"/>
                  </a:lnTo>
                  <a:lnTo>
                    <a:pt x="10569" y="5342"/>
                  </a:lnTo>
                  <a:lnTo>
                    <a:pt x="10785" y="4851"/>
                  </a:lnTo>
                  <a:lnTo>
                    <a:pt x="10854" y="4280"/>
                  </a:lnTo>
                  <a:lnTo>
                    <a:pt x="11767" y="4063"/>
                  </a:lnTo>
                  <a:lnTo>
                    <a:pt x="11744" y="4474"/>
                  </a:lnTo>
                  <a:lnTo>
                    <a:pt x="11927" y="4737"/>
                  </a:lnTo>
                  <a:lnTo>
                    <a:pt x="12223" y="4702"/>
                  </a:lnTo>
                  <a:lnTo>
                    <a:pt x="12805" y="4794"/>
                  </a:lnTo>
                  <a:lnTo>
                    <a:pt x="13559" y="4143"/>
                  </a:lnTo>
                  <a:lnTo>
                    <a:pt x="12543" y="3675"/>
                  </a:lnTo>
                  <a:lnTo>
                    <a:pt x="12086" y="3904"/>
                  </a:lnTo>
                  <a:lnTo>
                    <a:pt x="11424" y="3573"/>
                  </a:lnTo>
                  <a:lnTo>
                    <a:pt x="11870" y="299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90" name="Google Shape;361;p29">
              <a:extLst>
                <a:ext uri="{FF2B5EF4-FFF2-40B4-BE49-F238E27FC236}">
                  <a16:creationId xmlns:a16="http://schemas.microsoft.com/office/drawing/2014/main" id="{0E714FA9-3553-4958-9103-9BDF4DC93325}"/>
                </a:ext>
              </a:extLst>
            </p:cNvPr>
            <p:cNvSpPr/>
            <p:nvPr/>
          </p:nvSpPr>
          <p:spPr>
            <a:xfrm>
              <a:off x="2257775" y="2836225"/>
              <a:ext cx="269925" cy="259650"/>
            </a:xfrm>
            <a:custGeom>
              <a:avLst/>
              <a:gdLst/>
              <a:ahLst/>
              <a:cxnLst/>
              <a:rect l="l" t="t" r="r" b="b"/>
              <a:pathLst>
                <a:path w="10797" h="10386" extrusionOk="0">
                  <a:moveTo>
                    <a:pt x="10797" y="3435"/>
                  </a:moveTo>
                  <a:lnTo>
                    <a:pt x="10477" y="3230"/>
                  </a:lnTo>
                  <a:lnTo>
                    <a:pt x="10067" y="3253"/>
                  </a:lnTo>
                  <a:lnTo>
                    <a:pt x="9964" y="2522"/>
                  </a:lnTo>
                  <a:lnTo>
                    <a:pt x="9382" y="2066"/>
                  </a:lnTo>
                  <a:lnTo>
                    <a:pt x="8754" y="2009"/>
                  </a:lnTo>
                  <a:lnTo>
                    <a:pt x="8503" y="1587"/>
                  </a:lnTo>
                  <a:lnTo>
                    <a:pt x="9188" y="1313"/>
                  </a:lnTo>
                  <a:lnTo>
                    <a:pt x="8229" y="1324"/>
                  </a:lnTo>
                  <a:lnTo>
                    <a:pt x="7248" y="1381"/>
                  </a:lnTo>
                  <a:lnTo>
                    <a:pt x="7213" y="1609"/>
                  </a:lnTo>
                  <a:lnTo>
                    <a:pt x="6757" y="1883"/>
                  </a:lnTo>
                  <a:lnTo>
                    <a:pt x="6164" y="1781"/>
                  </a:lnTo>
                  <a:lnTo>
                    <a:pt x="5718" y="1370"/>
                  </a:lnTo>
                  <a:lnTo>
                    <a:pt x="4863" y="1472"/>
                  </a:lnTo>
                  <a:lnTo>
                    <a:pt x="4144" y="1461"/>
                  </a:lnTo>
                  <a:lnTo>
                    <a:pt x="4132" y="1153"/>
                  </a:lnTo>
                  <a:lnTo>
                    <a:pt x="3630" y="662"/>
                  </a:lnTo>
                  <a:lnTo>
                    <a:pt x="3082" y="639"/>
                  </a:lnTo>
                  <a:lnTo>
                    <a:pt x="2831" y="0"/>
                  </a:lnTo>
                  <a:lnTo>
                    <a:pt x="2534" y="286"/>
                  </a:lnTo>
                  <a:lnTo>
                    <a:pt x="2626" y="719"/>
                  </a:lnTo>
                  <a:lnTo>
                    <a:pt x="1610" y="1084"/>
                  </a:lnTo>
                  <a:lnTo>
                    <a:pt x="1610" y="1769"/>
                  </a:lnTo>
                  <a:lnTo>
                    <a:pt x="1838" y="2089"/>
                  </a:lnTo>
                  <a:lnTo>
                    <a:pt x="1621" y="2739"/>
                  </a:lnTo>
                  <a:lnTo>
                    <a:pt x="1279" y="2796"/>
                  </a:lnTo>
                  <a:lnTo>
                    <a:pt x="1005" y="2089"/>
                  </a:lnTo>
                  <a:lnTo>
                    <a:pt x="1393" y="1552"/>
                  </a:lnTo>
                  <a:lnTo>
                    <a:pt x="1439" y="1084"/>
                  </a:lnTo>
                  <a:lnTo>
                    <a:pt x="1199" y="674"/>
                  </a:lnTo>
                  <a:lnTo>
                    <a:pt x="1667" y="559"/>
                  </a:lnTo>
                  <a:lnTo>
                    <a:pt x="1713" y="343"/>
                  </a:lnTo>
                  <a:lnTo>
                    <a:pt x="1176" y="502"/>
                  </a:lnTo>
                  <a:lnTo>
                    <a:pt x="948" y="959"/>
                  </a:lnTo>
                  <a:lnTo>
                    <a:pt x="640" y="1210"/>
                  </a:lnTo>
                  <a:lnTo>
                    <a:pt x="378" y="1552"/>
                  </a:lnTo>
                  <a:lnTo>
                    <a:pt x="252" y="2203"/>
                  </a:lnTo>
                  <a:lnTo>
                    <a:pt x="1" y="2728"/>
                  </a:lnTo>
                  <a:lnTo>
                    <a:pt x="412" y="2796"/>
                  </a:lnTo>
                  <a:lnTo>
                    <a:pt x="492" y="3207"/>
                  </a:lnTo>
                  <a:lnTo>
                    <a:pt x="651" y="3413"/>
                  </a:lnTo>
                  <a:lnTo>
                    <a:pt x="709" y="3766"/>
                  </a:lnTo>
                  <a:lnTo>
                    <a:pt x="594" y="4109"/>
                  </a:lnTo>
                  <a:lnTo>
                    <a:pt x="629" y="4291"/>
                  </a:lnTo>
                  <a:lnTo>
                    <a:pt x="811" y="4383"/>
                  </a:lnTo>
                  <a:lnTo>
                    <a:pt x="994" y="4691"/>
                  </a:lnTo>
                  <a:lnTo>
                    <a:pt x="2021" y="4611"/>
                  </a:lnTo>
                  <a:lnTo>
                    <a:pt x="2477" y="4725"/>
                  </a:lnTo>
                  <a:lnTo>
                    <a:pt x="3025" y="5501"/>
                  </a:lnTo>
                  <a:lnTo>
                    <a:pt x="3345" y="5410"/>
                  </a:lnTo>
                  <a:lnTo>
                    <a:pt x="3915" y="5444"/>
                  </a:lnTo>
                  <a:lnTo>
                    <a:pt x="4372" y="5353"/>
                  </a:lnTo>
                  <a:lnTo>
                    <a:pt x="4657" y="5501"/>
                  </a:lnTo>
                  <a:lnTo>
                    <a:pt x="4486" y="5992"/>
                  </a:lnTo>
                  <a:lnTo>
                    <a:pt x="4303" y="6288"/>
                  </a:lnTo>
                  <a:lnTo>
                    <a:pt x="4235" y="6950"/>
                  </a:lnTo>
                  <a:lnTo>
                    <a:pt x="4372" y="7544"/>
                  </a:lnTo>
                  <a:lnTo>
                    <a:pt x="4589" y="7818"/>
                  </a:lnTo>
                  <a:lnTo>
                    <a:pt x="4623" y="8034"/>
                  </a:lnTo>
                  <a:lnTo>
                    <a:pt x="4201" y="8468"/>
                  </a:lnTo>
                  <a:lnTo>
                    <a:pt x="4486" y="8674"/>
                  </a:lnTo>
                  <a:lnTo>
                    <a:pt x="4691" y="8982"/>
                  </a:lnTo>
                  <a:lnTo>
                    <a:pt x="4931" y="9895"/>
                  </a:lnTo>
                  <a:lnTo>
                    <a:pt x="5365" y="10385"/>
                  </a:lnTo>
                  <a:lnTo>
                    <a:pt x="5992" y="10317"/>
                  </a:lnTo>
                  <a:lnTo>
                    <a:pt x="6141" y="10043"/>
                  </a:lnTo>
                  <a:lnTo>
                    <a:pt x="6746" y="9826"/>
                  </a:lnTo>
                  <a:lnTo>
                    <a:pt x="7077" y="9689"/>
                  </a:lnTo>
                  <a:lnTo>
                    <a:pt x="7168" y="9301"/>
                  </a:lnTo>
                  <a:lnTo>
                    <a:pt x="7761" y="9039"/>
                  </a:lnTo>
                  <a:lnTo>
                    <a:pt x="7716" y="8845"/>
                  </a:lnTo>
                  <a:lnTo>
                    <a:pt x="7031" y="8776"/>
                  </a:lnTo>
                  <a:lnTo>
                    <a:pt x="6928" y="8206"/>
                  </a:lnTo>
                  <a:lnTo>
                    <a:pt x="6974" y="7589"/>
                  </a:lnTo>
                  <a:lnTo>
                    <a:pt x="6631" y="7361"/>
                  </a:lnTo>
                  <a:lnTo>
                    <a:pt x="6768" y="7270"/>
                  </a:lnTo>
                  <a:lnTo>
                    <a:pt x="7373" y="7384"/>
                  </a:lnTo>
                  <a:lnTo>
                    <a:pt x="8001" y="7612"/>
                  </a:lnTo>
                  <a:lnTo>
                    <a:pt x="8241" y="7407"/>
                  </a:lnTo>
                  <a:lnTo>
                    <a:pt x="8811" y="7258"/>
                  </a:lnTo>
                  <a:lnTo>
                    <a:pt x="9724" y="6916"/>
                  </a:lnTo>
                  <a:lnTo>
                    <a:pt x="10021" y="6574"/>
                  </a:lnTo>
                  <a:lnTo>
                    <a:pt x="9930" y="6323"/>
                  </a:lnTo>
                  <a:lnTo>
                    <a:pt x="9393" y="5638"/>
                  </a:lnTo>
                  <a:lnTo>
                    <a:pt x="9621" y="5375"/>
                  </a:lnTo>
                  <a:lnTo>
                    <a:pt x="9621" y="4965"/>
                  </a:lnTo>
                  <a:lnTo>
                    <a:pt x="10112" y="4805"/>
                  </a:lnTo>
                  <a:lnTo>
                    <a:pt x="10329" y="4634"/>
                  </a:lnTo>
                  <a:lnTo>
                    <a:pt x="10055" y="4314"/>
                  </a:lnTo>
                  <a:lnTo>
                    <a:pt x="10135" y="398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91" name="Google Shape;362;p29">
              <a:extLst>
                <a:ext uri="{FF2B5EF4-FFF2-40B4-BE49-F238E27FC236}">
                  <a16:creationId xmlns:a16="http://schemas.microsoft.com/office/drawing/2014/main" id="{B0FB94CA-810E-45AA-B96E-E445CC3A6BC3}"/>
                </a:ext>
              </a:extLst>
            </p:cNvPr>
            <p:cNvSpPr/>
            <p:nvPr/>
          </p:nvSpPr>
          <p:spPr>
            <a:xfrm>
              <a:off x="5724250" y="2582300"/>
              <a:ext cx="172625" cy="334400"/>
            </a:xfrm>
            <a:custGeom>
              <a:avLst/>
              <a:gdLst/>
              <a:ahLst/>
              <a:cxnLst/>
              <a:rect l="l" t="t" r="r" b="b"/>
              <a:pathLst>
                <a:path w="6905" h="13376" extrusionOk="0">
                  <a:moveTo>
                    <a:pt x="4748" y="1632"/>
                  </a:moveTo>
                  <a:lnTo>
                    <a:pt x="3903" y="1404"/>
                  </a:lnTo>
                  <a:lnTo>
                    <a:pt x="3481" y="1028"/>
                  </a:lnTo>
                  <a:lnTo>
                    <a:pt x="3504" y="503"/>
                  </a:lnTo>
                  <a:lnTo>
                    <a:pt x="2762" y="343"/>
                  </a:lnTo>
                  <a:lnTo>
                    <a:pt x="2340" y="0"/>
                  </a:lnTo>
                  <a:lnTo>
                    <a:pt x="1758" y="480"/>
                  </a:lnTo>
                  <a:lnTo>
                    <a:pt x="993" y="582"/>
                  </a:lnTo>
                  <a:lnTo>
                    <a:pt x="388" y="582"/>
                  </a:lnTo>
                  <a:lnTo>
                    <a:pt x="0" y="799"/>
                  </a:lnTo>
                  <a:lnTo>
                    <a:pt x="571" y="1530"/>
                  </a:lnTo>
                  <a:lnTo>
                    <a:pt x="1050" y="2340"/>
                  </a:lnTo>
                  <a:lnTo>
                    <a:pt x="2020" y="2351"/>
                  </a:lnTo>
                  <a:lnTo>
                    <a:pt x="2454" y="3139"/>
                  </a:lnTo>
                  <a:lnTo>
                    <a:pt x="1986" y="3378"/>
                  </a:lnTo>
                  <a:lnTo>
                    <a:pt x="1792" y="3709"/>
                  </a:lnTo>
                  <a:lnTo>
                    <a:pt x="2842" y="4257"/>
                  </a:lnTo>
                  <a:lnTo>
                    <a:pt x="3652" y="5319"/>
                  </a:lnTo>
                  <a:lnTo>
                    <a:pt x="4268" y="6117"/>
                  </a:lnTo>
                  <a:lnTo>
                    <a:pt x="4953" y="6745"/>
                  </a:lnTo>
                  <a:lnTo>
                    <a:pt x="5238" y="7396"/>
                  </a:lnTo>
                  <a:lnTo>
                    <a:pt x="5204" y="8297"/>
                  </a:lnTo>
                  <a:lnTo>
                    <a:pt x="5467" y="8902"/>
                  </a:lnTo>
                  <a:lnTo>
                    <a:pt x="5478" y="9998"/>
                  </a:lnTo>
                  <a:lnTo>
                    <a:pt x="4200" y="10694"/>
                  </a:lnTo>
                  <a:lnTo>
                    <a:pt x="4599" y="11241"/>
                  </a:lnTo>
                  <a:lnTo>
                    <a:pt x="3778" y="11310"/>
                  </a:lnTo>
                  <a:lnTo>
                    <a:pt x="3104" y="11664"/>
                  </a:lnTo>
                  <a:lnTo>
                    <a:pt x="3743" y="12200"/>
                  </a:lnTo>
                  <a:lnTo>
                    <a:pt x="3561" y="12805"/>
                  </a:lnTo>
                  <a:lnTo>
                    <a:pt x="3892" y="13376"/>
                  </a:lnTo>
                  <a:lnTo>
                    <a:pt x="4828" y="12542"/>
                  </a:lnTo>
                  <a:lnTo>
                    <a:pt x="5421" y="11778"/>
                  </a:lnTo>
                  <a:lnTo>
                    <a:pt x="6288" y="11196"/>
                  </a:lnTo>
                  <a:lnTo>
                    <a:pt x="6905" y="10602"/>
                  </a:lnTo>
                  <a:lnTo>
                    <a:pt x="6847" y="9005"/>
                  </a:lnTo>
                  <a:lnTo>
                    <a:pt x="6277" y="7327"/>
                  </a:lnTo>
                  <a:lnTo>
                    <a:pt x="5683" y="6608"/>
                  </a:lnTo>
                  <a:lnTo>
                    <a:pt x="4885" y="6038"/>
                  </a:lnTo>
                  <a:lnTo>
                    <a:pt x="3972" y="4851"/>
                  </a:lnTo>
                  <a:lnTo>
                    <a:pt x="3218" y="3892"/>
                  </a:lnTo>
                  <a:lnTo>
                    <a:pt x="3287" y="3264"/>
                  </a:lnTo>
                  <a:lnTo>
                    <a:pt x="3823" y="240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92" name="Google Shape;363;p29">
              <a:extLst>
                <a:ext uri="{FF2B5EF4-FFF2-40B4-BE49-F238E27FC236}">
                  <a16:creationId xmlns:a16="http://schemas.microsoft.com/office/drawing/2014/main" id="{89C40DCB-14FF-424A-B2FB-2E78A04A2003}"/>
                </a:ext>
              </a:extLst>
            </p:cNvPr>
            <p:cNvSpPr/>
            <p:nvPr/>
          </p:nvSpPr>
          <p:spPr>
            <a:xfrm>
              <a:off x="7026375" y="3443925"/>
              <a:ext cx="18575" cy="45100"/>
            </a:xfrm>
            <a:custGeom>
              <a:avLst/>
              <a:gdLst/>
              <a:ahLst/>
              <a:cxnLst/>
              <a:rect l="l" t="t" r="r" b="b"/>
              <a:pathLst>
                <a:path w="743" h="1804" extrusionOk="0">
                  <a:moveTo>
                    <a:pt x="742" y="1666"/>
                  </a:moveTo>
                  <a:lnTo>
                    <a:pt x="354" y="1153"/>
                  </a:lnTo>
                  <a:lnTo>
                    <a:pt x="263" y="1404"/>
                  </a:lnTo>
                  <a:lnTo>
                    <a:pt x="457" y="1803"/>
                  </a:lnTo>
                  <a:close/>
                  <a:moveTo>
                    <a:pt x="457" y="286"/>
                  </a:moveTo>
                  <a:lnTo>
                    <a:pt x="126" y="0"/>
                  </a:lnTo>
                  <a:lnTo>
                    <a:pt x="0" y="696"/>
                  </a:lnTo>
                  <a:lnTo>
                    <a:pt x="69" y="959"/>
                  </a:lnTo>
                  <a:lnTo>
                    <a:pt x="240" y="902"/>
                  </a:lnTo>
                  <a:lnTo>
                    <a:pt x="423" y="1016"/>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93" name="Google Shape;364;p29">
              <a:extLst>
                <a:ext uri="{FF2B5EF4-FFF2-40B4-BE49-F238E27FC236}">
                  <a16:creationId xmlns:a16="http://schemas.microsoft.com/office/drawing/2014/main" id="{4C60B1BC-FD3C-4929-B13A-846756ACA4E7}"/>
                </a:ext>
              </a:extLst>
            </p:cNvPr>
            <p:cNvSpPr/>
            <p:nvPr/>
          </p:nvSpPr>
          <p:spPr>
            <a:xfrm>
              <a:off x="4566475" y="2681025"/>
              <a:ext cx="206300" cy="145525"/>
            </a:xfrm>
            <a:custGeom>
              <a:avLst/>
              <a:gdLst/>
              <a:ahLst/>
              <a:cxnLst/>
              <a:rect l="l" t="t" r="r" b="b"/>
              <a:pathLst>
                <a:path w="8252" h="5821" extrusionOk="0">
                  <a:moveTo>
                    <a:pt x="8251" y="2134"/>
                  </a:moveTo>
                  <a:lnTo>
                    <a:pt x="7955" y="1506"/>
                  </a:lnTo>
                  <a:lnTo>
                    <a:pt x="7213" y="0"/>
                  </a:lnTo>
                  <a:lnTo>
                    <a:pt x="4965" y="342"/>
                  </a:lnTo>
                  <a:lnTo>
                    <a:pt x="4257" y="765"/>
                  </a:lnTo>
                  <a:lnTo>
                    <a:pt x="3755" y="1712"/>
                  </a:lnTo>
                  <a:lnTo>
                    <a:pt x="3401" y="1860"/>
                  </a:lnTo>
                  <a:lnTo>
                    <a:pt x="3173" y="1552"/>
                  </a:lnTo>
                  <a:lnTo>
                    <a:pt x="2876" y="1598"/>
                  </a:lnTo>
                  <a:lnTo>
                    <a:pt x="2100" y="1518"/>
                  </a:lnTo>
                  <a:lnTo>
                    <a:pt x="1963" y="1415"/>
                  </a:lnTo>
                  <a:lnTo>
                    <a:pt x="1050" y="1438"/>
                  </a:lnTo>
                  <a:lnTo>
                    <a:pt x="834" y="1529"/>
                  </a:lnTo>
                  <a:lnTo>
                    <a:pt x="491" y="1290"/>
                  </a:lnTo>
                  <a:lnTo>
                    <a:pt x="320" y="1735"/>
                  </a:lnTo>
                  <a:lnTo>
                    <a:pt x="411" y="2111"/>
                  </a:lnTo>
                  <a:lnTo>
                    <a:pt x="92" y="2419"/>
                  </a:lnTo>
                  <a:lnTo>
                    <a:pt x="149" y="2796"/>
                  </a:lnTo>
                  <a:lnTo>
                    <a:pt x="58" y="2990"/>
                  </a:lnTo>
                  <a:lnTo>
                    <a:pt x="160" y="3401"/>
                  </a:lnTo>
                  <a:lnTo>
                    <a:pt x="0" y="3447"/>
                  </a:lnTo>
                  <a:lnTo>
                    <a:pt x="252" y="3812"/>
                  </a:lnTo>
                  <a:lnTo>
                    <a:pt x="434" y="4485"/>
                  </a:lnTo>
                  <a:lnTo>
                    <a:pt x="571" y="4759"/>
                  </a:lnTo>
                  <a:lnTo>
                    <a:pt x="571" y="5238"/>
                  </a:lnTo>
                  <a:lnTo>
                    <a:pt x="799" y="5775"/>
                  </a:lnTo>
                  <a:lnTo>
                    <a:pt x="1358" y="5820"/>
                  </a:lnTo>
                  <a:lnTo>
                    <a:pt x="1621" y="5695"/>
                  </a:lnTo>
                  <a:lnTo>
                    <a:pt x="1998" y="5729"/>
                  </a:lnTo>
                  <a:lnTo>
                    <a:pt x="2112" y="5478"/>
                  </a:lnTo>
                  <a:lnTo>
                    <a:pt x="2329" y="5421"/>
                  </a:lnTo>
                  <a:lnTo>
                    <a:pt x="2488" y="5181"/>
                  </a:lnTo>
                  <a:lnTo>
                    <a:pt x="2682" y="5124"/>
                  </a:lnTo>
                  <a:lnTo>
                    <a:pt x="3356" y="5078"/>
                  </a:lnTo>
                  <a:lnTo>
                    <a:pt x="3858" y="4907"/>
                  </a:lnTo>
                  <a:lnTo>
                    <a:pt x="4303" y="4531"/>
                  </a:lnTo>
                  <a:lnTo>
                    <a:pt x="4543" y="4588"/>
                  </a:lnTo>
                  <a:lnTo>
                    <a:pt x="4885" y="4542"/>
                  </a:lnTo>
                  <a:lnTo>
                    <a:pt x="5558" y="3903"/>
                  </a:lnTo>
                  <a:lnTo>
                    <a:pt x="6814" y="3469"/>
                  </a:lnTo>
                  <a:lnTo>
                    <a:pt x="7567" y="3081"/>
                  </a:lnTo>
                  <a:lnTo>
                    <a:pt x="7567" y="2785"/>
                  </a:lnTo>
                  <a:lnTo>
                    <a:pt x="7692" y="237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94" name="Google Shape;365;p29">
              <a:extLst>
                <a:ext uri="{FF2B5EF4-FFF2-40B4-BE49-F238E27FC236}">
                  <a16:creationId xmlns:a16="http://schemas.microsoft.com/office/drawing/2014/main" id="{994107F3-3B57-4B46-936E-9A20378C30C5}"/>
                </a:ext>
              </a:extLst>
            </p:cNvPr>
            <p:cNvSpPr/>
            <p:nvPr/>
          </p:nvSpPr>
          <p:spPr>
            <a:xfrm>
              <a:off x="4037225" y="3613400"/>
              <a:ext cx="321850" cy="288750"/>
            </a:xfrm>
            <a:custGeom>
              <a:avLst/>
              <a:gdLst/>
              <a:ahLst/>
              <a:cxnLst/>
              <a:rect l="l" t="t" r="r" b="b"/>
              <a:pathLst>
                <a:path w="12874" h="11550" extrusionOk="0">
                  <a:moveTo>
                    <a:pt x="11835" y="137"/>
                  </a:moveTo>
                  <a:lnTo>
                    <a:pt x="11413" y="57"/>
                  </a:lnTo>
                  <a:lnTo>
                    <a:pt x="11139" y="171"/>
                  </a:lnTo>
                  <a:lnTo>
                    <a:pt x="10774" y="11"/>
                  </a:lnTo>
                  <a:lnTo>
                    <a:pt x="10454" y="0"/>
                  </a:lnTo>
                  <a:lnTo>
                    <a:pt x="9313" y="673"/>
                  </a:lnTo>
                  <a:lnTo>
                    <a:pt x="8571" y="1335"/>
                  </a:lnTo>
                  <a:lnTo>
                    <a:pt x="8286" y="1952"/>
                  </a:lnTo>
                  <a:lnTo>
                    <a:pt x="8046" y="2294"/>
                  </a:lnTo>
                  <a:lnTo>
                    <a:pt x="7624" y="2362"/>
                  </a:lnTo>
                  <a:lnTo>
                    <a:pt x="7453" y="2796"/>
                  </a:lnTo>
                  <a:lnTo>
                    <a:pt x="7362" y="3081"/>
                  </a:lnTo>
                  <a:lnTo>
                    <a:pt x="6848" y="3298"/>
                  </a:lnTo>
                  <a:lnTo>
                    <a:pt x="6220" y="3253"/>
                  </a:lnTo>
                  <a:lnTo>
                    <a:pt x="5867" y="2990"/>
                  </a:lnTo>
                  <a:lnTo>
                    <a:pt x="5536" y="2876"/>
                  </a:lnTo>
                  <a:lnTo>
                    <a:pt x="5148" y="3093"/>
                  </a:lnTo>
                  <a:lnTo>
                    <a:pt x="4942" y="3538"/>
                  </a:lnTo>
                  <a:lnTo>
                    <a:pt x="4554" y="3812"/>
                  </a:lnTo>
                  <a:lnTo>
                    <a:pt x="4155" y="4211"/>
                  </a:lnTo>
                  <a:lnTo>
                    <a:pt x="3584" y="4302"/>
                  </a:lnTo>
                  <a:lnTo>
                    <a:pt x="3424" y="3983"/>
                  </a:lnTo>
                  <a:lnTo>
                    <a:pt x="3527" y="3435"/>
                  </a:lnTo>
                  <a:lnTo>
                    <a:pt x="3105" y="2568"/>
                  </a:lnTo>
                  <a:lnTo>
                    <a:pt x="2900" y="2419"/>
                  </a:lnTo>
                  <a:lnTo>
                    <a:pt x="2740" y="5786"/>
                  </a:lnTo>
                  <a:lnTo>
                    <a:pt x="2032" y="6243"/>
                  </a:lnTo>
                  <a:lnTo>
                    <a:pt x="1610" y="6322"/>
                  </a:lnTo>
                  <a:lnTo>
                    <a:pt x="1142" y="6151"/>
                  </a:lnTo>
                  <a:lnTo>
                    <a:pt x="800" y="6071"/>
                  </a:lnTo>
                  <a:lnTo>
                    <a:pt x="686" y="5695"/>
                  </a:lnTo>
                  <a:lnTo>
                    <a:pt x="389" y="5432"/>
                  </a:lnTo>
                  <a:lnTo>
                    <a:pt x="1" y="5889"/>
                  </a:lnTo>
                  <a:lnTo>
                    <a:pt x="503" y="7064"/>
                  </a:lnTo>
                  <a:lnTo>
                    <a:pt x="503" y="7076"/>
                  </a:lnTo>
                  <a:lnTo>
                    <a:pt x="857" y="7829"/>
                  </a:lnTo>
                  <a:lnTo>
                    <a:pt x="1313" y="8685"/>
                  </a:lnTo>
                  <a:lnTo>
                    <a:pt x="1290" y="9369"/>
                  </a:lnTo>
                  <a:lnTo>
                    <a:pt x="1039" y="9541"/>
                  </a:lnTo>
                  <a:lnTo>
                    <a:pt x="1245" y="10145"/>
                  </a:lnTo>
                  <a:lnTo>
                    <a:pt x="1222" y="10682"/>
                  </a:lnTo>
                  <a:lnTo>
                    <a:pt x="1302" y="10922"/>
                  </a:lnTo>
                  <a:lnTo>
                    <a:pt x="1347" y="10796"/>
                  </a:lnTo>
                  <a:lnTo>
                    <a:pt x="1644" y="11207"/>
                  </a:lnTo>
                  <a:lnTo>
                    <a:pt x="1895" y="11230"/>
                  </a:lnTo>
                  <a:lnTo>
                    <a:pt x="2203" y="11549"/>
                  </a:lnTo>
                  <a:lnTo>
                    <a:pt x="2546" y="11526"/>
                  </a:lnTo>
                  <a:lnTo>
                    <a:pt x="3036" y="11184"/>
                  </a:lnTo>
                  <a:lnTo>
                    <a:pt x="3698" y="11036"/>
                  </a:lnTo>
                  <a:lnTo>
                    <a:pt x="4497" y="10682"/>
                  </a:lnTo>
                  <a:lnTo>
                    <a:pt x="4805" y="10728"/>
                  </a:lnTo>
                  <a:lnTo>
                    <a:pt x="5285" y="10613"/>
                  </a:lnTo>
                  <a:lnTo>
                    <a:pt x="6095" y="10785"/>
                  </a:lnTo>
                  <a:lnTo>
                    <a:pt x="6483" y="10613"/>
                  </a:lnTo>
                  <a:lnTo>
                    <a:pt x="6939" y="10750"/>
                  </a:lnTo>
                  <a:lnTo>
                    <a:pt x="7054" y="10499"/>
                  </a:lnTo>
                  <a:lnTo>
                    <a:pt x="7430" y="10454"/>
                  </a:lnTo>
                  <a:lnTo>
                    <a:pt x="8263" y="10100"/>
                  </a:lnTo>
                  <a:lnTo>
                    <a:pt x="8880" y="9689"/>
                  </a:lnTo>
                  <a:lnTo>
                    <a:pt x="9462" y="9141"/>
                  </a:lnTo>
                  <a:lnTo>
                    <a:pt x="10420" y="8217"/>
                  </a:lnTo>
                  <a:lnTo>
                    <a:pt x="10899" y="7555"/>
                  </a:lnTo>
                  <a:lnTo>
                    <a:pt x="11162" y="7098"/>
                  </a:lnTo>
                  <a:lnTo>
                    <a:pt x="11516" y="6631"/>
                  </a:lnTo>
                  <a:lnTo>
                    <a:pt x="11687" y="6505"/>
                  </a:lnTo>
                  <a:lnTo>
                    <a:pt x="12246" y="6049"/>
                  </a:lnTo>
                  <a:lnTo>
                    <a:pt x="12474" y="5638"/>
                  </a:lnTo>
                  <a:lnTo>
                    <a:pt x="12623" y="4896"/>
                  </a:lnTo>
                  <a:lnTo>
                    <a:pt x="12874" y="4223"/>
                  </a:lnTo>
                  <a:lnTo>
                    <a:pt x="12280" y="4223"/>
                  </a:lnTo>
                  <a:lnTo>
                    <a:pt x="12098" y="4622"/>
                  </a:lnTo>
                  <a:lnTo>
                    <a:pt x="11630" y="4725"/>
                  </a:lnTo>
                  <a:lnTo>
                    <a:pt x="11196" y="4223"/>
                  </a:lnTo>
                  <a:lnTo>
                    <a:pt x="11219" y="3903"/>
                  </a:lnTo>
                  <a:lnTo>
                    <a:pt x="11447" y="3561"/>
                  </a:lnTo>
                  <a:lnTo>
                    <a:pt x="11539" y="3310"/>
                  </a:lnTo>
                  <a:lnTo>
                    <a:pt x="11767" y="3241"/>
                  </a:lnTo>
                  <a:lnTo>
                    <a:pt x="12155" y="3412"/>
                  </a:lnTo>
                  <a:lnTo>
                    <a:pt x="12098" y="3081"/>
                  </a:lnTo>
                  <a:lnTo>
                    <a:pt x="12303" y="2066"/>
                  </a:lnTo>
                  <a:lnTo>
                    <a:pt x="12143" y="1427"/>
                  </a:lnTo>
                  <a:close/>
                  <a:moveTo>
                    <a:pt x="8959" y="7669"/>
                  </a:moveTo>
                  <a:lnTo>
                    <a:pt x="8674" y="7760"/>
                  </a:lnTo>
                  <a:lnTo>
                    <a:pt x="8149" y="7064"/>
                  </a:lnTo>
                  <a:lnTo>
                    <a:pt x="8606" y="6494"/>
                  </a:lnTo>
                  <a:lnTo>
                    <a:pt x="9051" y="6128"/>
                  </a:lnTo>
                  <a:lnTo>
                    <a:pt x="9416" y="5946"/>
                  </a:lnTo>
                  <a:lnTo>
                    <a:pt x="9747" y="6231"/>
                  </a:lnTo>
                  <a:lnTo>
                    <a:pt x="9986" y="6505"/>
                  </a:lnTo>
                  <a:lnTo>
                    <a:pt x="9713" y="6950"/>
                  </a:lnTo>
                  <a:lnTo>
                    <a:pt x="9564" y="7247"/>
                  </a:lnTo>
                  <a:lnTo>
                    <a:pt x="9119" y="738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95" name="Google Shape;366;p29">
              <a:extLst>
                <a:ext uri="{FF2B5EF4-FFF2-40B4-BE49-F238E27FC236}">
                  <a16:creationId xmlns:a16="http://schemas.microsoft.com/office/drawing/2014/main" id="{9BF78176-19BF-48EA-B664-8DDC2AEE87CC}"/>
                </a:ext>
              </a:extLst>
            </p:cNvPr>
            <p:cNvSpPr/>
            <p:nvPr/>
          </p:nvSpPr>
          <p:spPr>
            <a:xfrm>
              <a:off x="4155075" y="3299275"/>
              <a:ext cx="233975" cy="220275"/>
            </a:xfrm>
            <a:custGeom>
              <a:avLst/>
              <a:gdLst/>
              <a:ahLst/>
              <a:cxnLst/>
              <a:rect l="l" t="t" r="r" b="b"/>
              <a:pathLst>
                <a:path w="9359" h="8811" extrusionOk="0">
                  <a:moveTo>
                    <a:pt x="7258" y="297"/>
                  </a:moveTo>
                  <a:lnTo>
                    <a:pt x="6984" y="229"/>
                  </a:lnTo>
                  <a:lnTo>
                    <a:pt x="7041" y="34"/>
                  </a:lnTo>
                  <a:lnTo>
                    <a:pt x="6904" y="0"/>
                  </a:lnTo>
                  <a:lnTo>
                    <a:pt x="5832" y="149"/>
                  </a:lnTo>
                  <a:lnTo>
                    <a:pt x="5603" y="251"/>
                  </a:lnTo>
                  <a:lnTo>
                    <a:pt x="5375" y="833"/>
                  </a:lnTo>
                  <a:lnTo>
                    <a:pt x="5546" y="1233"/>
                  </a:lnTo>
                  <a:lnTo>
                    <a:pt x="5375" y="2306"/>
                  </a:lnTo>
                  <a:lnTo>
                    <a:pt x="5261" y="3218"/>
                  </a:lnTo>
                  <a:lnTo>
                    <a:pt x="5467" y="3378"/>
                  </a:lnTo>
                  <a:lnTo>
                    <a:pt x="6014" y="3732"/>
                  </a:lnTo>
                  <a:lnTo>
                    <a:pt x="6231" y="3561"/>
                  </a:lnTo>
                  <a:lnTo>
                    <a:pt x="6277" y="4542"/>
                  </a:lnTo>
                  <a:lnTo>
                    <a:pt x="5661" y="4542"/>
                  </a:lnTo>
                  <a:lnTo>
                    <a:pt x="5364" y="4052"/>
                  </a:lnTo>
                  <a:lnTo>
                    <a:pt x="5078" y="3652"/>
                  </a:lnTo>
                  <a:lnTo>
                    <a:pt x="4462" y="3538"/>
                  </a:lnTo>
                  <a:lnTo>
                    <a:pt x="4291" y="3047"/>
                  </a:lnTo>
                  <a:lnTo>
                    <a:pt x="3812" y="3333"/>
                  </a:lnTo>
                  <a:lnTo>
                    <a:pt x="3161" y="3207"/>
                  </a:lnTo>
                  <a:lnTo>
                    <a:pt x="2910" y="2808"/>
                  </a:lnTo>
                  <a:lnTo>
                    <a:pt x="2408" y="2716"/>
                  </a:lnTo>
                  <a:lnTo>
                    <a:pt x="2043" y="2739"/>
                  </a:lnTo>
                  <a:lnTo>
                    <a:pt x="1997" y="2454"/>
                  </a:lnTo>
                  <a:lnTo>
                    <a:pt x="1723" y="2431"/>
                  </a:lnTo>
                  <a:lnTo>
                    <a:pt x="1792" y="2716"/>
                  </a:lnTo>
                  <a:lnTo>
                    <a:pt x="1700" y="3150"/>
                  </a:lnTo>
                  <a:lnTo>
                    <a:pt x="1826" y="3572"/>
                  </a:lnTo>
                  <a:lnTo>
                    <a:pt x="1700" y="3915"/>
                  </a:lnTo>
                  <a:lnTo>
                    <a:pt x="1769" y="4234"/>
                  </a:lnTo>
                  <a:lnTo>
                    <a:pt x="114" y="4223"/>
                  </a:lnTo>
                  <a:lnTo>
                    <a:pt x="0" y="7110"/>
                  </a:lnTo>
                  <a:lnTo>
                    <a:pt x="514" y="7852"/>
                  </a:lnTo>
                  <a:lnTo>
                    <a:pt x="1016" y="8422"/>
                  </a:lnTo>
                  <a:lnTo>
                    <a:pt x="1666" y="8217"/>
                  </a:lnTo>
                  <a:lnTo>
                    <a:pt x="2180" y="8274"/>
                  </a:lnTo>
                  <a:lnTo>
                    <a:pt x="2477" y="8468"/>
                  </a:lnTo>
                  <a:lnTo>
                    <a:pt x="2477" y="8537"/>
                  </a:lnTo>
                  <a:lnTo>
                    <a:pt x="2625" y="8616"/>
                  </a:lnTo>
                  <a:lnTo>
                    <a:pt x="3504" y="8708"/>
                  </a:lnTo>
                  <a:lnTo>
                    <a:pt x="3755" y="8810"/>
                  </a:lnTo>
                  <a:lnTo>
                    <a:pt x="4017" y="8799"/>
                  </a:lnTo>
                  <a:lnTo>
                    <a:pt x="4474" y="8217"/>
                  </a:lnTo>
                  <a:lnTo>
                    <a:pt x="5204" y="7452"/>
                  </a:lnTo>
                  <a:lnTo>
                    <a:pt x="5489" y="7384"/>
                  </a:lnTo>
                  <a:lnTo>
                    <a:pt x="5592" y="7076"/>
                  </a:lnTo>
                  <a:lnTo>
                    <a:pt x="6060" y="6711"/>
                  </a:lnTo>
                  <a:lnTo>
                    <a:pt x="6665" y="6585"/>
                  </a:lnTo>
                  <a:lnTo>
                    <a:pt x="6619" y="5946"/>
                  </a:lnTo>
                  <a:lnTo>
                    <a:pt x="9061" y="5204"/>
                  </a:lnTo>
                  <a:lnTo>
                    <a:pt x="8639" y="4965"/>
                  </a:lnTo>
                  <a:lnTo>
                    <a:pt x="8913" y="4120"/>
                  </a:lnTo>
                  <a:lnTo>
                    <a:pt x="9175" y="3801"/>
                  </a:lnTo>
                  <a:lnTo>
                    <a:pt x="9039" y="3047"/>
                  </a:lnTo>
                  <a:lnTo>
                    <a:pt x="9210" y="2317"/>
                  </a:lnTo>
                  <a:lnTo>
                    <a:pt x="9358" y="2066"/>
                  </a:lnTo>
                  <a:lnTo>
                    <a:pt x="9187" y="1290"/>
                  </a:lnTo>
                  <a:lnTo>
                    <a:pt x="8810" y="890"/>
                  </a:lnTo>
                  <a:lnTo>
                    <a:pt x="8354" y="628"/>
                  </a:lnTo>
                  <a:lnTo>
                    <a:pt x="7863" y="468"/>
                  </a:lnTo>
                  <a:lnTo>
                    <a:pt x="7544" y="308"/>
                  </a:lnTo>
                  <a:lnTo>
                    <a:pt x="7498" y="286"/>
                  </a:lnTo>
                  <a:lnTo>
                    <a:pt x="7498" y="286"/>
                  </a:lnTo>
                  <a:lnTo>
                    <a:pt x="7578" y="434"/>
                  </a:lnTo>
                  <a:lnTo>
                    <a:pt x="7429" y="49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96" name="Google Shape;367;p29">
              <a:extLst>
                <a:ext uri="{FF2B5EF4-FFF2-40B4-BE49-F238E27FC236}">
                  <a16:creationId xmlns:a16="http://schemas.microsoft.com/office/drawing/2014/main" id="{5AC818C0-5884-40EF-A1FC-58EFCB7ACC66}"/>
                </a:ext>
              </a:extLst>
            </p:cNvPr>
            <p:cNvSpPr/>
            <p:nvPr/>
          </p:nvSpPr>
          <p:spPr>
            <a:xfrm>
              <a:off x="4220675" y="3463900"/>
              <a:ext cx="150950" cy="153800"/>
            </a:xfrm>
            <a:custGeom>
              <a:avLst/>
              <a:gdLst/>
              <a:ahLst/>
              <a:cxnLst/>
              <a:rect l="l" t="t" r="r" b="b"/>
              <a:pathLst>
                <a:path w="6038" h="6152" extrusionOk="0">
                  <a:moveTo>
                    <a:pt x="4497" y="6117"/>
                  </a:moveTo>
                  <a:lnTo>
                    <a:pt x="5376" y="5090"/>
                  </a:lnTo>
                  <a:lnTo>
                    <a:pt x="5604" y="4439"/>
                  </a:lnTo>
                  <a:lnTo>
                    <a:pt x="5730" y="4348"/>
                  </a:lnTo>
                  <a:lnTo>
                    <a:pt x="5844" y="3823"/>
                  </a:lnTo>
                  <a:lnTo>
                    <a:pt x="5730" y="3549"/>
                  </a:lnTo>
                  <a:lnTo>
                    <a:pt x="5810" y="2876"/>
                  </a:lnTo>
                  <a:lnTo>
                    <a:pt x="5992" y="2248"/>
                  </a:lnTo>
                  <a:lnTo>
                    <a:pt x="6038" y="1096"/>
                  </a:lnTo>
                  <a:lnTo>
                    <a:pt x="5638" y="810"/>
                  </a:lnTo>
                  <a:lnTo>
                    <a:pt x="5262" y="742"/>
                  </a:lnTo>
                  <a:lnTo>
                    <a:pt x="5102" y="514"/>
                  </a:lnTo>
                  <a:lnTo>
                    <a:pt x="4737" y="331"/>
                  </a:lnTo>
                  <a:lnTo>
                    <a:pt x="4075" y="342"/>
                  </a:lnTo>
                  <a:lnTo>
                    <a:pt x="4041" y="0"/>
                  </a:lnTo>
                  <a:lnTo>
                    <a:pt x="3436" y="126"/>
                  </a:lnTo>
                  <a:lnTo>
                    <a:pt x="2968" y="491"/>
                  </a:lnTo>
                  <a:lnTo>
                    <a:pt x="2865" y="799"/>
                  </a:lnTo>
                  <a:lnTo>
                    <a:pt x="2580" y="867"/>
                  </a:lnTo>
                  <a:lnTo>
                    <a:pt x="1850" y="1632"/>
                  </a:lnTo>
                  <a:lnTo>
                    <a:pt x="1393" y="2214"/>
                  </a:lnTo>
                  <a:lnTo>
                    <a:pt x="1131" y="2225"/>
                  </a:lnTo>
                  <a:lnTo>
                    <a:pt x="880" y="2123"/>
                  </a:lnTo>
                  <a:lnTo>
                    <a:pt x="1" y="2020"/>
                  </a:lnTo>
                  <a:lnTo>
                    <a:pt x="275" y="2750"/>
                  </a:lnTo>
                  <a:lnTo>
                    <a:pt x="423" y="2910"/>
                  </a:lnTo>
                  <a:lnTo>
                    <a:pt x="651" y="3435"/>
                  </a:lnTo>
                  <a:lnTo>
                    <a:pt x="1507" y="4439"/>
                  </a:lnTo>
                  <a:lnTo>
                    <a:pt x="1838" y="4542"/>
                  </a:lnTo>
                  <a:lnTo>
                    <a:pt x="1827" y="4850"/>
                  </a:lnTo>
                  <a:lnTo>
                    <a:pt x="2044" y="5432"/>
                  </a:lnTo>
                  <a:lnTo>
                    <a:pt x="2637" y="5569"/>
                  </a:lnTo>
                  <a:lnTo>
                    <a:pt x="3128" y="5980"/>
                  </a:lnTo>
                  <a:lnTo>
                    <a:pt x="3436" y="5991"/>
                  </a:lnTo>
                  <a:lnTo>
                    <a:pt x="3813" y="6151"/>
                  </a:lnTo>
                  <a:lnTo>
                    <a:pt x="4075" y="6037"/>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97" name="Google Shape;368;p29">
              <a:extLst>
                <a:ext uri="{FF2B5EF4-FFF2-40B4-BE49-F238E27FC236}">
                  <a16:creationId xmlns:a16="http://schemas.microsoft.com/office/drawing/2014/main" id="{FBE79CEB-A614-4B90-B9A5-9AFC4C2CDFF9}"/>
                </a:ext>
              </a:extLst>
            </p:cNvPr>
            <p:cNvSpPr/>
            <p:nvPr/>
          </p:nvSpPr>
          <p:spPr>
            <a:xfrm>
              <a:off x="4542225" y="2839350"/>
              <a:ext cx="197750" cy="311025"/>
            </a:xfrm>
            <a:custGeom>
              <a:avLst/>
              <a:gdLst/>
              <a:ahLst/>
              <a:cxnLst/>
              <a:rect l="l" t="t" r="r" b="b"/>
              <a:pathLst>
                <a:path w="7910" h="12441" extrusionOk="0">
                  <a:moveTo>
                    <a:pt x="2363" y="1427"/>
                  </a:moveTo>
                  <a:lnTo>
                    <a:pt x="1986" y="1051"/>
                  </a:lnTo>
                  <a:lnTo>
                    <a:pt x="1815" y="674"/>
                  </a:lnTo>
                  <a:lnTo>
                    <a:pt x="1564" y="503"/>
                  </a:lnTo>
                  <a:lnTo>
                    <a:pt x="1279" y="994"/>
                  </a:lnTo>
                  <a:lnTo>
                    <a:pt x="1119" y="1313"/>
                  </a:lnTo>
                  <a:lnTo>
                    <a:pt x="1427" y="1815"/>
                  </a:lnTo>
                  <a:lnTo>
                    <a:pt x="1735" y="2260"/>
                  </a:lnTo>
                  <a:lnTo>
                    <a:pt x="2043" y="2569"/>
                  </a:lnTo>
                  <a:lnTo>
                    <a:pt x="4679" y="3653"/>
                  </a:lnTo>
                  <a:lnTo>
                    <a:pt x="5364" y="3641"/>
                  </a:lnTo>
                  <a:lnTo>
                    <a:pt x="3173" y="6369"/>
                  </a:lnTo>
                  <a:lnTo>
                    <a:pt x="2112" y="6414"/>
                  </a:lnTo>
                  <a:lnTo>
                    <a:pt x="1416" y="7054"/>
                  </a:lnTo>
                  <a:lnTo>
                    <a:pt x="902" y="7065"/>
                  </a:lnTo>
                  <a:lnTo>
                    <a:pt x="685" y="7350"/>
                  </a:lnTo>
                  <a:lnTo>
                    <a:pt x="0" y="8377"/>
                  </a:lnTo>
                  <a:lnTo>
                    <a:pt x="35" y="11687"/>
                  </a:lnTo>
                  <a:lnTo>
                    <a:pt x="503" y="12440"/>
                  </a:lnTo>
                  <a:lnTo>
                    <a:pt x="685" y="12235"/>
                  </a:lnTo>
                  <a:lnTo>
                    <a:pt x="879" y="11744"/>
                  </a:lnTo>
                  <a:lnTo>
                    <a:pt x="1746" y="10648"/>
                  </a:lnTo>
                  <a:lnTo>
                    <a:pt x="2500" y="9964"/>
                  </a:lnTo>
                  <a:lnTo>
                    <a:pt x="3687" y="9051"/>
                  </a:lnTo>
                  <a:lnTo>
                    <a:pt x="4485" y="8320"/>
                  </a:lnTo>
                  <a:lnTo>
                    <a:pt x="5398" y="7076"/>
                  </a:lnTo>
                  <a:lnTo>
                    <a:pt x="6060" y="6072"/>
                  </a:lnTo>
                  <a:lnTo>
                    <a:pt x="6722" y="4737"/>
                  </a:lnTo>
                  <a:lnTo>
                    <a:pt x="7179" y="3573"/>
                  </a:lnTo>
                  <a:lnTo>
                    <a:pt x="7532" y="2557"/>
                  </a:lnTo>
                  <a:lnTo>
                    <a:pt x="7715" y="1587"/>
                  </a:lnTo>
                  <a:lnTo>
                    <a:pt x="7875" y="1256"/>
                  </a:lnTo>
                  <a:lnTo>
                    <a:pt x="7852" y="777"/>
                  </a:lnTo>
                  <a:lnTo>
                    <a:pt x="7909" y="252"/>
                  </a:lnTo>
                  <a:lnTo>
                    <a:pt x="7875" y="1"/>
                  </a:lnTo>
                  <a:lnTo>
                    <a:pt x="7578" y="1"/>
                  </a:lnTo>
                  <a:lnTo>
                    <a:pt x="7202" y="320"/>
                  </a:lnTo>
                  <a:lnTo>
                    <a:pt x="6791" y="400"/>
                  </a:lnTo>
                  <a:lnTo>
                    <a:pt x="6437" y="537"/>
                  </a:lnTo>
                  <a:lnTo>
                    <a:pt x="6174" y="560"/>
                  </a:lnTo>
                  <a:lnTo>
                    <a:pt x="6174" y="560"/>
                  </a:lnTo>
                  <a:lnTo>
                    <a:pt x="5718" y="594"/>
                  </a:lnTo>
                  <a:lnTo>
                    <a:pt x="5455" y="743"/>
                  </a:lnTo>
                  <a:lnTo>
                    <a:pt x="5056" y="823"/>
                  </a:lnTo>
                  <a:lnTo>
                    <a:pt x="4371" y="1085"/>
                  </a:lnTo>
                  <a:lnTo>
                    <a:pt x="3493" y="1199"/>
                  </a:lnTo>
                  <a:lnTo>
                    <a:pt x="2751" y="1427"/>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98" name="Google Shape;369;p29">
              <a:extLst>
                <a:ext uri="{FF2B5EF4-FFF2-40B4-BE49-F238E27FC236}">
                  <a16:creationId xmlns:a16="http://schemas.microsoft.com/office/drawing/2014/main" id="{000EA8E8-8861-44F4-8F8B-73B0E2F9960F}"/>
                </a:ext>
              </a:extLst>
            </p:cNvPr>
            <p:cNvSpPr/>
            <p:nvPr/>
          </p:nvSpPr>
          <p:spPr>
            <a:xfrm>
              <a:off x="2628975" y="2981450"/>
              <a:ext cx="58225" cy="84175"/>
            </a:xfrm>
            <a:custGeom>
              <a:avLst/>
              <a:gdLst/>
              <a:ahLst/>
              <a:cxnLst/>
              <a:rect l="l" t="t" r="r" b="b"/>
              <a:pathLst>
                <a:path w="2329" h="3367" extrusionOk="0">
                  <a:moveTo>
                    <a:pt x="1575" y="2956"/>
                  </a:moveTo>
                  <a:lnTo>
                    <a:pt x="1826" y="2283"/>
                  </a:lnTo>
                  <a:lnTo>
                    <a:pt x="2328" y="1449"/>
                  </a:lnTo>
                  <a:lnTo>
                    <a:pt x="2203" y="1084"/>
                  </a:lnTo>
                  <a:lnTo>
                    <a:pt x="1370" y="308"/>
                  </a:lnTo>
                  <a:lnTo>
                    <a:pt x="788" y="103"/>
                  </a:lnTo>
                  <a:lnTo>
                    <a:pt x="514" y="0"/>
                  </a:lnTo>
                  <a:lnTo>
                    <a:pt x="69" y="788"/>
                  </a:lnTo>
                  <a:lnTo>
                    <a:pt x="126" y="1415"/>
                  </a:lnTo>
                  <a:lnTo>
                    <a:pt x="434" y="1940"/>
                  </a:lnTo>
                  <a:lnTo>
                    <a:pt x="286" y="2328"/>
                  </a:lnTo>
                  <a:lnTo>
                    <a:pt x="206" y="2739"/>
                  </a:lnTo>
                  <a:lnTo>
                    <a:pt x="0" y="3138"/>
                  </a:lnTo>
                  <a:lnTo>
                    <a:pt x="343" y="3321"/>
                  </a:lnTo>
                  <a:lnTo>
                    <a:pt x="594" y="3070"/>
                  </a:lnTo>
                  <a:lnTo>
                    <a:pt x="776" y="3104"/>
                  </a:lnTo>
                  <a:lnTo>
                    <a:pt x="879" y="3367"/>
                  </a:lnTo>
                  <a:lnTo>
                    <a:pt x="1267" y="3287"/>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199" name="Google Shape;370;p29">
              <a:extLst>
                <a:ext uri="{FF2B5EF4-FFF2-40B4-BE49-F238E27FC236}">
                  <a16:creationId xmlns:a16="http://schemas.microsoft.com/office/drawing/2014/main" id="{CF9BE106-01D0-49C7-850E-C92675009837}"/>
                </a:ext>
              </a:extLst>
            </p:cNvPr>
            <p:cNvSpPr/>
            <p:nvPr/>
          </p:nvSpPr>
          <p:spPr>
            <a:xfrm>
              <a:off x="3640650" y="1956900"/>
              <a:ext cx="255375" cy="215450"/>
            </a:xfrm>
            <a:custGeom>
              <a:avLst/>
              <a:gdLst/>
              <a:ahLst/>
              <a:cxnLst/>
              <a:rect l="l" t="t" r="r" b="b"/>
              <a:pathLst>
                <a:path w="10215" h="8618" extrusionOk="0">
                  <a:moveTo>
                    <a:pt x="10215" y="7932"/>
                  </a:moveTo>
                  <a:lnTo>
                    <a:pt x="10066" y="7191"/>
                  </a:lnTo>
                  <a:lnTo>
                    <a:pt x="9610" y="7510"/>
                  </a:lnTo>
                  <a:lnTo>
                    <a:pt x="9462" y="7841"/>
                  </a:lnTo>
                  <a:lnTo>
                    <a:pt x="9667" y="8446"/>
                  </a:lnTo>
                  <a:lnTo>
                    <a:pt x="10009" y="8617"/>
                  </a:lnTo>
                  <a:close/>
                  <a:moveTo>
                    <a:pt x="5730" y="663"/>
                  </a:moveTo>
                  <a:lnTo>
                    <a:pt x="5387" y="321"/>
                  </a:lnTo>
                  <a:lnTo>
                    <a:pt x="5068" y="309"/>
                  </a:lnTo>
                  <a:lnTo>
                    <a:pt x="4965" y="1"/>
                  </a:lnTo>
                  <a:lnTo>
                    <a:pt x="4360" y="172"/>
                  </a:lnTo>
                  <a:lnTo>
                    <a:pt x="4155" y="891"/>
                  </a:lnTo>
                  <a:lnTo>
                    <a:pt x="2546" y="1576"/>
                  </a:lnTo>
                  <a:lnTo>
                    <a:pt x="1884" y="1211"/>
                  </a:lnTo>
                  <a:lnTo>
                    <a:pt x="2089" y="2204"/>
                  </a:lnTo>
                  <a:lnTo>
                    <a:pt x="914" y="1975"/>
                  </a:lnTo>
                  <a:lnTo>
                    <a:pt x="1" y="2158"/>
                  </a:lnTo>
                  <a:lnTo>
                    <a:pt x="58" y="2820"/>
                  </a:lnTo>
                  <a:lnTo>
                    <a:pt x="1131" y="3162"/>
                  </a:lnTo>
                  <a:lnTo>
                    <a:pt x="1644" y="3607"/>
                  </a:lnTo>
                  <a:lnTo>
                    <a:pt x="2375" y="4532"/>
                  </a:lnTo>
                  <a:lnTo>
                    <a:pt x="2226" y="6289"/>
                  </a:lnTo>
                  <a:lnTo>
                    <a:pt x="1850" y="6814"/>
                  </a:lnTo>
                  <a:lnTo>
                    <a:pt x="2135" y="7156"/>
                  </a:lnTo>
                  <a:lnTo>
                    <a:pt x="3470" y="7556"/>
                  </a:lnTo>
                  <a:lnTo>
                    <a:pt x="3744" y="7373"/>
                  </a:lnTo>
                  <a:lnTo>
                    <a:pt x="4554" y="7773"/>
                  </a:lnTo>
                  <a:lnTo>
                    <a:pt x="5410" y="7659"/>
                  </a:lnTo>
                  <a:lnTo>
                    <a:pt x="5479" y="7134"/>
                  </a:lnTo>
                  <a:lnTo>
                    <a:pt x="6540" y="6848"/>
                  </a:lnTo>
                  <a:lnTo>
                    <a:pt x="7967" y="7077"/>
                  </a:lnTo>
                  <a:lnTo>
                    <a:pt x="8606" y="6586"/>
                  </a:lnTo>
                  <a:lnTo>
                    <a:pt x="8674" y="6198"/>
                  </a:lnTo>
                  <a:lnTo>
                    <a:pt x="8298" y="6084"/>
                  </a:lnTo>
                  <a:lnTo>
                    <a:pt x="8081" y="5399"/>
                  </a:lnTo>
                  <a:lnTo>
                    <a:pt x="8320" y="5148"/>
                  </a:lnTo>
                  <a:lnTo>
                    <a:pt x="8092" y="4806"/>
                  </a:lnTo>
                  <a:lnTo>
                    <a:pt x="8126" y="4566"/>
                  </a:lnTo>
                  <a:lnTo>
                    <a:pt x="7864" y="4178"/>
                  </a:lnTo>
                  <a:lnTo>
                    <a:pt x="7522" y="4303"/>
                  </a:lnTo>
                  <a:lnTo>
                    <a:pt x="7522" y="3904"/>
                  </a:lnTo>
                  <a:lnTo>
                    <a:pt x="8024" y="3402"/>
                  </a:lnTo>
                  <a:lnTo>
                    <a:pt x="7989" y="3174"/>
                  </a:lnTo>
                  <a:lnTo>
                    <a:pt x="8320" y="3265"/>
                  </a:lnTo>
                  <a:lnTo>
                    <a:pt x="8503" y="3117"/>
                  </a:lnTo>
                  <a:lnTo>
                    <a:pt x="8583" y="2477"/>
                  </a:lnTo>
                  <a:lnTo>
                    <a:pt x="8902" y="1884"/>
                  </a:lnTo>
                  <a:lnTo>
                    <a:pt x="7887" y="1713"/>
                  </a:lnTo>
                  <a:lnTo>
                    <a:pt x="7544" y="1485"/>
                  </a:lnTo>
                  <a:lnTo>
                    <a:pt x="7350" y="1496"/>
                  </a:lnTo>
                  <a:lnTo>
                    <a:pt x="7191" y="1427"/>
                  </a:lnTo>
                  <a:lnTo>
                    <a:pt x="6563" y="1028"/>
                  </a:lnTo>
                  <a:lnTo>
                    <a:pt x="6209" y="108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00" name="Google Shape;371;p29">
              <a:extLst>
                <a:ext uri="{FF2B5EF4-FFF2-40B4-BE49-F238E27FC236}">
                  <a16:creationId xmlns:a16="http://schemas.microsoft.com/office/drawing/2014/main" id="{F2162548-A43A-414D-8B33-A53AE8DE346D}"/>
                </a:ext>
              </a:extLst>
            </p:cNvPr>
            <p:cNvSpPr/>
            <p:nvPr/>
          </p:nvSpPr>
          <p:spPr>
            <a:xfrm>
              <a:off x="3550500" y="2120100"/>
              <a:ext cx="250800" cy="176350"/>
            </a:xfrm>
            <a:custGeom>
              <a:avLst/>
              <a:gdLst/>
              <a:ahLst/>
              <a:cxnLst/>
              <a:rect l="l" t="t" r="r" b="b"/>
              <a:pathLst>
                <a:path w="10032" h="7054" extrusionOk="0">
                  <a:moveTo>
                    <a:pt x="8023" y="4520"/>
                  </a:moveTo>
                  <a:lnTo>
                    <a:pt x="8023" y="4497"/>
                  </a:lnTo>
                  <a:lnTo>
                    <a:pt x="7944" y="4497"/>
                  </a:lnTo>
                  <a:lnTo>
                    <a:pt x="7909" y="4440"/>
                  </a:lnTo>
                  <a:lnTo>
                    <a:pt x="7886" y="4463"/>
                  </a:lnTo>
                  <a:lnTo>
                    <a:pt x="7875" y="4497"/>
                  </a:lnTo>
                  <a:lnTo>
                    <a:pt x="7875" y="4520"/>
                  </a:lnTo>
                  <a:lnTo>
                    <a:pt x="7944" y="4520"/>
                  </a:lnTo>
                  <a:lnTo>
                    <a:pt x="8001" y="4543"/>
                  </a:lnTo>
                  <a:close/>
                  <a:moveTo>
                    <a:pt x="7909" y="4292"/>
                  </a:moveTo>
                  <a:lnTo>
                    <a:pt x="7944" y="4292"/>
                  </a:lnTo>
                  <a:lnTo>
                    <a:pt x="8035" y="4189"/>
                  </a:lnTo>
                  <a:lnTo>
                    <a:pt x="8035" y="4155"/>
                  </a:lnTo>
                  <a:lnTo>
                    <a:pt x="7989" y="4121"/>
                  </a:lnTo>
                  <a:lnTo>
                    <a:pt x="7829" y="4155"/>
                  </a:lnTo>
                  <a:lnTo>
                    <a:pt x="7807" y="4189"/>
                  </a:lnTo>
                  <a:lnTo>
                    <a:pt x="7807" y="4235"/>
                  </a:lnTo>
                  <a:lnTo>
                    <a:pt x="7761" y="4257"/>
                  </a:lnTo>
                  <a:lnTo>
                    <a:pt x="7749" y="4315"/>
                  </a:lnTo>
                  <a:lnTo>
                    <a:pt x="7761" y="4337"/>
                  </a:lnTo>
                  <a:lnTo>
                    <a:pt x="7875" y="4349"/>
                  </a:lnTo>
                  <a:close/>
                  <a:moveTo>
                    <a:pt x="5456" y="286"/>
                  </a:moveTo>
                  <a:lnTo>
                    <a:pt x="4280" y="263"/>
                  </a:lnTo>
                  <a:lnTo>
                    <a:pt x="3675" y="297"/>
                  </a:lnTo>
                  <a:lnTo>
                    <a:pt x="2911" y="161"/>
                  </a:lnTo>
                  <a:lnTo>
                    <a:pt x="1941" y="161"/>
                  </a:lnTo>
                  <a:lnTo>
                    <a:pt x="1062" y="1"/>
                  </a:lnTo>
                  <a:lnTo>
                    <a:pt x="1" y="640"/>
                  </a:lnTo>
                  <a:lnTo>
                    <a:pt x="286" y="1016"/>
                  </a:lnTo>
                  <a:lnTo>
                    <a:pt x="229" y="1644"/>
                  </a:lnTo>
                  <a:lnTo>
                    <a:pt x="503" y="1416"/>
                  </a:lnTo>
                  <a:lnTo>
                    <a:pt x="799" y="1290"/>
                  </a:lnTo>
                  <a:lnTo>
                    <a:pt x="971" y="1724"/>
                  </a:lnTo>
                  <a:lnTo>
                    <a:pt x="1404" y="1724"/>
                  </a:lnTo>
                  <a:lnTo>
                    <a:pt x="1530" y="1610"/>
                  </a:lnTo>
                  <a:lnTo>
                    <a:pt x="1952" y="1644"/>
                  </a:lnTo>
                  <a:lnTo>
                    <a:pt x="2146" y="2089"/>
                  </a:lnTo>
                  <a:lnTo>
                    <a:pt x="1804" y="2329"/>
                  </a:lnTo>
                  <a:lnTo>
                    <a:pt x="1770" y="3025"/>
                  </a:lnTo>
                  <a:lnTo>
                    <a:pt x="1644" y="3151"/>
                  </a:lnTo>
                  <a:lnTo>
                    <a:pt x="1598" y="3584"/>
                  </a:lnTo>
                  <a:lnTo>
                    <a:pt x="1290" y="3653"/>
                  </a:lnTo>
                  <a:lnTo>
                    <a:pt x="1575" y="4189"/>
                  </a:lnTo>
                  <a:lnTo>
                    <a:pt x="1347" y="4805"/>
                  </a:lnTo>
                  <a:lnTo>
                    <a:pt x="1598" y="5079"/>
                  </a:lnTo>
                  <a:lnTo>
                    <a:pt x="1484" y="5319"/>
                  </a:lnTo>
                  <a:lnTo>
                    <a:pt x="1199" y="5673"/>
                  </a:lnTo>
                  <a:lnTo>
                    <a:pt x="1256" y="5981"/>
                  </a:lnTo>
                  <a:lnTo>
                    <a:pt x="1941" y="6118"/>
                  </a:lnTo>
                  <a:lnTo>
                    <a:pt x="2135" y="6654"/>
                  </a:lnTo>
                  <a:lnTo>
                    <a:pt x="2420" y="6962"/>
                  </a:lnTo>
                  <a:lnTo>
                    <a:pt x="2785" y="7053"/>
                  </a:lnTo>
                  <a:lnTo>
                    <a:pt x="3082" y="6688"/>
                  </a:lnTo>
                  <a:lnTo>
                    <a:pt x="3550" y="6369"/>
                  </a:lnTo>
                  <a:lnTo>
                    <a:pt x="4269" y="6380"/>
                  </a:lnTo>
                  <a:lnTo>
                    <a:pt x="5216" y="6380"/>
                  </a:lnTo>
                  <a:lnTo>
                    <a:pt x="5764" y="5661"/>
                  </a:lnTo>
                  <a:lnTo>
                    <a:pt x="6323" y="5479"/>
                  </a:lnTo>
                  <a:lnTo>
                    <a:pt x="6494" y="4885"/>
                  </a:lnTo>
                  <a:lnTo>
                    <a:pt x="6916" y="4463"/>
                  </a:lnTo>
                  <a:lnTo>
                    <a:pt x="6631" y="3938"/>
                  </a:lnTo>
                  <a:lnTo>
                    <a:pt x="6916" y="3208"/>
                  </a:lnTo>
                  <a:lnTo>
                    <a:pt x="7361" y="2717"/>
                  </a:lnTo>
                  <a:lnTo>
                    <a:pt x="7430" y="2409"/>
                  </a:lnTo>
                  <a:lnTo>
                    <a:pt x="8377" y="2226"/>
                  </a:lnTo>
                  <a:lnTo>
                    <a:pt x="9062" y="1621"/>
                  </a:lnTo>
                  <a:lnTo>
                    <a:pt x="9016" y="1131"/>
                  </a:lnTo>
                  <a:lnTo>
                    <a:pt x="8160" y="1245"/>
                  </a:lnTo>
                  <a:lnTo>
                    <a:pt x="7350" y="845"/>
                  </a:lnTo>
                  <a:lnTo>
                    <a:pt x="7076" y="1028"/>
                  </a:lnTo>
                  <a:lnTo>
                    <a:pt x="5730" y="628"/>
                  </a:lnTo>
                  <a:close/>
                  <a:moveTo>
                    <a:pt x="9165" y="3516"/>
                  </a:moveTo>
                  <a:lnTo>
                    <a:pt x="9176" y="3470"/>
                  </a:lnTo>
                  <a:lnTo>
                    <a:pt x="9187" y="3436"/>
                  </a:lnTo>
                  <a:lnTo>
                    <a:pt x="9199" y="3424"/>
                  </a:lnTo>
                  <a:lnTo>
                    <a:pt x="9176" y="3402"/>
                  </a:lnTo>
                  <a:lnTo>
                    <a:pt x="9176" y="3379"/>
                  </a:lnTo>
                  <a:lnTo>
                    <a:pt x="9199" y="3356"/>
                  </a:lnTo>
                  <a:lnTo>
                    <a:pt x="9176" y="3333"/>
                  </a:lnTo>
                  <a:lnTo>
                    <a:pt x="8993" y="3390"/>
                  </a:lnTo>
                  <a:lnTo>
                    <a:pt x="8891" y="3447"/>
                  </a:lnTo>
                  <a:lnTo>
                    <a:pt x="8594" y="3664"/>
                  </a:lnTo>
                  <a:lnTo>
                    <a:pt x="8594" y="3710"/>
                  </a:lnTo>
                  <a:lnTo>
                    <a:pt x="8605" y="3733"/>
                  </a:lnTo>
                  <a:lnTo>
                    <a:pt x="8662" y="3733"/>
                  </a:lnTo>
                  <a:lnTo>
                    <a:pt x="8685" y="3790"/>
                  </a:lnTo>
                  <a:lnTo>
                    <a:pt x="8742" y="3733"/>
                  </a:lnTo>
                  <a:lnTo>
                    <a:pt x="8788" y="3721"/>
                  </a:lnTo>
                  <a:lnTo>
                    <a:pt x="8834" y="3733"/>
                  </a:lnTo>
                  <a:lnTo>
                    <a:pt x="8868" y="3767"/>
                  </a:lnTo>
                  <a:lnTo>
                    <a:pt x="8891" y="3847"/>
                  </a:lnTo>
                  <a:lnTo>
                    <a:pt x="8902" y="3881"/>
                  </a:lnTo>
                  <a:lnTo>
                    <a:pt x="8993" y="3892"/>
                  </a:lnTo>
                  <a:lnTo>
                    <a:pt x="9119" y="3949"/>
                  </a:lnTo>
                  <a:lnTo>
                    <a:pt x="9176" y="3927"/>
                  </a:lnTo>
                  <a:lnTo>
                    <a:pt x="9244" y="3881"/>
                  </a:lnTo>
                  <a:lnTo>
                    <a:pt x="9279" y="3790"/>
                  </a:lnTo>
                  <a:lnTo>
                    <a:pt x="9313" y="3721"/>
                  </a:lnTo>
                  <a:lnTo>
                    <a:pt x="9359" y="3653"/>
                  </a:lnTo>
                  <a:lnTo>
                    <a:pt x="9404" y="3596"/>
                  </a:lnTo>
                  <a:lnTo>
                    <a:pt x="9381" y="3539"/>
                  </a:lnTo>
                  <a:lnTo>
                    <a:pt x="9347" y="3527"/>
                  </a:lnTo>
                  <a:lnTo>
                    <a:pt x="9302" y="3504"/>
                  </a:lnTo>
                  <a:lnTo>
                    <a:pt x="9233" y="3539"/>
                  </a:lnTo>
                  <a:close/>
                  <a:moveTo>
                    <a:pt x="10021" y="3470"/>
                  </a:moveTo>
                  <a:lnTo>
                    <a:pt x="10032" y="3413"/>
                  </a:lnTo>
                  <a:lnTo>
                    <a:pt x="10032" y="3402"/>
                  </a:lnTo>
                  <a:lnTo>
                    <a:pt x="9963" y="3299"/>
                  </a:lnTo>
                  <a:lnTo>
                    <a:pt x="9827" y="3253"/>
                  </a:lnTo>
                  <a:lnTo>
                    <a:pt x="9690" y="3265"/>
                  </a:lnTo>
                  <a:lnTo>
                    <a:pt x="9678" y="3287"/>
                  </a:lnTo>
                  <a:lnTo>
                    <a:pt x="9678" y="3345"/>
                  </a:lnTo>
                  <a:lnTo>
                    <a:pt x="9690" y="3356"/>
                  </a:lnTo>
                  <a:lnTo>
                    <a:pt x="9769" y="3367"/>
                  </a:lnTo>
                  <a:lnTo>
                    <a:pt x="9998" y="347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01" name="Google Shape;372;p29">
              <a:extLst>
                <a:ext uri="{FF2B5EF4-FFF2-40B4-BE49-F238E27FC236}">
                  <a16:creationId xmlns:a16="http://schemas.microsoft.com/office/drawing/2014/main" id="{52D9867A-617F-4EB8-9F2B-69BA87A4396E}"/>
                </a:ext>
              </a:extLst>
            </p:cNvPr>
            <p:cNvSpPr/>
            <p:nvPr/>
          </p:nvSpPr>
          <p:spPr>
            <a:xfrm>
              <a:off x="2326825" y="2825950"/>
              <a:ext cx="3450" cy="4300"/>
            </a:xfrm>
            <a:custGeom>
              <a:avLst/>
              <a:gdLst/>
              <a:ahLst/>
              <a:cxnLst/>
              <a:rect l="l" t="t" r="r" b="b"/>
              <a:pathLst>
                <a:path w="138" h="172" extrusionOk="0">
                  <a:moveTo>
                    <a:pt x="138" y="137"/>
                  </a:moveTo>
                  <a:lnTo>
                    <a:pt x="115" y="126"/>
                  </a:lnTo>
                  <a:lnTo>
                    <a:pt x="81" y="35"/>
                  </a:lnTo>
                  <a:lnTo>
                    <a:pt x="35" y="0"/>
                  </a:lnTo>
                  <a:lnTo>
                    <a:pt x="24" y="12"/>
                  </a:lnTo>
                  <a:lnTo>
                    <a:pt x="1" y="58"/>
                  </a:lnTo>
                  <a:lnTo>
                    <a:pt x="46" y="103"/>
                  </a:lnTo>
                  <a:lnTo>
                    <a:pt x="92" y="149"/>
                  </a:lnTo>
                  <a:lnTo>
                    <a:pt x="126" y="17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02" name="Google Shape;373;p29">
              <a:extLst>
                <a:ext uri="{FF2B5EF4-FFF2-40B4-BE49-F238E27FC236}">
                  <a16:creationId xmlns:a16="http://schemas.microsoft.com/office/drawing/2014/main" id="{C9F17BB8-ACC1-4E30-8E4B-F5493C31F837}"/>
                </a:ext>
              </a:extLst>
            </p:cNvPr>
            <p:cNvSpPr/>
            <p:nvPr/>
          </p:nvSpPr>
          <p:spPr>
            <a:xfrm>
              <a:off x="2474325" y="2697550"/>
              <a:ext cx="3450" cy="2025"/>
            </a:xfrm>
            <a:custGeom>
              <a:avLst/>
              <a:gdLst/>
              <a:ahLst/>
              <a:cxnLst/>
              <a:rect l="l" t="t" r="r" b="b"/>
              <a:pathLst>
                <a:path w="138" h="81" extrusionOk="0">
                  <a:moveTo>
                    <a:pt x="126" y="47"/>
                  </a:moveTo>
                  <a:lnTo>
                    <a:pt x="138" y="12"/>
                  </a:lnTo>
                  <a:lnTo>
                    <a:pt x="104" y="1"/>
                  </a:lnTo>
                  <a:lnTo>
                    <a:pt x="1" y="69"/>
                  </a:lnTo>
                  <a:lnTo>
                    <a:pt x="1" y="8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03" name="Google Shape;374;p29">
              <a:extLst>
                <a:ext uri="{FF2B5EF4-FFF2-40B4-BE49-F238E27FC236}">
                  <a16:creationId xmlns:a16="http://schemas.microsoft.com/office/drawing/2014/main" id="{AFDEDF37-92B8-446C-8C3D-366357445934}"/>
                </a:ext>
              </a:extLst>
            </p:cNvPr>
            <p:cNvSpPr/>
            <p:nvPr/>
          </p:nvSpPr>
          <p:spPr>
            <a:xfrm>
              <a:off x="3747075" y="2144350"/>
              <a:ext cx="6025" cy="4600"/>
            </a:xfrm>
            <a:custGeom>
              <a:avLst/>
              <a:gdLst/>
              <a:ahLst/>
              <a:cxnLst/>
              <a:rect l="l" t="t" r="r" b="b"/>
              <a:pathLst>
                <a:path w="241" h="184" extrusionOk="0">
                  <a:moveTo>
                    <a:pt x="217" y="126"/>
                  </a:moveTo>
                  <a:lnTo>
                    <a:pt x="229" y="103"/>
                  </a:lnTo>
                  <a:lnTo>
                    <a:pt x="240" y="69"/>
                  </a:lnTo>
                  <a:lnTo>
                    <a:pt x="240" y="58"/>
                  </a:lnTo>
                  <a:lnTo>
                    <a:pt x="217" y="46"/>
                  </a:lnTo>
                  <a:lnTo>
                    <a:pt x="115" y="12"/>
                  </a:lnTo>
                  <a:lnTo>
                    <a:pt x="69" y="1"/>
                  </a:lnTo>
                  <a:lnTo>
                    <a:pt x="46" y="12"/>
                  </a:lnTo>
                  <a:lnTo>
                    <a:pt x="12" y="46"/>
                  </a:lnTo>
                  <a:lnTo>
                    <a:pt x="1" y="81"/>
                  </a:lnTo>
                  <a:lnTo>
                    <a:pt x="12" y="103"/>
                  </a:lnTo>
                  <a:lnTo>
                    <a:pt x="12" y="126"/>
                  </a:lnTo>
                  <a:lnTo>
                    <a:pt x="12" y="161"/>
                  </a:lnTo>
                  <a:lnTo>
                    <a:pt x="23" y="183"/>
                  </a:lnTo>
                  <a:lnTo>
                    <a:pt x="58" y="183"/>
                  </a:lnTo>
                  <a:lnTo>
                    <a:pt x="81" y="183"/>
                  </a:lnTo>
                  <a:lnTo>
                    <a:pt x="126" y="172"/>
                  </a:lnTo>
                  <a:lnTo>
                    <a:pt x="195" y="126"/>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04" name="Google Shape;375;p29">
              <a:extLst>
                <a:ext uri="{FF2B5EF4-FFF2-40B4-BE49-F238E27FC236}">
                  <a16:creationId xmlns:a16="http://schemas.microsoft.com/office/drawing/2014/main" id="{1B0C56B7-A6A1-425D-A8E9-4E13436AD223}"/>
                </a:ext>
              </a:extLst>
            </p:cNvPr>
            <p:cNvSpPr/>
            <p:nvPr/>
          </p:nvSpPr>
          <p:spPr>
            <a:xfrm>
              <a:off x="2497150" y="2710400"/>
              <a:ext cx="3750" cy="16000"/>
            </a:xfrm>
            <a:custGeom>
              <a:avLst/>
              <a:gdLst/>
              <a:ahLst/>
              <a:cxnLst/>
              <a:rect l="l" t="t" r="r" b="b"/>
              <a:pathLst>
                <a:path w="150" h="640" extrusionOk="0">
                  <a:moveTo>
                    <a:pt x="126" y="617"/>
                  </a:moveTo>
                  <a:lnTo>
                    <a:pt x="149" y="594"/>
                  </a:lnTo>
                  <a:lnTo>
                    <a:pt x="149" y="583"/>
                  </a:lnTo>
                  <a:lnTo>
                    <a:pt x="149" y="560"/>
                  </a:lnTo>
                  <a:lnTo>
                    <a:pt x="138" y="537"/>
                  </a:lnTo>
                  <a:lnTo>
                    <a:pt x="126" y="514"/>
                  </a:lnTo>
                  <a:lnTo>
                    <a:pt x="69" y="480"/>
                  </a:lnTo>
                  <a:lnTo>
                    <a:pt x="1" y="560"/>
                  </a:lnTo>
                  <a:lnTo>
                    <a:pt x="1" y="583"/>
                  </a:lnTo>
                  <a:lnTo>
                    <a:pt x="12" y="628"/>
                  </a:lnTo>
                  <a:lnTo>
                    <a:pt x="92" y="640"/>
                  </a:lnTo>
                  <a:close/>
                  <a:moveTo>
                    <a:pt x="149" y="115"/>
                  </a:moveTo>
                  <a:lnTo>
                    <a:pt x="149" y="46"/>
                  </a:lnTo>
                  <a:lnTo>
                    <a:pt x="138" y="12"/>
                  </a:lnTo>
                  <a:lnTo>
                    <a:pt x="92" y="12"/>
                  </a:lnTo>
                  <a:lnTo>
                    <a:pt x="81" y="1"/>
                  </a:lnTo>
                  <a:lnTo>
                    <a:pt x="69" y="1"/>
                  </a:lnTo>
                  <a:lnTo>
                    <a:pt x="46" y="12"/>
                  </a:lnTo>
                  <a:lnTo>
                    <a:pt x="69" y="103"/>
                  </a:lnTo>
                  <a:lnTo>
                    <a:pt x="138" y="137"/>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05" name="Google Shape;376;p29">
              <a:extLst>
                <a:ext uri="{FF2B5EF4-FFF2-40B4-BE49-F238E27FC236}">
                  <a16:creationId xmlns:a16="http://schemas.microsoft.com/office/drawing/2014/main" id="{132FDF2C-2BA9-4692-BF2A-3EC37FBFC62F}"/>
                </a:ext>
              </a:extLst>
            </p:cNvPr>
            <p:cNvSpPr/>
            <p:nvPr/>
          </p:nvSpPr>
          <p:spPr>
            <a:xfrm>
              <a:off x="2187025" y="2500700"/>
              <a:ext cx="108150" cy="136700"/>
            </a:xfrm>
            <a:custGeom>
              <a:avLst/>
              <a:gdLst/>
              <a:ahLst/>
              <a:cxnLst/>
              <a:rect l="l" t="t" r="r" b="b"/>
              <a:pathLst>
                <a:path w="4326" h="5468" extrusionOk="0">
                  <a:moveTo>
                    <a:pt x="3984" y="5216"/>
                  </a:moveTo>
                  <a:lnTo>
                    <a:pt x="4018" y="5136"/>
                  </a:lnTo>
                  <a:lnTo>
                    <a:pt x="3972" y="5125"/>
                  </a:lnTo>
                  <a:lnTo>
                    <a:pt x="3904" y="5216"/>
                  </a:lnTo>
                  <a:lnTo>
                    <a:pt x="3812" y="5262"/>
                  </a:lnTo>
                  <a:lnTo>
                    <a:pt x="3767" y="5262"/>
                  </a:lnTo>
                  <a:lnTo>
                    <a:pt x="3675" y="5216"/>
                  </a:lnTo>
                  <a:lnTo>
                    <a:pt x="3596" y="5216"/>
                  </a:lnTo>
                  <a:lnTo>
                    <a:pt x="3539" y="5284"/>
                  </a:lnTo>
                  <a:lnTo>
                    <a:pt x="3459" y="5307"/>
                  </a:lnTo>
                  <a:lnTo>
                    <a:pt x="3470" y="5319"/>
                  </a:lnTo>
                  <a:lnTo>
                    <a:pt x="3470" y="5353"/>
                  </a:lnTo>
                  <a:lnTo>
                    <a:pt x="3447" y="5387"/>
                  </a:lnTo>
                  <a:lnTo>
                    <a:pt x="3447" y="5421"/>
                  </a:lnTo>
                  <a:lnTo>
                    <a:pt x="3459" y="5467"/>
                  </a:lnTo>
                  <a:lnTo>
                    <a:pt x="3675" y="5444"/>
                  </a:lnTo>
                  <a:lnTo>
                    <a:pt x="3858" y="5421"/>
                  </a:lnTo>
                  <a:lnTo>
                    <a:pt x="3961" y="5296"/>
                  </a:lnTo>
                  <a:close/>
                  <a:moveTo>
                    <a:pt x="4098" y="4931"/>
                  </a:moveTo>
                  <a:lnTo>
                    <a:pt x="4041" y="4896"/>
                  </a:lnTo>
                  <a:lnTo>
                    <a:pt x="3984" y="4931"/>
                  </a:lnTo>
                  <a:lnTo>
                    <a:pt x="3995" y="4976"/>
                  </a:lnTo>
                  <a:close/>
                  <a:moveTo>
                    <a:pt x="4098" y="4109"/>
                  </a:moveTo>
                  <a:lnTo>
                    <a:pt x="4041" y="4075"/>
                  </a:lnTo>
                  <a:lnTo>
                    <a:pt x="3995" y="4155"/>
                  </a:lnTo>
                  <a:lnTo>
                    <a:pt x="4041" y="4166"/>
                  </a:lnTo>
                  <a:lnTo>
                    <a:pt x="4143" y="4155"/>
                  </a:lnTo>
                  <a:lnTo>
                    <a:pt x="4212" y="4166"/>
                  </a:lnTo>
                  <a:lnTo>
                    <a:pt x="4280" y="4223"/>
                  </a:lnTo>
                  <a:lnTo>
                    <a:pt x="4326" y="4189"/>
                  </a:lnTo>
                  <a:lnTo>
                    <a:pt x="4315" y="4177"/>
                  </a:lnTo>
                  <a:lnTo>
                    <a:pt x="4257" y="4132"/>
                  </a:lnTo>
                  <a:lnTo>
                    <a:pt x="4166" y="4120"/>
                  </a:lnTo>
                  <a:lnTo>
                    <a:pt x="4143" y="4120"/>
                  </a:lnTo>
                  <a:close/>
                  <a:moveTo>
                    <a:pt x="3150" y="4292"/>
                  </a:moveTo>
                  <a:lnTo>
                    <a:pt x="3253" y="4212"/>
                  </a:lnTo>
                  <a:lnTo>
                    <a:pt x="3356" y="4166"/>
                  </a:lnTo>
                  <a:lnTo>
                    <a:pt x="3481" y="4006"/>
                  </a:lnTo>
                  <a:lnTo>
                    <a:pt x="3470" y="3881"/>
                  </a:lnTo>
                  <a:lnTo>
                    <a:pt x="3504" y="3824"/>
                  </a:lnTo>
                  <a:lnTo>
                    <a:pt x="3413" y="3835"/>
                  </a:lnTo>
                  <a:lnTo>
                    <a:pt x="3402" y="3881"/>
                  </a:lnTo>
                  <a:lnTo>
                    <a:pt x="3379" y="3926"/>
                  </a:lnTo>
                  <a:lnTo>
                    <a:pt x="3424" y="3983"/>
                  </a:lnTo>
                  <a:lnTo>
                    <a:pt x="3424" y="4006"/>
                  </a:lnTo>
                  <a:lnTo>
                    <a:pt x="3402" y="4063"/>
                  </a:lnTo>
                  <a:lnTo>
                    <a:pt x="3356" y="4075"/>
                  </a:lnTo>
                  <a:lnTo>
                    <a:pt x="3344" y="4109"/>
                  </a:lnTo>
                  <a:lnTo>
                    <a:pt x="3299" y="4120"/>
                  </a:lnTo>
                  <a:lnTo>
                    <a:pt x="3242" y="4189"/>
                  </a:lnTo>
                  <a:lnTo>
                    <a:pt x="3128" y="4280"/>
                  </a:lnTo>
                  <a:lnTo>
                    <a:pt x="3093" y="4326"/>
                  </a:lnTo>
                  <a:close/>
                  <a:moveTo>
                    <a:pt x="3322" y="3835"/>
                  </a:moveTo>
                  <a:lnTo>
                    <a:pt x="3242" y="3812"/>
                  </a:lnTo>
                  <a:lnTo>
                    <a:pt x="3208" y="3755"/>
                  </a:lnTo>
                  <a:lnTo>
                    <a:pt x="3150" y="3732"/>
                  </a:lnTo>
                  <a:lnTo>
                    <a:pt x="3139" y="3767"/>
                  </a:lnTo>
                  <a:lnTo>
                    <a:pt x="3139" y="3789"/>
                  </a:lnTo>
                  <a:lnTo>
                    <a:pt x="3150" y="3846"/>
                  </a:lnTo>
                  <a:lnTo>
                    <a:pt x="3185" y="3835"/>
                  </a:lnTo>
                  <a:lnTo>
                    <a:pt x="3299" y="3892"/>
                  </a:lnTo>
                  <a:lnTo>
                    <a:pt x="3356" y="3846"/>
                  </a:lnTo>
                  <a:close/>
                  <a:moveTo>
                    <a:pt x="2740" y="3675"/>
                  </a:moveTo>
                  <a:lnTo>
                    <a:pt x="2740" y="3584"/>
                  </a:lnTo>
                  <a:lnTo>
                    <a:pt x="2683" y="3504"/>
                  </a:lnTo>
                  <a:lnTo>
                    <a:pt x="2603" y="3447"/>
                  </a:lnTo>
                  <a:lnTo>
                    <a:pt x="2580" y="3276"/>
                  </a:lnTo>
                  <a:lnTo>
                    <a:pt x="2546" y="3185"/>
                  </a:lnTo>
                  <a:lnTo>
                    <a:pt x="2511" y="3093"/>
                  </a:lnTo>
                  <a:lnTo>
                    <a:pt x="2454" y="2979"/>
                  </a:lnTo>
                  <a:lnTo>
                    <a:pt x="2454" y="3048"/>
                  </a:lnTo>
                  <a:lnTo>
                    <a:pt x="2466" y="3070"/>
                  </a:lnTo>
                  <a:lnTo>
                    <a:pt x="2489" y="3150"/>
                  </a:lnTo>
                  <a:lnTo>
                    <a:pt x="2546" y="3276"/>
                  </a:lnTo>
                  <a:lnTo>
                    <a:pt x="2557" y="3333"/>
                  </a:lnTo>
                  <a:lnTo>
                    <a:pt x="2546" y="3390"/>
                  </a:lnTo>
                  <a:lnTo>
                    <a:pt x="2489" y="3413"/>
                  </a:lnTo>
                  <a:lnTo>
                    <a:pt x="2466" y="3436"/>
                  </a:lnTo>
                  <a:lnTo>
                    <a:pt x="2546" y="3481"/>
                  </a:lnTo>
                  <a:lnTo>
                    <a:pt x="2660" y="3527"/>
                  </a:lnTo>
                  <a:lnTo>
                    <a:pt x="2728" y="3710"/>
                  </a:lnTo>
                  <a:close/>
                  <a:moveTo>
                    <a:pt x="2158" y="3185"/>
                  </a:moveTo>
                  <a:lnTo>
                    <a:pt x="2089" y="3139"/>
                  </a:lnTo>
                  <a:lnTo>
                    <a:pt x="2055" y="3093"/>
                  </a:lnTo>
                  <a:lnTo>
                    <a:pt x="1952" y="2991"/>
                  </a:lnTo>
                  <a:lnTo>
                    <a:pt x="1918" y="2979"/>
                  </a:lnTo>
                  <a:lnTo>
                    <a:pt x="1884" y="3036"/>
                  </a:lnTo>
                  <a:lnTo>
                    <a:pt x="1941" y="3048"/>
                  </a:lnTo>
                  <a:lnTo>
                    <a:pt x="2066" y="3150"/>
                  </a:lnTo>
                  <a:lnTo>
                    <a:pt x="2123" y="3173"/>
                  </a:lnTo>
                  <a:close/>
                  <a:moveTo>
                    <a:pt x="3196" y="2614"/>
                  </a:moveTo>
                  <a:lnTo>
                    <a:pt x="3185" y="2568"/>
                  </a:lnTo>
                  <a:lnTo>
                    <a:pt x="3173" y="2568"/>
                  </a:lnTo>
                  <a:lnTo>
                    <a:pt x="3128" y="2580"/>
                  </a:lnTo>
                  <a:lnTo>
                    <a:pt x="3082" y="2705"/>
                  </a:lnTo>
                  <a:lnTo>
                    <a:pt x="3128" y="2705"/>
                  </a:lnTo>
                  <a:close/>
                  <a:moveTo>
                    <a:pt x="685" y="2454"/>
                  </a:moveTo>
                  <a:lnTo>
                    <a:pt x="663" y="2409"/>
                  </a:lnTo>
                  <a:lnTo>
                    <a:pt x="617" y="2431"/>
                  </a:lnTo>
                  <a:lnTo>
                    <a:pt x="549" y="2431"/>
                  </a:lnTo>
                  <a:lnTo>
                    <a:pt x="514" y="2454"/>
                  </a:lnTo>
                  <a:lnTo>
                    <a:pt x="457" y="2454"/>
                  </a:lnTo>
                  <a:lnTo>
                    <a:pt x="412" y="2477"/>
                  </a:lnTo>
                  <a:lnTo>
                    <a:pt x="469" y="2591"/>
                  </a:lnTo>
                  <a:lnTo>
                    <a:pt x="514" y="2637"/>
                  </a:lnTo>
                  <a:lnTo>
                    <a:pt x="526" y="2785"/>
                  </a:lnTo>
                  <a:lnTo>
                    <a:pt x="560" y="2797"/>
                  </a:lnTo>
                  <a:lnTo>
                    <a:pt x="549" y="2899"/>
                  </a:lnTo>
                  <a:lnTo>
                    <a:pt x="697" y="2911"/>
                  </a:lnTo>
                  <a:lnTo>
                    <a:pt x="754" y="2797"/>
                  </a:lnTo>
                  <a:lnTo>
                    <a:pt x="754" y="2751"/>
                  </a:lnTo>
                  <a:lnTo>
                    <a:pt x="754" y="2740"/>
                  </a:lnTo>
                  <a:lnTo>
                    <a:pt x="754" y="2705"/>
                  </a:lnTo>
                  <a:lnTo>
                    <a:pt x="754" y="2682"/>
                  </a:lnTo>
                  <a:lnTo>
                    <a:pt x="754" y="2557"/>
                  </a:lnTo>
                  <a:lnTo>
                    <a:pt x="720" y="2477"/>
                  </a:lnTo>
                  <a:lnTo>
                    <a:pt x="663" y="2568"/>
                  </a:lnTo>
                  <a:lnTo>
                    <a:pt x="606" y="2523"/>
                  </a:lnTo>
                  <a:lnTo>
                    <a:pt x="685" y="2466"/>
                  </a:lnTo>
                  <a:close/>
                  <a:moveTo>
                    <a:pt x="2523" y="2500"/>
                  </a:moveTo>
                  <a:lnTo>
                    <a:pt x="2386" y="2294"/>
                  </a:lnTo>
                  <a:lnTo>
                    <a:pt x="2386" y="2272"/>
                  </a:lnTo>
                  <a:lnTo>
                    <a:pt x="2317" y="2055"/>
                  </a:lnTo>
                  <a:lnTo>
                    <a:pt x="2272" y="2043"/>
                  </a:lnTo>
                  <a:lnTo>
                    <a:pt x="2260" y="2055"/>
                  </a:lnTo>
                  <a:lnTo>
                    <a:pt x="2238" y="2078"/>
                  </a:lnTo>
                  <a:lnTo>
                    <a:pt x="2295" y="2135"/>
                  </a:lnTo>
                  <a:lnTo>
                    <a:pt x="2295" y="2192"/>
                  </a:lnTo>
                  <a:lnTo>
                    <a:pt x="2340" y="2226"/>
                  </a:lnTo>
                  <a:lnTo>
                    <a:pt x="2397" y="2386"/>
                  </a:lnTo>
                  <a:lnTo>
                    <a:pt x="2454" y="2431"/>
                  </a:lnTo>
                  <a:lnTo>
                    <a:pt x="2443" y="2477"/>
                  </a:lnTo>
                  <a:lnTo>
                    <a:pt x="2386" y="2523"/>
                  </a:lnTo>
                  <a:lnTo>
                    <a:pt x="2374" y="2557"/>
                  </a:lnTo>
                  <a:lnTo>
                    <a:pt x="2386" y="2557"/>
                  </a:lnTo>
                  <a:lnTo>
                    <a:pt x="2466" y="2534"/>
                  </a:lnTo>
                  <a:lnTo>
                    <a:pt x="2523" y="2534"/>
                  </a:lnTo>
                  <a:close/>
                  <a:moveTo>
                    <a:pt x="1028" y="1758"/>
                  </a:moveTo>
                  <a:lnTo>
                    <a:pt x="1096" y="1724"/>
                  </a:lnTo>
                  <a:lnTo>
                    <a:pt x="1096" y="1724"/>
                  </a:lnTo>
                  <a:lnTo>
                    <a:pt x="1062" y="1701"/>
                  </a:lnTo>
                  <a:lnTo>
                    <a:pt x="959" y="1701"/>
                  </a:lnTo>
                  <a:lnTo>
                    <a:pt x="902" y="1712"/>
                  </a:lnTo>
                  <a:lnTo>
                    <a:pt x="868" y="1735"/>
                  </a:lnTo>
                  <a:lnTo>
                    <a:pt x="891" y="1758"/>
                  </a:lnTo>
                  <a:lnTo>
                    <a:pt x="948" y="1769"/>
                  </a:lnTo>
                  <a:close/>
                  <a:moveTo>
                    <a:pt x="685" y="2043"/>
                  </a:moveTo>
                  <a:lnTo>
                    <a:pt x="617" y="1952"/>
                  </a:lnTo>
                  <a:lnTo>
                    <a:pt x="571" y="1827"/>
                  </a:lnTo>
                  <a:lnTo>
                    <a:pt x="549" y="1769"/>
                  </a:lnTo>
                  <a:lnTo>
                    <a:pt x="560" y="1701"/>
                  </a:lnTo>
                  <a:lnTo>
                    <a:pt x="514" y="1644"/>
                  </a:lnTo>
                  <a:lnTo>
                    <a:pt x="434" y="1587"/>
                  </a:lnTo>
                  <a:lnTo>
                    <a:pt x="389" y="1598"/>
                  </a:lnTo>
                  <a:lnTo>
                    <a:pt x="400" y="1758"/>
                  </a:lnTo>
                  <a:lnTo>
                    <a:pt x="377" y="1838"/>
                  </a:lnTo>
                  <a:lnTo>
                    <a:pt x="263" y="1998"/>
                  </a:lnTo>
                  <a:lnTo>
                    <a:pt x="275" y="2055"/>
                  </a:lnTo>
                  <a:lnTo>
                    <a:pt x="275" y="2055"/>
                  </a:lnTo>
                  <a:lnTo>
                    <a:pt x="286" y="2078"/>
                  </a:lnTo>
                  <a:lnTo>
                    <a:pt x="218" y="2135"/>
                  </a:lnTo>
                  <a:lnTo>
                    <a:pt x="218" y="2100"/>
                  </a:lnTo>
                  <a:lnTo>
                    <a:pt x="138" y="2112"/>
                  </a:lnTo>
                  <a:lnTo>
                    <a:pt x="172" y="2180"/>
                  </a:lnTo>
                  <a:lnTo>
                    <a:pt x="263" y="2237"/>
                  </a:lnTo>
                  <a:lnTo>
                    <a:pt x="297" y="2249"/>
                  </a:lnTo>
                  <a:lnTo>
                    <a:pt x="343" y="2226"/>
                  </a:lnTo>
                  <a:lnTo>
                    <a:pt x="343" y="2294"/>
                  </a:lnTo>
                  <a:lnTo>
                    <a:pt x="389" y="2351"/>
                  </a:lnTo>
                  <a:lnTo>
                    <a:pt x="400" y="2409"/>
                  </a:lnTo>
                  <a:lnTo>
                    <a:pt x="446" y="2363"/>
                  </a:lnTo>
                  <a:lnTo>
                    <a:pt x="526" y="2340"/>
                  </a:lnTo>
                  <a:lnTo>
                    <a:pt x="560" y="2306"/>
                  </a:lnTo>
                  <a:lnTo>
                    <a:pt x="663" y="2249"/>
                  </a:lnTo>
                  <a:lnTo>
                    <a:pt x="663" y="2226"/>
                  </a:lnTo>
                  <a:lnTo>
                    <a:pt x="674" y="2135"/>
                  </a:lnTo>
                  <a:close/>
                  <a:moveTo>
                    <a:pt x="1644" y="1324"/>
                  </a:moveTo>
                  <a:lnTo>
                    <a:pt x="1598" y="1256"/>
                  </a:lnTo>
                  <a:lnTo>
                    <a:pt x="1587" y="1267"/>
                  </a:lnTo>
                  <a:lnTo>
                    <a:pt x="1576" y="1324"/>
                  </a:lnTo>
                  <a:lnTo>
                    <a:pt x="1530" y="1381"/>
                  </a:lnTo>
                  <a:lnTo>
                    <a:pt x="1598" y="1370"/>
                  </a:lnTo>
                  <a:lnTo>
                    <a:pt x="1655" y="1381"/>
                  </a:lnTo>
                  <a:lnTo>
                    <a:pt x="1747" y="1450"/>
                  </a:lnTo>
                  <a:lnTo>
                    <a:pt x="1849" y="1484"/>
                  </a:lnTo>
                  <a:lnTo>
                    <a:pt x="1884" y="1564"/>
                  </a:lnTo>
                  <a:lnTo>
                    <a:pt x="1975" y="1655"/>
                  </a:lnTo>
                  <a:lnTo>
                    <a:pt x="1975" y="1735"/>
                  </a:lnTo>
                  <a:lnTo>
                    <a:pt x="1918" y="1827"/>
                  </a:lnTo>
                  <a:lnTo>
                    <a:pt x="1895" y="1929"/>
                  </a:lnTo>
                  <a:lnTo>
                    <a:pt x="1815" y="1941"/>
                  </a:lnTo>
                  <a:lnTo>
                    <a:pt x="1827" y="1952"/>
                  </a:lnTo>
                  <a:lnTo>
                    <a:pt x="1872" y="1998"/>
                  </a:lnTo>
                  <a:lnTo>
                    <a:pt x="1884" y="2055"/>
                  </a:lnTo>
                  <a:lnTo>
                    <a:pt x="1918" y="2078"/>
                  </a:lnTo>
                  <a:lnTo>
                    <a:pt x="1918" y="1986"/>
                  </a:lnTo>
                  <a:lnTo>
                    <a:pt x="1952" y="1872"/>
                  </a:lnTo>
                  <a:lnTo>
                    <a:pt x="2009" y="1678"/>
                  </a:lnTo>
                  <a:lnTo>
                    <a:pt x="1998" y="1644"/>
                  </a:lnTo>
                  <a:lnTo>
                    <a:pt x="1952" y="1598"/>
                  </a:lnTo>
                  <a:lnTo>
                    <a:pt x="1861" y="1473"/>
                  </a:lnTo>
                  <a:lnTo>
                    <a:pt x="1758" y="1427"/>
                  </a:lnTo>
                  <a:close/>
                  <a:moveTo>
                    <a:pt x="389" y="195"/>
                  </a:moveTo>
                  <a:lnTo>
                    <a:pt x="320" y="138"/>
                  </a:lnTo>
                  <a:lnTo>
                    <a:pt x="286" y="195"/>
                  </a:lnTo>
                  <a:lnTo>
                    <a:pt x="286" y="217"/>
                  </a:lnTo>
                  <a:lnTo>
                    <a:pt x="275" y="252"/>
                  </a:lnTo>
                  <a:lnTo>
                    <a:pt x="206" y="309"/>
                  </a:lnTo>
                  <a:lnTo>
                    <a:pt x="126" y="332"/>
                  </a:lnTo>
                  <a:lnTo>
                    <a:pt x="35" y="240"/>
                  </a:lnTo>
                  <a:lnTo>
                    <a:pt x="1" y="229"/>
                  </a:lnTo>
                  <a:lnTo>
                    <a:pt x="115" y="389"/>
                  </a:lnTo>
                  <a:lnTo>
                    <a:pt x="160" y="400"/>
                  </a:lnTo>
                  <a:lnTo>
                    <a:pt x="218" y="400"/>
                  </a:lnTo>
                  <a:lnTo>
                    <a:pt x="343" y="354"/>
                  </a:lnTo>
                  <a:lnTo>
                    <a:pt x="571" y="286"/>
                  </a:lnTo>
                  <a:lnTo>
                    <a:pt x="811" y="252"/>
                  </a:lnTo>
                  <a:lnTo>
                    <a:pt x="834" y="229"/>
                  </a:lnTo>
                  <a:lnTo>
                    <a:pt x="811" y="183"/>
                  </a:lnTo>
                  <a:lnTo>
                    <a:pt x="697" y="217"/>
                  </a:lnTo>
                  <a:lnTo>
                    <a:pt x="560" y="195"/>
                  </a:lnTo>
                  <a:lnTo>
                    <a:pt x="526" y="229"/>
                  </a:lnTo>
                  <a:lnTo>
                    <a:pt x="469" y="229"/>
                  </a:lnTo>
                  <a:close/>
                  <a:moveTo>
                    <a:pt x="1256" y="936"/>
                  </a:moveTo>
                  <a:lnTo>
                    <a:pt x="1290" y="902"/>
                  </a:lnTo>
                  <a:lnTo>
                    <a:pt x="1347" y="640"/>
                  </a:lnTo>
                  <a:lnTo>
                    <a:pt x="1461" y="560"/>
                  </a:lnTo>
                  <a:lnTo>
                    <a:pt x="1473" y="389"/>
                  </a:lnTo>
                  <a:lnTo>
                    <a:pt x="1404" y="309"/>
                  </a:lnTo>
                  <a:lnTo>
                    <a:pt x="1347" y="286"/>
                  </a:lnTo>
                  <a:lnTo>
                    <a:pt x="1325" y="252"/>
                  </a:lnTo>
                  <a:lnTo>
                    <a:pt x="1347" y="229"/>
                  </a:lnTo>
                  <a:lnTo>
                    <a:pt x="1313" y="217"/>
                  </a:lnTo>
                  <a:lnTo>
                    <a:pt x="1279" y="183"/>
                  </a:lnTo>
                  <a:lnTo>
                    <a:pt x="1222" y="103"/>
                  </a:lnTo>
                  <a:lnTo>
                    <a:pt x="1165" y="46"/>
                  </a:lnTo>
                  <a:lnTo>
                    <a:pt x="1062" y="23"/>
                  </a:lnTo>
                  <a:lnTo>
                    <a:pt x="971" y="12"/>
                  </a:lnTo>
                  <a:lnTo>
                    <a:pt x="914" y="1"/>
                  </a:lnTo>
                  <a:lnTo>
                    <a:pt x="845" y="35"/>
                  </a:lnTo>
                  <a:lnTo>
                    <a:pt x="959" y="35"/>
                  </a:lnTo>
                  <a:lnTo>
                    <a:pt x="1176" y="80"/>
                  </a:lnTo>
                  <a:lnTo>
                    <a:pt x="1279" y="297"/>
                  </a:lnTo>
                  <a:lnTo>
                    <a:pt x="1347" y="354"/>
                  </a:lnTo>
                  <a:lnTo>
                    <a:pt x="1359" y="411"/>
                  </a:lnTo>
                  <a:lnTo>
                    <a:pt x="1325" y="468"/>
                  </a:lnTo>
                  <a:lnTo>
                    <a:pt x="1325" y="526"/>
                  </a:lnTo>
                  <a:lnTo>
                    <a:pt x="1290" y="594"/>
                  </a:lnTo>
                  <a:lnTo>
                    <a:pt x="1279" y="708"/>
                  </a:lnTo>
                  <a:lnTo>
                    <a:pt x="1233" y="765"/>
                  </a:lnTo>
                  <a:lnTo>
                    <a:pt x="1131" y="834"/>
                  </a:lnTo>
                  <a:lnTo>
                    <a:pt x="1188" y="868"/>
                  </a:lnTo>
                  <a:lnTo>
                    <a:pt x="1233" y="94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06" name="Google Shape;377;p29">
              <a:extLst>
                <a:ext uri="{FF2B5EF4-FFF2-40B4-BE49-F238E27FC236}">
                  <a16:creationId xmlns:a16="http://schemas.microsoft.com/office/drawing/2014/main" id="{035EEB53-F9EE-4B94-A992-02B5A1A63BFF}"/>
                </a:ext>
              </a:extLst>
            </p:cNvPr>
            <p:cNvSpPr/>
            <p:nvPr/>
          </p:nvSpPr>
          <p:spPr>
            <a:xfrm>
              <a:off x="2482900" y="2377725"/>
              <a:ext cx="4300" cy="2900"/>
            </a:xfrm>
            <a:custGeom>
              <a:avLst/>
              <a:gdLst/>
              <a:ahLst/>
              <a:cxnLst/>
              <a:rect l="l" t="t" r="r" b="b"/>
              <a:pathLst>
                <a:path w="172" h="116" extrusionOk="0">
                  <a:moveTo>
                    <a:pt x="114" y="81"/>
                  </a:moveTo>
                  <a:lnTo>
                    <a:pt x="171" y="1"/>
                  </a:lnTo>
                  <a:lnTo>
                    <a:pt x="149" y="1"/>
                  </a:lnTo>
                  <a:lnTo>
                    <a:pt x="80" y="69"/>
                  </a:lnTo>
                  <a:lnTo>
                    <a:pt x="0" y="92"/>
                  </a:lnTo>
                  <a:lnTo>
                    <a:pt x="12" y="115"/>
                  </a:lnTo>
                  <a:lnTo>
                    <a:pt x="23" y="11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07" name="Google Shape;378;p29">
              <a:extLst>
                <a:ext uri="{FF2B5EF4-FFF2-40B4-BE49-F238E27FC236}">
                  <a16:creationId xmlns:a16="http://schemas.microsoft.com/office/drawing/2014/main" id="{AB20FD5B-D6FC-4A85-8BB1-D39AEE9CC4D7}"/>
                </a:ext>
              </a:extLst>
            </p:cNvPr>
            <p:cNvSpPr/>
            <p:nvPr/>
          </p:nvSpPr>
          <p:spPr>
            <a:xfrm>
              <a:off x="2535100" y="2809975"/>
              <a:ext cx="4300" cy="6025"/>
            </a:xfrm>
            <a:custGeom>
              <a:avLst/>
              <a:gdLst/>
              <a:ahLst/>
              <a:cxnLst/>
              <a:rect l="l" t="t" r="r" b="b"/>
              <a:pathLst>
                <a:path w="172" h="241" extrusionOk="0">
                  <a:moveTo>
                    <a:pt x="115" y="206"/>
                  </a:moveTo>
                  <a:lnTo>
                    <a:pt x="172" y="149"/>
                  </a:lnTo>
                  <a:lnTo>
                    <a:pt x="138" y="114"/>
                  </a:lnTo>
                  <a:lnTo>
                    <a:pt x="46" y="0"/>
                  </a:lnTo>
                  <a:lnTo>
                    <a:pt x="1" y="12"/>
                  </a:lnTo>
                  <a:lnTo>
                    <a:pt x="1" y="149"/>
                  </a:lnTo>
                  <a:lnTo>
                    <a:pt x="23" y="194"/>
                  </a:lnTo>
                  <a:lnTo>
                    <a:pt x="92" y="24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08" name="Google Shape;379;p29">
              <a:extLst>
                <a:ext uri="{FF2B5EF4-FFF2-40B4-BE49-F238E27FC236}">
                  <a16:creationId xmlns:a16="http://schemas.microsoft.com/office/drawing/2014/main" id="{3EE7EFA0-8B39-4DFA-9175-5D88308382B1}"/>
                </a:ext>
              </a:extLst>
            </p:cNvPr>
            <p:cNvSpPr/>
            <p:nvPr/>
          </p:nvSpPr>
          <p:spPr>
            <a:xfrm>
              <a:off x="4582175" y="3370025"/>
              <a:ext cx="25700" cy="22850"/>
            </a:xfrm>
            <a:custGeom>
              <a:avLst/>
              <a:gdLst/>
              <a:ahLst/>
              <a:cxnLst/>
              <a:rect l="l" t="t" r="r" b="b"/>
              <a:pathLst>
                <a:path w="1028" h="914" extrusionOk="0">
                  <a:moveTo>
                    <a:pt x="434" y="856"/>
                  </a:moveTo>
                  <a:lnTo>
                    <a:pt x="377" y="799"/>
                  </a:lnTo>
                  <a:lnTo>
                    <a:pt x="320" y="799"/>
                  </a:lnTo>
                  <a:lnTo>
                    <a:pt x="320" y="834"/>
                  </a:lnTo>
                  <a:lnTo>
                    <a:pt x="331" y="891"/>
                  </a:lnTo>
                  <a:lnTo>
                    <a:pt x="491" y="913"/>
                  </a:lnTo>
                  <a:close/>
                  <a:moveTo>
                    <a:pt x="993" y="651"/>
                  </a:moveTo>
                  <a:lnTo>
                    <a:pt x="970" y="651"/>
                  </a:lnTo>
                  <a:lnTo>
                    <a:pt x="947" y="662"/>
                  </a:lnTo>
                  <a:lnTo>
                    <a:pt x="936" y="685"/>
                  </a:lnTo>
                  <a:lnTo>
                    <a:pt x="913" y="731"/>
                  </a:lnTo>
                  <a:lnTo>
                    <a:pt x="879" y="731"/>
                  </a:lnTo>
                  <a:lnTo>
                    <a:pt x="845" y="731"/>
                  </a:lnTo>
                  <a:lnTo>
                    <a:pt x="788" y="731"/>
                  </a:lnTo>
                  <a:lnTo>
                    <a:pt x="902" y="799"/>
                  </a:lnTo>
                  <a:lnTo>
                    <a:pt x="970" y="879"/>
                  </a:lnTo>
                  <a:lnTo>
                    <a:pt x="1004" y="902"/>
                  </a:lnTo>
                  <a:lnTo>
                    <a:pt x="1016" y="879"/>
                  </a:lnTo>
                  <a:lnTo>
                    <a:pt x="1027" y="777"/>
                  </a:lnTo>
                  <a:close/>
                  <a:moveTo>
                    <a:pt x="194" y="491"/>
                  </a:moveTo>
                  <a:lnTo>
                    <a:pt x="217" y="446"/>
                  </a:lnTo>
                  <a:lnTo>
                    <a:pt x="194" y="343"/>
                  </a:lnTo>
                  <a:lnTo>
                    <a:pt x="137" y="229"/>
                  </a:lnTo>
                  <a:lnTo>
                    <a:pt x="148" y="35"/>
                  </a:lnTo>
                  <a:lnTo>
                    <a:pt x="114" y="0"/>
                  </a:lnTo>
                  <a:lnTo>
                    <a:pt x="69" y="0"/>
                  </a:lnTo>
                  <a:lnTo>
                    <a:pt x="57" y="23"/>
                  </a:lnTo>
                  <a:lnTo>
                    <a:pt x="46" y="58"/>
                  </a:lnTo>
                  <a:lnTo>
                    <a:pt x="0" y="343"/>
                  </a:lnTo>
                  <a:lnTo>
                    <a:pt x="57" y="434"/>
                  </a:lnTo>
                  <a:lnTo>
                    <a:pt x="103" y="446"/>
                  </a:lnTo>
                  <a:lnTo>
                    <a:pt x="171" y="50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09" name="Google Shape;380;p29">
              <a:extLst>
                <a:ext uri="{FF2B5EF4-FFF2-40B4-BE49-F238E27FC236}">
                  <a16:creationId xmlns:a16="http://schemas.microsoft.com/office/drawing/2014/main" id="{3E48BDD4-64A2-4A02-8542-7C07F4CBEE18}"/>
                </a:ext>
              </a:extLst>
            </p:cNvPr>
            <p:cNvSpPr/>
            <p:nvPr/>
          </p:nvSpPr>
          <p:spPr>
            <a:xfrm>
              <a:off x="3219825" y="2722100"/>
              <a:ext cx="52250" cy="53950"/>
            </a:xfrm>
            <a:custGeom>
              <a:avLst/>
              <a:gdLst/>
              <a:ahLst/>
              <a:cxnLst/>
              <a:rect l="l" t="t" r="r" b="b"/>
              <a:pathLst>
                <a:path w="2090" h="2158" extrusionOk="0">
                  <a:moveTo>
                    <a:pt x="765" y="2112"/>
                  </a:moveTo>
                  <a:lnTo>
                    <a:pt x="777" y="2055"/>
                  </a:lnTo>
                  <a:lnTo>
                    <a:pt x="743" y="1975"/>
                  </a:lnTo>
                  <a:lnTo>
                    <a:pt x="708" y="1952"/>
                  </a:lnTo>
                  <a:lnTo>
                    <a:pt x="617" y="2009"/>
                  </a:lnTo>
                  <a:lnTo>
                    <a:pt x="606" y="2055"/>
                  </a:lnTo>
                  <a:lnTo>
                    <a:pt x="617" y="2100"/>
                  </a:lnTo>
                  <a:lnTo>
                    <a:pt x="663" y="2146"/>
                  </a:lnTo>
                  <a:lnTo>
                    <a:pt x="697" y="2157"/>
                  </a:lnTo>
                  <a:close/>
                  <a:moveTo>
                    <a:pt x="1656" y="1872"/>
                  </a:moveTo>
                  <a:lnTo>
                    <a:pt x="1713" y="1838"/>
                  </a:lnTo>
                  <a:lnTo>
                    <a:pt x="1713" y="1746"/>
                  </a:lnTo>
                  <a:lnTo>
                    <a:pt x="1701" y="1701"/>
                  </a:lnTo>
                  <a:lnTo>
                    <a:pt x="1644" y="1701"/>
                  </a:lnTo>
                  <a:lnTo>
                    <a:pt x="1610" y="1758"/>
                  </a:lnTo>
                  <a:lnTo>
                    <a:pt x="1610" y="1769"/>
                  </a:lnTo>
                  <a:lnTo>
                    <a:pt x="1610" y="1826"/>
                  </a:lnTo>
                  <a:lnTo>
                    <a:pt x="1644" y="1872"/>
                  </a:lnTo>
                  <a:close/>
                  <a:moveTo>
                    <a:pt x="1462" y="1986"/>
                  </a:moveTo>
                  <a:lnTo>
                    <a:pt x="1393" y="1861"/>
                  </a:lnTo>
                  <a:lnTo>
                    <a:pt x="1348" y="1838"/>
                  </a:lnTo>
                  <a:lnTo>
                    <a:pt x="1256" y="1746"/>
                  </a:lnTo>
                  <a:lnTo>
                    <a:pt x="1256" y="1701"/>
                  </a:lnTo>
                  <a:lnTo>
                    <a:pt x="1222" y="1689"/>
                  </a:lnTo>
                  <a:lnTo>
                    <a:pt x="1222" y="1712"/>
                  </a:lnTo>
                  <a:lnTo>
                    <a:pt x="1222" y="1769"/>
                  </a:lnTo>
                  <a:lnTo>
                    <a:pt x="1188" y="1838"/>
                  </a:lnTo>
                  <a:lnTo>
                    <a:pt x="1188" y="1918"/>
                  </a:lnTo>
                  <a:lnTo>
                    <a:pt x="1245" y="2032"/>
                  </a:lnTo>
                  <a:lnTo>
                    <a:pt x="1302" y="2055"/>
                  </a:lnTo>
                  <a:lnTo>
                    <a:pt x="1405" y="2066"/>
                  </a:lnTo>
                  <a:close/>
                  <a:moveTo>
                    <a:pt x="1907" y="868"/>
                  </a:moveTo>
                  <a:lnTo>
                    <a:pt x="1907" y="948"/>
                  </a:lnTo>
                  <a:lnTo>
                    <a:pt x="1861" y="1039"/>
                  </a:lnTo>
                  <a:lnTo>
                    <a:pt x="1930" y="1085"/>
                  </a:lnTo>
                  <a:lnTo>
                    <a:pt x="1975" y="1096"/>
                  </a:lnTo>
                  <a:lnTo>
                    <a:pt x="2055" y="1039"/>
                  </a:lnTo>
                  <a:lnTo>
                    <a:pt x="2089" y="970"/>
                  </a:lnTo>
                  <a:lnTo>
                    <a:pt x="2078" y="925"/>
                  </a:lnTo>
                  <a:lnTo>
                    <a:pt x="2032" y="891"/>
                  </a:lnTo>
                  <a:lnTo>
                    <a:pt x="1987" y="868"/>
                  </a:lnTo>
                  <a:lnTo>
                    <a:pt x="1975" y="891"/>
                  </a:lnTo>
                  <a:close/>
                  <a:moveTo>
                    <a:pt x="994" y="514"/>
                  </a:moveTo>
                  <a:lnTo>
                    <a:pt x="845" y="503"/>
                  </a:lnTo>
                  <a:lnTo>
                    <a:pt x="765" y="468"/>
                  </a:lnTo>
                  <a:lnTo>
                    <a:pt x="743" y="468"/>
                  </a:lnTo>
                  <a:lnTo>
                    <a:pt x="743" y="514"/>
                  </a:lnTo>
                  <a:lnTo>
                    <a:pt x="800" y="628"/>
                  </a:lnTo>
                  <a:lnTo>
                    <a:pt x="834" y="560"/>
                  </a:lnTo>
                  <a:lnTo>
                    <a:pt x="857" y="548"/>
                  </a:lnTo>
                  <a:lnTo>
                    <a:pt x="971" y="571"/>
                  </a:lnTo>
                  <a:lnTo>
                    <a:pt x="1028" y="560"/>
                  </a:lnTo>
                  <a:lnTo>
                    <a:pt x="1017" y="548"/>
                  </a:lnTo>
                  <a:close/>
                  <a:moveTo>
                    <a:pt x="1941" y="491"/>
                  </a:moveTo>
                  <a:lnTo>
                    <a:pt x="1930" y="411"/>
                  </a:lnTo>
                  <a:lnTo>
                    <a:pt x="1930" y="320"/>
                  </a:lnTo>
                  <a:lnTo>
                    <a:pt x="1907" y="320"/>
                  </a:lnTo>
                  <a:lnTo>
                    <a:pt x="1861" y="343"/>
                  </a:lnTo>
                  <a:lnTo>
                    <a:pt x="1872" y="446"/>
                  </a:lnTo>
                  <a:lnTo>
                    <a:pt x="1884" y="457"/>
                  </a:lnTo>
                  <a:lnTo>
                    <a:pt x="1918" y="525"/>
                  </a:lnTo>
                  <a:close/>
                  <a:moveTo>
                    <a:pt x="366" y="343"/>
                  </a:moveTo>
                  <a:lnTo>
                    <a:pt x="366" y="320"/>
                  </a:lnTo>
                  <a:lnTo>
                    <a:pt x="320" y="240"/>
                  </a:lnTo>
                  <a:lnTo>
                    <a:pt x="275" y="263"/>
                  </a:lnTo>
                  <a:lnTo>
                    <a:pt x="218" y="286"/>
                  </a:lnTo>
                  <a:lnTo>
                    <a:pt x="206" y="331"/>
                  </a:lnTo>
                  <a:lnTo>
                    <a:pt x="263" y="354"/>
                  </a:lnTo>
                  <a:lnTo>
                    <a:pt x="286" y="354"/>
                  </a:lnTo>
                  <a:close/>
                  <a:moveTo>
                    <a:pt x="149" y="217"/>
                  </a:moveTo>
                  <a:lnTo>
                    <a:pt x="263" y="126"/>
                  </a:lnTo>
                  <a:lnTo>
                    <a:pt x="286" y="92"/>
                  </a:lnTo>
                  <a:lnTo>
                    <a:pt x="263" y="12"/>
                  </a:lnTo>
                  <a:lnTo>
                    <a:pt x="195" y="0"/>
                  </a:lnTo>
                  <a:lnTo>
                    <a:pt x="24" y="92"/>
                  </a:lnTo>
                  <a:lnTo>
                    <a:pt x="1" y="115"/>
                  </a:lnTo>
                  <a:lnTo>
                    <a:pt x="24" y="160"/>
                  </a:lnTo>
                  <a:lnTo>
                    <a:pt x="35" y="229"/>
                  </a:lnTo>
                  <a:lnTo>
                    <a:pt x="58" y="24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10" name="Google Shape;381;p29">
              <a:extLst>
                <a:ext uri="{FF2B5EF4-FFF2-40B4-BE49-F238E27FC236}">
                  <a16:creationId xmlns:a16="http://schemas.microsoft.com/office/drawing/2014/main" id="{F90460F5-0C93-434A-AE42-134A984EECE9}"/>
                </a:ext>
              </a:extLst>
            </p:cNvPr>
            <p:cNvSpPr/>
            <p:nvPr/>
          </p:nvSpPr>
          <p:spPr>
            <a:xfrm>
              <a:off x="2116850" y="2663600"/>
              <a:ext cx="33975" cy="11150"/>
            </a:xfrm>
            <a:custGeom>
              <a:avLst/>
              <a:gdLst/>
              <a:ahLst/>
              <a:cxnLst/>
              <a:rect l="l" t="t" r="r" b="b"/>
              <a:pathLst>
                <a:path w="1359" h="446" extrusionOk="0">
                  <a:moveTo>
                    <a:pt x="35" y="389"/>
                  </a:moveTo>
                  <a:lnTo>
                    <a:pt x="12" y="343"/>
                  </a:lnTo>
                  <a:lnTo>
                    <a:pt x="0" y="355"/>
                  </a:lnTo>
                  <a:lnTo>
                    <a:pt x="0" y="446"/>
                  </a:lnTo>
                  <a:lnTo>
                    <a:pt x="69" y="446"/>
                  </a:lnTo>
                  <a:lnTo>
                    <a:pt x="103" y="446"/>
                  </a:lnTo>
                  <a:lnTo>
                    <a:pt x="137" y="412"/>
                  </a:lnTo>
                  <a:lnTo>
                    <a:pt x="229" y="412"/>
                  </a:lnTo>
                  <a:lnTo>
                    <a:pt x="217" y="389"/>
                  </a:lnTo>
                  <a:lnTo>
                    <a:pt x="103" y="378"/>
                  </a:lnTo>
                  <a:lnTo>
                    <a:pt x="92" y="389"/>
                  </a:lnTo>
                  <a:lnTo>
                    <a:pt x="57" y="400"/>
                  </a:lnTo>
                  <a:close/>
                  <a:moveTo>
                    <a:pt x="1176" y="58"/>
                  </a:moveTo>
                  <a:lnTo>
                    <a:pt x="1176" y="58"/>
                  </a:lnTo>
                  <a:lnTo>
                    <a:pt x="1153" y="47"/>
                  </a:lnTo>
                  <a:lnTo>
                    <a:pt x="1142" y="47"/>
                  </a:lnTo>
                  <a:lnTo>
                    <a:pt x="1096" y="58"/>
                  </a:lnTo>
                  <a:lnTo>
                    <a:pt x="1084" y="58"/>
                  </a:lnTo>
                  <a:lnTo>
                    <a:pt x="1073" y="58"/>
                  </a:lnTo>
                  <a:lnTo>
                    <a:pt x="1050" y="69"/>
                  </a:lnTo>
                  <a:lnTo>
                    <a:pt x="1039" y="92"/>
                  </a:lnTo>
                  <a:lnTo>
                    <a:pt x="1073" y="92"/>
                  </a:lnTo>
                  <a:lnTo>
                    <a:pt x="1130" y="58"/>
                  </a:lnTo>
                  <a:lnTo>
                    <a:pt x="1153" y="58"/>
                  </a:lnTo>
                  <a:close/>
                  <a:moveTo>
                    <a:pt x="1278" y="47"/>
                  </a:moveTo>
                  <a:lnTo>
                    <a:pt x="1358" y="12"/>
                  </a:lnTo>
                  <a:lnTo>
                    <a:pt x="1358" y="12"/>
                  </a:lnTo>
                  <a:lnTo>
                    <a:pt x="1336" y="1"/>
                  </a:lnTo>
                  <a:lnTo>
                    <a:pt x="1324" y="1"/>
                  </a:lnTo>
                  <a:lnTo>
                    <a:pt x="1313" y="12"/>
                  </a:lnTo>
                  <a:lnTo>
                    <a:pt x="1301" y="12"/>
                  </a:lnTo>
                  <a:lnTo>
                    <a:pt x="1221" y="58"/>
                  </a:lnTo>
                  <a:lnTo>
                    <a:pt x="1256" y="5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11" name="Google Shape;382;p29">
              <a:extLst>
                <a:ext uri="{FF2B5EF4-FFF2-40B4-BE49-F238E27FC236}">
                  <a16:creationId xmlns:a16="http://schemas.microsoft.com/office/drawing/2014/main" id="{4D1DBBEA-48C6-4119-9F5F-B8F2BAE6CAA0}"/>
                </a:ext>
              </a:extLst>
            </p:cNvPr>
            <p:cNvSpPr/>
            <p:nvPr/>
          </p:nvSpPr>
          <p:spPr>
            <a:xfrm>
              <a:off x="2502300" y="2757475"/>
              <a:ext cx="4300" cy="9150"/>
            </a:xfrm>
            <a:custGeom>
              <a:avLst/>
              <a:gdLst/>
              <a:ahLst/>
              <a:cxnLst/>
              <a:rect l="l" t="t" r="r" b="b"/>
              <a:pathLst>
                <a:path w="172" h="366" extrusionOk="0">
                  <a:moveTo>
                    <a:pt x="126" y="343"/>
                  </a:moveTo>
                  <a:lnTo>
                    <a:pt x="171" y="240"/>
                  </a:lnTo>
                  <a:lnTo>
                    <a:pt x="160" y="103"/>
                  </a:lnTo>
                  <a:lnTo>
                    <a:pt x="126" y="46"/>
                  </a:lnTo>
                  <a:lnTo>
                    <a:pt x="12" y="1"/>
                  </a:lnTo>
                  <a:lnTo>
                    <a:pt x="12" y="23"/>
                  </a:lnTo>
                  <a:lnTo>
                    <a:pt x="0" y="103"/>
                  </a:lnTo>
                  <a:lnTo>
                    <a:pt x="46" y="217"/>
                  </a:lnTo>
                  <a:lnTo>
                    <a:pt x="57" y="366"/>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12" name="Google Shape;383;p29">
              <a:extLst>
                <a:ext uri="{FF2B5EF4-FFF2-40B4-BE49-F238E27FC236}">
                  <a16:creationId xmlns:a16="http://schemas.microsoft.com/office/drawing/2014/main" id="{AB85103F-D8B5-4D75-8A70-01E8596E3EED}"/>
                </a:ext>
              </a:extLst>
            </p:cNvPr>
            <p:cNvSpPr/>
            <p:nvPr/>
          </p:nvSpPr>
          <p:spPr>
            <a:xfrm>
              <a:off x="2671775" y="4270150"/>
              <a:ext cx="55925" cy="22575"/>
            </a:xfrm>
            <a:custGeom>
              <a:avLst/>
              <a:gdLst/>
              <a:ahLst/>
              <a:cxnLst/>
              <a:rect l="l" t="t" r="r" b="b"/>
              <a:pathLst>
                <a:path w="2237" h="903" extrusionOk="0">
                  <a:moveTo>
                    <a:pt x="1130" y="834"/>
                  </a:moveTo>
                  <a:lnTo>
                    <a:pt x="1118" y="788"/>
                  </a:lnTo>
                  <a:lnTo>
                    <a:pt x="1061" y="766"/>
                  </a:lnTo>
                  <a:lnTo>
                    <a:pt x="1027" y="743"/>
                  </a:lnTo>
                  <a:lnTo>
                    <a:pt x="1039" y="777"/>
                  </a:lnTo>
                  <a:lnTo>
                    <a:pt x="1061" y="823"/>
                  </a:lnTo>
                  <a:lnTo>
                    <a:pt x="1073" y="845"/>
                  </a:lnTo>
                  <a:lnTo>
                    <a:pt x="1096" y="857"/>
                  </a:lnTo>
                  <a:close/>
                  <a:moveTo>
                    <a:pt x="1917" y="651"/>
                  </a:moveTo>
                  <a:lnTo>
                    <a:pt x="1894" y="629"/>
                  </a:lnTo>
                  <a:lnTo>
                    <a:pt x="1872" y="629"/>
                  </a:lnTo>
                  <a:lnTo>
                    <a:pt x="1849" y="663"/>
                  </a:lnTo>
                  <a:lnTo>
                    <a:pt x="1883" y="708"/>
                  </a:lnTo>
                  <a:lnTo>
                    <a:pt x="1940" y="720"/>
                  </a:lnTo>
                  <a:close/>
                  <a:moveTo>
                    <a:pt x="69" y="446"/>
                  </a:moveTo>
                  <a:lnTo>
                    <a:pt x="57" y="480"/>
                  </a:lnTo>
                  <a:lnTo>
                    <a:pt x="0" y="492"/>
                  </a:lnTo>
                  <a:lnTo>
                    <a:pt x="34" y="537"/>
                  </a:lnTo>
                  <a:lnTo>
                    <a:pt x="114" y="594"/>
                  </a:lnTo>
                  <a:lnTo>
                    <a:pt x="171" y="594"/>
                  </a:lnTo>
                  <a:lnTo>
                    <a:pt x="183" y="549"/>
                  </a:lnTo>
                  <a:lnTo>
                    <a:pt x="171" y="457"/>
                  </a:lnTo>
                  <a:lnTo>
                    <a:pt x="126" y="457"/>
                  </a:lnTo>
                  <a:close/>
                  <a:moveTo>
                    <a:pt x="468" y="161"/>
                  </a:moveTo>
                  <a:lnTo>
                    <a:pt x="342" y="115"/>
                  </a:lnTo>
                  <a:lnTo>
                    <a:pt x="285" y="81"/>
                  </a:lnTo>
                  <a:lnTo>
                    <a:pt x="240" y="81"/>
                  </a:lnTo>
                  <a:lnTo>
                    <a:pt x="297" y="138"/>
                  </a:lnTo>
                  <a:lnTo>
                    <a:pt x="320" y="161"/>
                  </a:lnTo>
                  <a:lnTo>
                    <a:pt x="331" y="195"/>
                  </a:lnTo>
                  <a:lnTo>
                    <a:pt x="411" y="229"/>
                  </a:lnTo>
                  <a:lnTo>
                    <a:pt x="502" y="275"/>
                  </a:lnTo>
                  <a:lnTo>
                    <a:pt x="559" y="320"/>
                  </a:lnTo>
                  <a:lnTo>
                    <a:pt x="548" y="332"/>
                  </a:lnTo>
                  <a:lnTo>
                    <a:pt x="434" y="377"/>
                  </a:lnTo>
                  <a:lnTo>
                    <a:pt x="388" y="377"/>
                  </a:lnTo>
                  <a:lnTo>
                    <a:pt x="354" y="389"/>
                  </a:lnTo>
                  <a:lnTo>
                    <a:pt x="411" y="423"/>
                  </a:lnTo>
                  <a:lnTo>
                    <a:pt x="502" y="400"/>
                  </a:lnTo>
                  <a:lnTo>
                    <a:pt x="525" y="389"/>
                  </a:lnTo>
                  <a:lnTo>
                    <a:pt x="559" y="389"/>
                  </a:lnTo>
                  <a:lnTo>
                    <a:pt x="605" y="400"/>
                  </a:lnTo>
                  <a:lnTo>
                    <a:pt x="605" y="435"/>
                  </a:lnTo>
                  <a:lnTo>
                    <a:pt x="582" y="457"/>
                  </a:lnTo>
                  <a:lnTo>
                    <a:pt x="559" y="492"/>
                  </a:lnTo>
                  <a:lnTo>
                    <a:pt x="502" y="537"/>
                  </a:lnTo>
                  <a:lnTo>
                    <a:pt x="411" y="594"/>
                  </a:lnTo>
                  <a:lnTo>
                    <a:pt x="297" y="594"/>
                  </a:lnTo>
                  <a:lnTo>
                    <a:pt x="205" y="686"/>
                  </a:lnTo>
                  <a:lnTo>
                    <a:pt x="331" y="766"/>
                  </a:lnTo>
                  <a:lnTo>
                    <a:pt x="434" y="800"/>
                  </a:lnTo>
                  <a:lnTo>
                    <a:pt x="559" y="800"/>
                  </a:lnTo>
                  <a:lnTo>
                    <a:pt x="559" y="788"/>
                  </a:lnTo>
                  <a:lnTo>
                    <a:pt x="582" y="777"/>
                  </a:lnTo>
                  <a:lnTo>
                    <a:pt x="628" y="777"/>
                  </a:lnTo>
                  <a:lnTo>
                    <a:pt x="639" y="766"/>
                  </a:lnTo>
                  <a:lnTo>
                    <a:pt x="673" y="708"/>
                  </a:lnTo>
                  <a:lnTo>
                    <a:pt x="673" y="617"/>
                  </a:lnTo>
                  <a:lnTo>
                    <a:pt x="696" y="617"/>
                  </a:lnTo>
                  <a:lnTo>
                    <a:pt x="742" y="629"/>
                  </a:lnTo>
                  <a:lnTo>
                    <a:pt x="845" y="617"/>
                  </a:lnTo>
                  <a:lnTo>
                    <a:pt x="890" y="606"/>
                  </a:lnTo>
                  <a:lnTo>
                    <a:pt x="970" y="480"/>
                  </a:lnTo>
                  <a:lnTo>
                    <a:pt x="1027" y="366"/>
                  </a:lnTo>
                  <a:lnTo>
                    <a:pt x="1061" y="309"/>
                  </a:lnTo>
                  <a:lnTo>
                    <a:pt x="1096" y="275"/>
                  </a:lnTo>
                  <a:lnTo>
                    <a:pt x="1118" y="252"/>
                  </a:lnTo>
                  <a:lnTo>
                    <a:pt x="1130" y="206"/>
                  </a:lnTo>
                  <a:lnTo>
                    <a:pt x="1176" y="172"/>
                  </a:lnTo>
                  <a:lnTo>
                    <a:pt x="1176" y="138"/>
                  </a:lnTo>
                  <a:lnTo>
                    <a:pt x="1118" y="104"/>
                  </a:lnTo>
                  <a:lnTo>
                    <a:pt x="1073" y="81"/>
                  </a:lnTo>
                  <a:lnTo>
                    <a:pt x="1027" y="115"/>
                  </a:lnTo>
                  <a:lnTo>
                    <a:pt x="1004" y="104"/>
                  </a:lnTo>
                  <a:lnTo>
                    <a:pt x="867" y="149"/>
                  </a:lnTo>
                  <a:lnTo>
                    <a:pt x="810" y="149"/>
                  </a:lnTo>
                  <a:lnTo>
                    <a:pt x="776" y="115"/>
                  </a:lnTo>
                  <a:lnTo>
                    <a:pt x="719" y="104"/>
                  </a:lnTo>
                  <a:lnTo>
                    <a:pt x="662" y="115"/>
                  </a:lnTo>
                  <a:lnTo>
                    <a:pt x="582" y="195"/>
                  </a:lnTo>
                  <a:close/>
                  <a:moveTo>
                    <a:pt x="571" y="104"/>
                  </a:moveTo>
                  <a:lnTo>
                    <a:pt x="582" y="58"/>
                  </a:lnTo>
                  <a:lnTo>
                    <a:pt x="571" y="35"/>
                  </a:lnTo>
                  <a:lnTo>
                    <a:pt x="502" y="1"/>
                  </a:lnTo>
                  <a:lnTo>
                    <a:pt x="434" y="1"/>
                  </a:lnTo>
                  <a:lnTo>
                    <a:pt x="457" y="81"/>
                  </a:lnTo>
                  <a:lnTo>
                    <a:pt x="491" y="104"/>
                  </a:lnTo>
                  <a:close/>
                  <a:moveTo>
                    <a:pt x="1415" y="1"/>
                  </a:moveTo>
                  <a:lnTo>
                    <a:pt x="1358" y="1"/>
                  </a:lnTo>
                  <a:lnTo>
                    <a:pt x="1415" y="81"/>
                  </a:lnTo>
                  <a:lnTo>
                    <a:pt x="1301" y="195"/>
                  </a:lnTo>
                  <a:lnTo>
                    <a:pt x="1324" y="275"/>
                  </a:lnTo>
                  <a:lnTo>
                    <a:pt x="1370" y="332"/>
                  </a:lnTo>
                  <a:lnTo>
                    <a:pt x="1381" y="366"/>
                  </a:lnTo>
                  <a:lnTo>
                    <a:pt x="1370" y="377"/>
                  </a:lnTo>
                  <a:lnTo>
                    <a:pt x="1312" y="389"/>
                  </a:lnTo>
                  <a:lnTo>
                    <a:pt x="1267" y="400"/>
                  </a:lnTo>
                  <a:lnTo>
                    <a:pt x="1244" y="446"/>
                  </a:lnTo>
                  <a:lnTo>
                    <a:pt x="1118" y="571"/>
                  </a:lnTo>
                  <a:lnTo>
                    <a:pt x="1141" y="606"/>
                  </a:lnTo>
                  <a:lnTo>
                    <a:pt x="1096" y="708"/>
                  </a:lnTo>
                  <a:lnTo>
                    <a:pt x="1130" y="743"/>
                  </a:lnTo>
                  <a:lnTo>
                    <a:pt x="1244" y="845"/>
                  </a:lnTo>
                  <a:lnTo>
                    <a:pt x="1358" y="902"/>
                  </a:lnTo>
                  <a:lnTo>
                    <a:pt x="1358" y="800"/>
                  </a:lnTo>
                  <a:lnTo>
                    <a:pt x="1415" y="788"/>
                  </a:lnTo>
                  <a:lnTo>
                    <a:pt x="1472" y="823"/>
                  </a:lnTo>
                  <a:lnTo>
                    <a:pt x="1529" y="788"/>
                  </a:lnTo>
                  <a:lnTo>
                    <a:pt x="1404" y="651"/>
                  </a:lnTo>
                  <a:lnTo>
                    <a:pt x="1438" y="651"/>
                  </a:lnTo>
                  <a:lnTo>
                    <a:pt x="1803" y="720"/>
                  </a:lnTo>
                  <a:lnTo>
                    <a:pt x="1780" y="663"/>
                  </a:lnTo>
                  <a:lnTo>
                    <a:pt x="1769" y="629"/>
                  </a:lnTo>
                  <a:lnTo>
                    <a:pt x="1723" y="571"/>
                  </a:lnTo>
                  <a:lnTo>
                    <a:pt x="1940" y="514"/>
                  </a:lnTo>
                  <a:lnTo>
                    <a:pt x="2009" y="480"/>
                  </a:lnTo>
                  <a:lnTo>
                    <a:pt x="2043" y="435"/>
                  </a:lnTo>
                  <a:lnTo>
                    <a:pt x="2123" y="423"/>
                  </a:lnTo>
                  <a:lnTo>
                    <a:pt x="2237" y="377"/>
                  </a:lnTo>
                  <a:lnTo>
                    <a:pt x="2225" y="366"/>
                  </a:lnTo>
                  <a:lnTo>
                    <a:pt x="2237" y="320"/>
                  </a:lnTo>
                  <a:lnTo>
                    <a:pt x="2180" y="286"/>
                  </a:lnTo>
                  <a:lnTo>
                    <a:pt x="2111" y="275"/>
                  </a:lnTo>
                  <a:lnTo>
                    <a:pt x="2123" y="229"/>
                  </a:lnTo>
                  <a:lnTo>
                    <a:pt x="2203" y="218"/>
                  </a:lnTo>
                  <a:lnTo>
                    <a:pt x="2088" y="115"/>
                  </a:lnTo>
                  <a:lnTo>
                    <a:pt x="2043" y="104"/>
                  </a:lnTo>
                  <a:lnTo>
                    <a:pt x="1894" y="115"/>
                  </a:lnTo>
                  <a:lnTo>
                    <a:pt x="1860" y="138"/>
                  </a:lnTo>
                  <a:lnTo>
                    <a:pt x="1860" y="161"/>
                  </a:lnTo>
                  <a:lnTo>
                    <a:pt x="1872" y="206"/>
                  </a:lnTo>
                  <a:lnTo>
                    <a:pt x="1917" y="252"/>
                  </a:lnTo>
                  <a:lnTo>
                    <a:pt x="1929" y="275"/>
                  </a:lnTo>
                  <a:lnTo>
                    <a:pt x="1894" y="263"/>
                  </a:lnTo>
                  <a:lnTo>
                    <a:pt x="1746" y="206"/>
                  </a:lnTo>
                  <a:lnTo>
                    <a:pt x="1712" y="195"/>
                  </a:lnTo>
                  <a:lnTo>
                    <a:pt x="1689" y="138"/>
                  </a:lnTo>
                  <a:lnTo>
                    <a:pt x="1712" y="115"/>
                  </a:lnTo>
                  <a:lnTo>
                    <a:pt x="1758" y="138"/>
                  </a:lnTo>
                  <a:lnTo>
                    <a:pt x="1769" y="92"/>
                  </a:lnTo>
                  <a:lnTo>
                    <a:pt x="1712" y="47"/>
                  </a:lnTo>
                  <a:lnTo>
                    <a:pt x="1655" y="35"/>
                  </a:lnTo>
                  <a:lnTo>
                    <a:pt x="1529" y="47"/>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13" name="Google Shape;384;p29">
              <a:extLst>
                <a:ext uri="{FF2B5EF4-FFF2-40B4-BE49-F238E27FC236}">
                  <a16:creationId xmlns:a16="http://schemas.microsoft.com/office/drawing/2014/main" id="{074BA70C-FEA6-477B-A1FB-9D116A83F628}"/>
                </a:ext>
              </a:extLst>
            </p:cNvPr>
            <p:cNvSpPr/>
            <p:nvPr/>
          </p:nvSpPr>
          <p:spPr>
            <a:xfrm>
              <a:off x="3605000" y="1719250"/>
              <a:ext cx="16275" cy="19425"/>
            </a:xfrm>
            <a:custGeom>
              <a:avLst/>
              <a:gdLst/>
              <a:ahLst/>
              <a:cxnLst/>
              <a:rect l="l" t="t" r="r" b="b"/>
              <a:pathLst>
                <a:path w="651" h="777" extrusionOk="0">
                  <a:moveTo>
                    <a:pt x="423" y="754"/>
                  </a:moveTo>
                  <a:lnTo>
                    <a:pt x="423" y="720"/>
                  </a:lnTo>
                  <a:lnTo>
                    <a:pt x="400" y="674"/>
                  </a:lnTo>
                  <a:lnTo>
                    <a:pt x="400" y="640"/>
                  </a:lnTo>
                  <a:lnTo>
                    <a:pt x="388" y="640"/>
                  </a:lnTo>
                  <a:lnTo>
                    <a:pt x="320" y="628"/>
                  </a:lnTo>
                  <a:lnTo>
                    <a:pt x="308" y="605"/>
                  </a:lnTo>
                  <a:lnTo>
                    <a:pt x="286" y="605"/>
                  </a:lnTo>
                  <a:lnTo>
                    <a:pt x="286" y="628"/>
                  </a:lnTo>
                  <a:lnTo>
                    <a:pt x="308" y="685"/>
                  </a:lnTo>
                  <a:lnTo>
                    <a:pt x="377" y="742"/>
                  </a:lnTo>
                  <a:lnTo>
                    <a:pt x="411" y="777"/>
                  </a:lnTo>
                  <a:lnTo>
                    <a:pt x="434" y="777"/>
                  </a:lnTo>
                  <a:close/>
                  <a:moveTo>
                    <a:pt x="491" y="457"/>
                  </a:moveTo>
                  <a:lnTo>
                    <a:pt x="491" y="446"/>
                  </a:lnTo>
                  <a:lnTo>
                    <a:pt x="457" y="411"/>
                  </a:lnTo>
                  <a:lnTo>
                    <a:pt x="388" y="389"/>
                  </a:lnTo>
                  <a:lnTo>
                    <a:pt x="354" y="377"/>
                  </a:lnTo>
                  <a:lnTo>
                    <a:pt x="331" y="389"/>
                  </a:lnTo>
                  <a:lnTo>
                    <a:pt x="331" y="411"/>
                  </a:lnTo>
                  <a:lnTo>
                    <a:pt x="343" y="434"/>
                  </a:lnTo>
                  <a:lnTo>
                    <a:pt x="400" y="446"/>
                  </a:lnTo>
                  <a:lnTo>
                    <a:pt x="457" y="491"/>
                  </a:lnTo>
                  <a:lnTo>
                    <a:pt x="468" y="491"/>
                  </a:lnTo>
                  <a:close/>
                  <a:moveTo>
                    <a:pt x="149" y="183"/>
                  </a:moveTo>
                  <a:lnTo>
                    <a:pt x="114" y="172"/>
                  </a:lnTo>
                  <a:lnTo>
                    <a:pt x="46" y="183"/>
                  </a:lnTo>
                  <a:lnTo>
                    <a:pt x="0" y="183"/>
                  </a:lnTo>
                  <a:lnTo>
                    <a:pt x="23" y="229"/>
                  </a:lnTo>
                  <a:lnTo>
                    <a:pt x="103" y="263"/>
                  </a:lnTo>
                  <a:lnTo>
                    <a:pt x="149" y="263"/>
                  </a:lnTo>
                  <a:lnTo>
                    <a:pt x="194" y="263"/>
                  </a:lnTo>
                  <a:lnTo>
                    <a:pt x="217" y="240"/>
                  </a:lnTo>
                  <a:lnTo>
                    <a:pt x="206" y="217"/>
                  </a:lnTo>
                  <a:close/>
                  <a:moveTo>
                    <a:pt x="502" y="115"/>
                  </a:moveTo>
                  <a:lnTo>
                    <a:pt x="388" y="92"/>
                  </a:lnTo>
                  <a:lnTo>
                    <a:pt x="308" y="46"/>
                  </a:lnTo>
                  <a:lnTo>
                    <a:pt x="160" y="58"/>
                  </a:lnTo>
                  <a:lnTo>
                    <a:pt x="263" y="217"/>
                  </a:lnTo>
                  <a:lnTo>
                    <a:pt x="377" y="320"/>
                  </a:lnTo>
                  <a:lnTo>
                    <a:pt x="434" y="343"/>
                  </a:lnTo>
                  <a:lnTo>
                    <a:pt x="434" y="332"/>
                  </a:lnTo>
                  <a:lnTo>
                    <a:pt x="434" y="297"/>
                  </a:lnTo>
                  <a:lnTo>
                    <a:pt x="377" y="229"/>
                  </a:lnTo>
                  <a:lnTo>
                    <a:pt x="366" y="217"/>
                  </a:lnTo>
                  <a:lnTo>
                    <a:pt x="366" y="206"/>
                  </a:lnTo>
                  <a:lnTo>
                    <a:pt x="377" y="183"/>
                  </a:lnTo>
                  <a:lnTo>
                    <a:pt x="400" y="183"/>
                  </a:lnTo>
                  <a:lnTo>
                    <a:pt x="445" y="217"/>
                  </a:lnTo>
                  <a:lnTo>
                    <a:pt x="480" y="217"/>
                  </a:lnTo>
                  <a:close/>
                  <a:moveTo>
                    <a:pt x="651" y="92"/>
                  </a:moveTo>
                  <a:lnTo>
                    <a:pt x="605" y="58"/>
                  </a:lnTo>
                  <a:lnTo>
                    <a:pt x="548" y="1"/>
                  </a:lnTo>
                  <a:lnTo>
                    <a:pt x="548" y="69"/>
                  </a:lnTo>
                  <a:lnTo>
                    <a:pt x="548" y="115"/>
                  </a:lnTo>
                  <a:lnTo>
                    <a:pt x="548" y="126"/>
                  </a:lnTo>
                  <a:lnTo>
                    <a:pt x="560" y="126"/>
                  </a:lnTo>
                  <a:lnTo>
                    <a:pt x="605" y="149"/>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14" name="Google Shape;385;p29">
              <a:extLst>
                <a:ext uri="{FF2B5EF4-FFF2-40B4-BE49-F238E27FC236}">
                  <a16:creationId xmlns:a16="http://schemas.microsoft.com/office/drawing/2014/main" id="{2C22D74E-287A-4C4C-AF6C-34BFB4B8AD72}"/>
                </a:ext>
              </a:extLst>
            </p:cNvPr>
            <p:cNvSpPr/>
            <p:nvPr/>
          </p:nvSpPr>
          <p:spPr>
            <a:xfrm>
              <a:off x="2490875" y="2834500"/>
              <a:ext cx="4025" cy="5175"/>
            </a:xfrm>
            <a:custGeom>
              <a:avLst/>
              <a:gdLst/>
              <a:ahLst/>
              <a:cxnLst/>
              <a:rect l="l" t="t" r="r" b="b"/>
              <a:pathLst>
                <a:path w="161" h="207" extrusionOk="0">
                  <a:moveTo>
                    <a:pt x="58" y="195"/>
                  </a:moveTo>
                  <a:lnTo>
                    <a:pt x="138" y="172"/>
                  </a:lnTo>
                  <a:lnTo>
                    <a:pt x="160" y="12"/>
                  </a:lnTo>
                  <a:lnTo>
                    <a:pt x="115" y="1"/>
                  </a:lnTo>
                  <a:lnTo>
                    <a:pt x="81" y="46"/>
                  </a:lnTo>
                  <a:lnTo>
                    <a:pt x="35" y="115"/>
                  </a:lnTo>
                  <a:lnTo>
                    <a:pt x="35" y="172"/>
                  </a:lnTo>
                  <a:lnTo>
                    <a:pt x="1" y="206"/>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15" name="Google Shape;386;p29">
              <a:extLst>
                <a:ext uri="{FF2B5EF4-FFF2-40B4-BE49-F238E27FC236}">
                  <a16:creationId xmlns:a16="http://schemas.microsoft.com/office/drawing/2014/main" id="{EAEACA73-16B4-456A-9553-80BF5C6F834C}"/>
                </a:ext>
              </a:extLst>
            </p:cNvPr>
            <p:cNvSpPr/>
            <p:nvPr/>
          </p:nvSpPr>
          <p:spPr>
            <a:xfrm>
              <a:off x="5953900" y="2600000"/>
              <a:ext cx="8875" cy="8850"/>
            </a:xfrm>
            <a:custGeom>
              <a:avLst/>
              <a:gdLst/>
              <a:ahLst/>
              <a:cxnLst/>
              <a:rect l="l" t="t" r="r" b="b"/>
              <a:pathLst>
                <a:path w="355" h="354" extrusionOk="0">
                  <a:moveTo>
                    <a:pt x="309" y="331"/>
                  </a:moveTo>
                  <a:lnTo>
                    <a:pt x="309" y="308"/>
                  </a:lnTo>
                  <a:lnTo>
                    <a:pt x="309" y="274"/>
                  </a:lnTo>
                  <a:lnTo>
                    <a:pt x="252" y="251"/>
                  </a:lnTo>
                  <a:lnTo>
                    <a:pt x="218" y="251"/>
                  </a:lnTo>
                  <a:lnTo>
                    <a:pt x="229" y="274"/>
                  </a:lnTo>
                  <a:lnTo>
                    <a:pt x="286" y="354"/>
                  </a:lnTo>
                  <a:close/>
                  <a:moveTo>
                    <a:pt x="126" y="331"/>
                  </a:moveTo>
                  <a:lnTo>
                    <a:pt x="115" y="262"/>
                  </a:lnTo>
                  <a:lnTo>
                    <a:pt x="138" y="217"/>
                  </a:lnTo>
                  <a:lnTo>
                    <a:pt x="12" y="262"/>
                  </a:lnTo>
                  <a:lnTo>
                    <a:pt x="1" y="308"/>
                  </a:lnTo>
                  <a:lnTo>
                    <a:pt x="1" y="320"/>
                  </a:lnTo>
                  <a:lnTo>
                    <a:pt x="24" y="331"/>
                  </a:lnTo>
                  <a:close/>
                  <a:moveTo>
                    <a:pt x="355" y="160"/>
                  </a:moveTo>
                  <a:lnTo>
                    <a:pt x="343" y="126"/>
                  </a:lnTo>
                  <a:lnTo>
                    <a:pt x="309" y="103"/>
                  </a:lnTo>
                  <a:lnTo>
                    <a:pt x="298" y="57"/>
                  </a:lnTo>
                  <a:lnTo>
                    <a:pt x="286" y="34"/>
                  </a:lnTo>
                  <a:lnTo>
                    <a:pt x="286" y="34"/>
                  </a:lnTo>
                  <a:lnTo>
                    <a:pt x="241" y="23"/>
                  </a:lnTo>
                  <a:lnTo>
                    <a:pt x="218" y="0"/>
                  </a:lnTo>
                  <a:lnTo>
                    <a:pt x="161" y="0"/>
                  </a:lnTo>
                  <a:lnTo>
                    <a:pt x="138" y="23"/>
                  </a:lnTo>
                  <a:lnTo>
                    <a:pt x="115" y="23"/>
                  </a:lnTo>
                  <a:lnTo>
                    <a:pt x="81" y="46"/>
                  </a:lnTo>
                  <a:lnTo>
                    <a:pt x="81" y="46"/>
                  </a:lnTo>
                  <a:lnTo>
                    <a:pt x="81" y="80"/>
                  </a:lnTo>
                  <a:lnTo>
                    <a:pt x="12" y="137"/>
                  </a:lnTo>
                  <a:lnTo>
                    <a:pt x="12" y="160"/>
                  </a:lnTo>
                  <a:lnTo>
                    <a:pt x="58" y="194"/>
                  </a:lnTo>
                  <a:lnTo>
                    <a:pt x="126" y="171"/>
                  </a:lnTo>
                  <a:lnTo>
                    <a:pt x="218" y="205"/>
                  </a:lnTo>
                  <a:lnTo>
                    <a:pt x="332" y="251"/>
                  </a:lnTo>
                  <a:lnTo>
                    <a:pt x="332" y="217"/>
                  </a:lnTo>
                  <a:lnTo>
                    <a:pt x="332" y="17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16" name="Google Shape;387;p29">
              <a:extLst>
                <a:ext uri="{FF2B5EF4-FFF2-40B4-BE49-F238E27FC236}">
                  <a16:creationId xmlns:a16="http://schemas.microsoft.com/office/drawing/2014/main" id="{C8511717-0039-49B8-8530-BD0424513EBD}"/>
                </a:ext>
              </a:extLst>
            </p:cNvPr>
            <p:cNvSpPr/>
            <p:nvPr/>
          </p:nvSpPr>
          <p:spPr>
            <a:xfrm>
              <a:off x="2478900" y="2717250"/>
              <a:ext cx="5725" cy="7150"/>
            </a:xfrm>
            <a:custGeom>
              <a:avLst/>
              <a:gdLst/>
              <a:ahLst/>
              <a:cxnLst/>
              <a:rect l="l" t="t" r="r" b="b"/>
              <a:pathLst>
                <a:path w="229" h="286" extrusionOk="0">
                  <a:moveTo>
                    <a:pt x="229" y="251"/>
                  </a:moveTo>
                  <a:lnTo>
                    <a:pt x="229" y="206"/>
                  </a:lnTo>
                  <a:lnTo>
                    <a:pt x="194" y="183"/>
                  </a:lnTo>
                  <a:lnTo>
                    <a:pt x="160" y="183"/>
                  </a:lnTo>
                  <a:lnTo>
                    <a:pt x="160" y="251"/>
                  </a:lnTo>
                  <a:lnTo>
                    <a:pt x="183" y="286"/>
                  </a:lnTo>
                  <a:close/>
                  <a:moveTo>
                    <a:pt x="160" y="149"/>
                  </a:moveTo>
                  <a:lnTo>
                    <a:pt x="137" y="126"/>
                  </a:lnTo>
                  <a:lnTo>
                    <a:pt x="126" y="115"/>
                  </a:lnTo>
                  <a:lnTo>
                    <a:pt x="92" y="57"/>
                  </a:lnTo>
                  <a:lnTo>
                    <a:pt x="35" y="0"/>
                  </a:lnTo>
                  <a:lnTo>
                    <a:pt x="12" y="12"/>
                  </a:lnTo>
                  <a:lnTo>
                    <a:pt x="0" y="35"/>
                  </a:lnTo>
                  <a:lnTo>
                    <a:pt x="0" y="57"/>
                  </a:lnTo>
                  <a:lnTo>
                    <a:pt x="0" y="57"/>
                  </a:lnTo>
                  <a:lnTo>
                    <a:pt x="35" y="92"/>
                  </a:lnTo>
                  <a:lnTo>
                    <a:pt x="92" y="115"/>
                  </a:lnTo>
                  <a:lnTo>
                    <a:pt x="126" y="17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17" name="Google Shape;388;p29">
              <a:extLst>
                <a:ext uri="{FF2B5EF4-FFF2-40B4-BE49-F238E27FC236}">
                  <a16:creationId xmlns:a16="http://schemas.microsoft.com/office/drawing/2014/main" id="{11479197-EE44-49BD-885A-0EB8D90939BB}"/>
                </a:ext>
              </a:extLst>
            </p:cNvPr>
            <p:cNvSpPr/>
            <p:nvPr/>
          </p:nvSpPr>
          <p:spPr>
            <a:xfrm>
              <a:off x="2507725" y="2792275"/>
              <a:ext cx="4000" cy="8600"/>
            </a:xfrm>
            <a:custGeom>
              <a:avLst/>
              <a:gdLst/>
              <a:ahLst/>
              <a:cxnLst/>
              <a:rect l="l" t="t" r="r" b="b"/>
              <a:pathLst>
                <a:path w="160" h="344" extrusionOk="0">
                  <a:moveTo>
                    <a:pt x="148" y="252"/>
                  </a:moveTo>
                  <a:lnTo>
                    <a:pt x="160" y="81"/>
                  </a:lnTo>
                  <a:lnTo>
                    <a:pt x="148" y="1"/>
                  </a:lnTo>
                  <a:lnTo>
                    <a:pt x="114" y="24"/>
                  </a:lnTo>
                  <a:lnTo>
                    <a:pt x="69" y="81"/>
                  </a:lnTo>
                  <a:lnTo>
                    <a:pt x="11" y="161"/>
                  </a:lnTo>
                  <a:lnTo>
                    <a:pt x="0" y="206"/>
                  </a:lnTo>
                  <a:lnTo>
                    <a:pt x="0" y="286"/>
                  </a:lnTo>
                  <a:lnTo>
                    <a:pt x="91" y="34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18" name="Google Shape;389;p29">
              <a:extLst>
                <a:ext uri="{FF2B5EF4-FFF2-40B4-BE49-F238E27FC236}">
                  <a16:creationId xmlns:a16="http://schemas.microsoft.com/office/drawing/2014/main" id="{3957B2C7-C2A5-43C5-9985-831A2F2EAD93}"/>
                </a:ext>
              </a:extLst>
            </p:cNvPr>
            <p:cNvSpPr/>
            <p:nvPr/>
          </p:nvSpPr>
          <p:spPr>
            <a:xfrm>
              <a:off x="3889450" y="2042500"/>
              <a:ext cx="2300" cy="4875"/>
            </a:xfrm>
            <a:custGeom>
              <a:avLst/>
              <a:gdLst/>
              <a:ahLst/>
              <a:cxnLst/>
              <a:rect l="l" t="t" r="r" b="b"/>
              <a:pathLst>
                <a:path w="92" h="195" extrusionOk="0">
                  <a:moveTo>
                    <a:pt x="80" y="195"/>
                  </a:moveTo>
                  <a:lnTo>
                    <a:pt x="80" y="172"/>
                  </a:lnTo>
                  <a:lnTo>
                    <a:pt x="92" y="138"/>
                  </a:lnTo>
                  <a:lnTo>
                    <a:pt x="80" y="126"/>
                  </a:lnTo>
                  <a:lnTo>
                    <a:pt x="69" y="92"/>
                  </a:lnTo>
                  <a:lnTo>
                    <a:pt x="57" y="81"/>
                  </a:lnTo>
                  <a:lnTo>
                    <a:pt x="57" y="58"/>
                  </a:lnTo>
                  <a:lnTo>
                    <a:pt x="35" y="35"/>
                  </a:lnTo>
                  <a:lnTo>
                    <a:pt x="35" y="12"/>
                  </a:lnTo>
                  <a:lnTo>
                    <a:pt x="23" y="1"/>
                  </a:lnTo>
                  <a:lnTo>
                    <a:pt x="0" y="81"/>
                  </a:lnTo>
                  <a:lnTo>
                    <a:pt x="0" y="149"/>
                  </a:lnTo>
                  <a:lnTo>
                    <a:pt x="12" y="183"/>
                  </a:lnTo>
                  <a:lnTo>
                    <a:pt x="23" y="18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19" name="Google Shape;390;p29">
              <a:extLst>
                <a:ext uri="{FF2B5EF4-FFF2-40B4-BE49-F238E27FC236}">
                  <a16:creationId xmlns:a16="http://schemas.microsoft.com/office/drawing/2014/main" id="{504B6811-EDA0-45B7-8A49-C365C536467C}"/>
                </a:ext>
              </a:extLst>
            </p:cNvPr>
            <p:cNvSpPr/>
            <p:nvPr/>
          </p:nvSpPr>
          <p:spPr>
            <a:xfrm>
              <a:off x="5191300" y="3015675"/>
              <a:ext cx="2300" cy="23125"/>
            </a:xfrm>
            <a:custGeom>
              <a:avLst/>
              <a:gdLst/>
              <a:ahLst/>
              <a:cxnLst/>
              <a:rect l="l" t="t" r="r" b="b"/>
              <a:pathLst>
                <a:path w="92" h="925" extrusionOk="0">
                  <a:moveTo>
                    <a:pt x="34" y="925"/>
                  </a:moveTo>
                  <a:lnTo>
                    <a:pt x="46" y="914"/>
                  </a:lnTo>
                  <a:lnTo>
                    <a:pt x="46" y="879"/>
                  </a:lnTo>
                  <a:lnTo>
                    <a:pt x="34" y="868"/>
                  </a:lnTo>
                  <a:lnTo>
                    <a:pt x="23" y="868"/>
                  </a:lnTo>
                  <a:lnTo>
                    <a:pt x="0" y="902"/>
                  </a:lnTo>
                  <a:lnTo>
                    <a:pt x="0" y="914"/>
                  </a:lnTo>
                  <a:lnTo>
                    <a:pt x="0" y="925"/>
                  </a:lnTo>
                  <a:close/>
                  <a:moveTo>
                    <a:pt x="80" y="80"/>
                  </a:moveTo>
                  <a:lnTo>
                    <a:pt x="91" y="58"/>
                  </a:lnTo>
                  <a:lnTo>
                    <a:pt x="91" y="46"/>
                  </a:lnTo>
                  <a:lnTo>
                    <a:pt x="91" y="23"/>
                  </a:lnTo>
                  <a:lnTo>
                    <a:pt x="91" y="12"/>
                  </a:lnTo>
                  <a:lnTo>
                    <a:pt x="91" y="1"/>
                  </a:lnTo>
                  <a:lnTo>
                    <a:pt x="80" y="12"/>
                  </a:lnTo>
                  <a:lnTo>
                    <a:pt x="57" y="46"/>
                  </a:lnTo>
                  <a:lnTo>
                    <a:pt x="57" y="58"/>
                  </a:lnTo>
                  <a:lnTo>
                    <a:pt x="46" y="69"/>
                  </a:lnTo>
                  <a:lnTo>
                    <a:pt x="46" y="80"/>
                  </a:lnTo>
                  <a:lnTo>
                    <a:pt x="57" y="8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20" name="Google Shape;391;p29">
              <a:extLst>
                <a:ext uri="{FF2B5EF4-FFF2-40B4-BE49-F238E27FC236}">
                  <a16:creationId xmlns:a16="http://schemas.microsoft.com/office/drawing/2014/main" id="{CCC21967-1D2A-41E1-A519-DFF6038FF7D2}"/>
                </a:ext>
              </a:extLst>
            </p:cNvPr>
            <p:cNvSpPr/>
            <p:nvPr/>
          </p:nvSpPr>
          <p:spPr>
            <a:xfrm>
              <a:off x="3988150" y="2293000"/>
              <a:ext cx="7450" cy="6300"/>
            </a:xfrm>
            <a:custGeom>
              <a:avLst/>
              <a:gdLst/>
              <a:ahLst/>
              <a:cxnLst/>
              <a:rect l="l" t="t" r="r" b="b"/>
              <a:pathLst>
                <a:path w="298" h="252" extrusionOk="0">
                  <a:moveTo>
                    <a:pt x="298" y="217"/>
                  </a:moveTo>
                  <a:lnTo>
                    <a:pt x="263" y="195"/>
                  </a:lnTo>
                  <a:lnTo>
                    <a:pt x="195" y="115"/>
                  </a:lnTo>
                  <a:lnTo>
                    <a:pt x="126" y="103"/>
                  </a:lnTo>
                  <a:lnTo>
                    <a:pt x="138" y="195"/>
                  </a:lnTo>
                  <a:lnTo>
                    <a:pt x="195" y="252"/>
                  </a:lnTo>
                  <a:lnTo>
                    <a:pt x="263" y="252"/>
                  </a:lnTo>
                  <a:close/>
                  <a:moveTo>
                    <a:pt x="92" y="46"/>
                  </a:moveTo>
                  <a:lnTo>
                    <a:pt x="92" y="46"/>
                  </a:lnTo>
                  <a:lnTo>
                    <a:pt x="92" y="23"/>
                  </a:lnTo>
                  <a:lnTo>
                    <a:pt x="58" y="1"/>
                  </a:lnTo>
                  <a:lnTo>
                    <a:pt x="1" y="23"/>
                  </a:lnTo>
                  <a:lnTo>
                    <a:pt x="12" y="35"/>
                  </a:lnTo>
                  <a:lnTo>
                    <a:pt x="58" y="5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21" name="Google Shape;392;p29">
              <a:extLst>
                <a:ext uri="{FF2B5EF4-FFF2-40B4-BE49-F238E27FC236}">
                  <a16:creationId xmlns:a16="http://schemas.microsoft.com/office/drawing/2014/main" id="{DCCF0B55-A5EC-4C4A-8616-4DED480AA1FE}"/>
                </a:ext>
              </a:extLst>
            </p:cNvPr>
            <p:cNvSpPr/>
            <p:nvPr/>
          </p:nvSpPr>
          <p:spPr>
            <a:xfrm>
              <a:off x="2489750" y="2730650"/>
              <a:ext cx="1450" cy="2875"/>
            </a:xfrm>
            <a:custGeom>
              <a:avLst/>
              <a:gdLst/>
              <a:ahLst/>
              <a:cxnLst/>
              <a:rect l="l" t="t" r="r" b="b"/>
              <a:pathLst>
                <a:path w="58" h="115" extrusionOk="0">
                  <a:moveTo>
                    <a:pt x="57" y="69"/>
                  </a:moveTo>
                  <a:lnTo>
                    <a:pt x="46" y="1"/>
                  </a:lnTo>
                  <a:lnTo>
                    <a:pt x="34" y="1"/>
                  </a:lnTo>
                  <a:lnTo>
                    <a:pt x="0" y="58"/>
                  </a:lnTo>
                  <a:lnTo>
                    <a:pt x="0" y="104"/>
                  </a:lnTo>
                  <a:lnTo>
                    <a:pt x="46" y="11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22" name="Google Shape;393;p29">
              <a:extLst>
                <a:ext uri="{FF2B5EF4-FFF2-40B4-BE49-F238E27FC236}">
                  <a16:creationId xmlns:a16="http://schemas.microsoft.com/office/drawing/2014/main" id="{C3E7416A-1F7A-479C-A78C-3472FA5FD79C}"/>
                </a:ext>
              </a:extLst>
            </p:cNvPr>
            <p:cNvSpPr/>
            <p:nvPr/>
          </p:nvSpPr>
          <p:spPr>
            <a:xfrm>
              <a:off x="4848925" y="3565450"/>
              <a:ext cx="9725" cy="12300"/>
            </a:xfrm>
            <a:custGeom>
              <a:avLst/>
              <a:gdLst/>
              <a:ahLst/>
              <a:cxnLst/>
              <a:rect l="l" t="t" r="r" b="b"/>
              <a:pathLst>
                <a:path w="389" h="492" extrusionOk="0">
                  <a:moveTo>
                    <a:pt x="263" y="457"/>
                  </a:moveTo>
                  <a:lnTo>
                    <a:pt x="309" y="423"/>
                  </a:lnTo>
                  <a:lnTo>
                    <a:pt x="331" y="366"/>
                  </a:lnTo>
                  <a:lnTo>
                    <a:pt x="377" y="320"/>
                  </a:lnTo>
                  <a:lnTo>
                    <a:pt x="389" y="218"/>
                  </a:lnTo>
                  <a:lnTo>
                    <a:pt x="354" y="104"/>
                  </a:lnTo>
                  <a:lnTo>
                    <a:pt x="297" y="1"/>
                  </a:lnTo>
                  <a:lnTo>
                    <a:pt x="229" y="24"/>
                  </a:lnTo>
                  <a:lnTo>
                    <a:pt x="183" y="81"/>
                  </a:lnTo>
                  <a:lnTo>
                    <a:pt x="160" y="149"/>
                  </a:lnTo>
                  <a:lnTo>
                    <a:pt x="92" y="195"/>
                  </a:lnTo>
                  <a:lnTo>
                    <a:pt x="69" y="229"/>
                  </a:lnTo>
                  <a:lnTo>
                    <a:pt x="46" y="332"/>
                  </a:lnTo>
                  <a:lnTo>
                    <a:pt x="35" y="389"/>
                  </a:lnTo>
                  <a:lnTo>
                    <a:pt x="1" y="400"/>
                  </a:lnTo>
                  <a:lnTo>
                    <a:pt x="1" y="434"/>
                  </a:lnTo>
                  <a:lnTo>
                    <a:pt x="46" y="480"/>
                  </a:lnTo>
                  <a:lnTo>
                    <a:pt x="160" y="492"/>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23" name="Google Shape;394;p29">
              <a:extLst>
                <a:ext uri="{FF2B5EF4-FFF2-40B4-BE49-F238E27FC236}">
                  <a16:creationId xmlns:a16="http://schemas.microsoft.com/office/drawing/2014/main" id="{ED1E34E6-9A5A-41C9-ADC5-B25631785008}"/>
                </a:ext>
              </a:extLst>
            </p:cNvPr>
            <p:cNvSpPr/>
            <p:nvPr/>
          </p:nvSpPr>
          <p:spPr>
            <a:xfrm>
              <a:off x="6873450" y="3546050"/>
              <a:ext cx="149525" cy="80200"/>
            </a:xfrm>
            <a:custGeom>
              <a:avLst/>
              <a:gdLst/>
              <a:ahLst/>
              <a:cxnLst/>
              <a:rect l="l" t="t" r="r" b="b"/>
              <a:pathLst>
                <a:path w="5981" h="3208" extrusionOk="0">
                  <a:moveTo>
                    <a:pt x="5239" y="3173"/>
                  </a:moveTo>
                  <a:lnTo>
                    <a:pt x="5239" y="3139"/>
                  </a:lnTo>
                  <a:lnTo>
                    <a:pt x="5182" y="3105"/>
                  </a:lnTo>
                  <a:lnTo>
                    <a:pt x="5159" y="3173"/>
                  </a:lnTo>
                  <a:lnTo>
                    <a:pt x="5159" y="3196"/>
                  </a:lnTo>
                  <a:lnTo>
                    <a:pt x="5182" y="3208"/>
                  </a:lnTo>
                  <a:lnTo>
                    <a:pt x="5216" y="3208"/>
                  </a:lnTo>
                  <a:close/>
                  <a:moveTo>
                    <a:pt x="5901" y="2089"/>
                  </a:moveTo>
                  <a:lnTo>
                    <a:pt x="5889" y="2078"/>
                  </a:lnTo>
                  <a:lnTo>
                    <a:pt x="5889" y="2032"/>
                  </a:lnTo>
                  <a:lnTo>
                    <a:pt x="5901" y="2009"/>
                  </a:lnTo>
                  <a:lnTo>
                    <a:pt x="5844" y="2032"/>
                  </a:lnTo>
                  <a:lnTo>
                    <a:pt x="5752" y="2066"/>
                  </a:lnTo>
                  <a:lnTo>
                    <a:pt x="5764" y="2181"/>
                  </a:lnTo>
                  <a:lnTo>
                    <a:pt x="5752" y="2238"/>
                  </a:lnTo>
                  <a:lnTo>
                    <a:pt x="5798" y="2249"/>
                  </a:lnTo>
                  <a:lnTo>
                    <a:pt x="5809" y="2295"/>
                  </a:lnTo>
                  <a:lnTo>
                    <a:pt x="5844" y="2295"/>
                  </a:lnTo>
                  <a:lnTo>
                    <a:pt x="5935" y="2260"/>
                  </a:lnTo>
                  <a:lnTo>
                    <a:pt x="5980" y="2101"/>
                  </a:lnTo>
                  <a:lnTo>
                    <a:pt x="5923" y="2101"/>
                  </a:lnTo>
                  <a:close/>
                  <a:moveTo>
                    <a:pt x="5467" y="1850"/>
                  </a:moveTo>
                  <a:lnTo>
                    <a:pt x="5513" y="1781"/>
                  </a:lnTo>
                  <a:lnTo>
                    <a:pt x="5524" y="1747"/>
                  </a:lnTo>
                  <a:lnTo>
                    <a:pt x="5501" y="1644"/>
                  </a:lnTo>
                  <a:lnTo>
                    <a:pt x="5456" y="1610"/>
                  </a:lnTo>
                  <a:lnTo>
                    <a:pt x="5501" y="1462"/>
                  </a:lnTo>
                  <a:lnTo>
                    <a:pt x="5478" y="1439"/>
                  </a:lnTo>
                  <a:lnTo>
                    <a:pt x="5421" y="1404"/>
                  </a:lnTo>
                  <a:lnTo>
                    <a:pt x="5296" y="1450"/>
                  </a:lnTo>
                  <a:lnTo>
                    <a:pt x="5284" y="1473"/>
                  </a:lnTo>
                  <a:lnTo>
                    <a:pt x="5353" y="1496"/>
                  </a:lnTo>
                  <a:lnTo>
                    <a:pt x="5387" y="1519"/>
                  </a:lnTo>
                  <a:lnTo>
                    <a:pt x="5307" y="1621"/>
                  </a:lnTo>
                  <a:lnTo>
                    <a:pt x="5239" y="1633"/>
                  </a:lnTo>
                  <a:lnTo>
                    <a:pt x="5250" y="1713"/>
                  </a:lnTo>
                  <a:lnTo>
                    <a:pt x="5284" y="1770"/>
                  </a:lnTo>
                  <a:lnTo>
                    <a:pt x="5387" y="1792"/>
                  </a:lnTo>
                  <a:lnTo>
                    <a:pt x="5421" y="1850"/>
                  </a:lnTo>
                  <a:close/>
                  <a:moveTo>
                    <a:pt x="4908" y="1439"/>
                  </a:moveTo>
                  <a:lnTo>
                    <a:pt x="4953" y="1393"/>
                  </a:lnTo>
                  <a:lnTo>
                    <a:pt x="4999" y="1336"/>
                  </a:lnTo>
                  <a:lnTo>
                    <a:pt x="4988" y="1325"/>
                  </a:lnTo>
                  <a:lnTo>
                    <a:pt x="4988" y="1279"/>
                  </a:lnTo>
                  <a:lnTo>
                    <a:pt x="5010" y="1222"/>
                  </a:lnTo>
                  <a:lnTo>
                    <a:pt x="5056" y="1210"/>
                  </a:lnTo>
                  <a:lnTo>
                    <a:pt x="5022" y="1176"/>
                  </a:lnTo>
                  <a:lnTo>
                    <a:pt x="4999" y="1165"/>
                  </a:lnTo>
                  <a:lnTo>
                    <a:pt x="4999" y="1210"/>
                  </a:lnTo>
                  <a:lnTo>
                    <a:pt x="4953" y="1313"/>
                  </a:lnTo>
                  <a:lnTo>
                    <a:pt x="4942" y="1347"/>
                  </a:lnTo>
                  <a:lnTo>
                    <a:pt x="4873" y="1439"/>
                  </a:lnTo>
                  <a:close/>
                  <a:moveTo>
                    <a:pt x="3162" y="1028"/>
                  </a:moveTo>
                  <a:lnTo>
                    <a:pt x="3070" y="925"/>
                  </a:lnTo>
                  <a:lnTo>
                    <a:pt x="3059" y="948"/>
                  </a:lnTo>
                  <a:lnTo>
                    <a:pt x="3048" y="1005"/>
                  </a:lnTo>
                  <a:lnTo>
                    <a:pt x="3048" y="1051"/>
                  </a:lnTo>
                  <a:lnTo>
                    <a:pt x="3093" y="1085"/>
                  </a:lnTo>
                  <a:lnTo>
                    <a:pt x="3105" y="1108"/>
                  </a:lnTo>
                  <a:lnTo>
                    <a:pt x="3093" y="1176"/>
                  </a:lnTo>
                  <a:lnTo>
                    <a:pt x="3093" y="1233"/>
                  </a:lnTo>
                  <a:lnTo>
                    <a:pt x="3173" y="1370"/>
                  </a:lnTo>
                  <a:lnTo>
                    <a:pt x="3184" y="1462"/>
                  </a:lnTo>
                  <a:lnTo>
                    <a:pt x="3230" y="1553"/>
                  </a:lnTo>
                  <a:lnTo>
                    <a:pt x="3299" y="1621"/>
                  </a:lnTo>
                  <a:lnTo>
                    <a:pt x="3356" y="1690"/>
                  </a:lnTo>
                  <a:lnTo>
                    <a:pt x="3470" y="1895"/>
                  </a:lnTo>
                  <a:lnTo>
                    <a:pt x="3504" y="1964"/>
                  </a:lnTo>
                  <a:lnTo>
                    <a:pt x="3561" y="2009"/>
                  </a:lnTo>
                  <a:lnTo>
                    <a:pt x="3698" y="2181"/>
                  </a:lnTo>
                  <a:lnTo>
                    <a:pt x="3755" y="2238"/>
                  </a:lnTo>
                  <a:lnTo>
                    <a:pt x="3812" y="2260"/>
                  </a:lnTo>
                  <a:lnTo>
                    <a:pt x="3949" y="2363"/>
                  </a:lnTo>
                  <a:lnTo>
                    <a:pt x="4029" y="2409"/>
                  </a:lnTo>
                  <a:lnTo>
                    <a:pt x="4075" y="2477"/>
                  </a:lnTo>
                  <a:lnTo>
                    <a:pt x="4155" y="2523"/>
                  </a:lnTo>
                  <a:lnTo>
                    <a:pt x="4269" y="2580"/>
                  </a:lnTo>
                  <a:lnTo>
                    <a:pt x="4291" y="2603"/>
                  </a:lnTo>
                  <a:lnTo>
                    <a:pt x="4291" y="2648"/>
                  </a:lnTo>
                  <a:lnTo>
                    <a:pt x="4303" y="2694"/>
                  </a:lnTo>
                  <a:lnTo>
                    <a:pt x="4371" y="2751"/>
                  </a:lnTo>
                  <a:lnTo>
                    <a:pt x="4451" y="2785"/>
                  </a:lnTo>
                  <a:lnTo>
                    <a:pt x="4474" y="2820"/>
                  </a:lnTo>
                  <a:lnTo>
                    <a:pt x="4485" y="2854"/>
                  </a:lnTo>
                  <a:lnTo>
                    <a:pt x="4531" y="2831"/>
                  </a:lnTo>
                  <a:lnTo>
                    <a:pt x="4565" y="2854"/>
                  </a:lnTo>
                  <a:lnTo>
                    <a:pt x="4702" y="2945"/>
                  </a:lnTo>
                  <a:lnTo>
                    <a:pt x="4759" y="2934"/>
                  </a:lnTo>
                  <a:lnTo>
                    <a:pt x="4794" y="2934"/>
                  </a:lnTo>
                  <a:lnTo>
                    <a:pt x="4873" y="2911"/>
                  </a:lnTo>
                  <a:lnTo>
                    <a:pt x="4908" y="2854"/>
                  </a:lnTo>
                  <a:lnTo>
                    <a:pt x="4896" y="2694"/>
                  </a:lnTo>
                  <a:lnTo>
                    <a:pt x="4828" y="2626"/>
                  </a:lnTo>
                  <a:lnTo>
                    <a:pt x="4725" y="2569"/>
                  </a:lnTo>
                  <a:lnTo>
                    <a:pt x="4668" y="2489"/>
                  </a:lnTo>
                  <a:lnTo>
                    <a:pt x="4611" y="2420"/>
                  </a:lnTo>
                  <a:lnTo>
                    <a:pt x="4497" y="2283"/>
                  </a:lnTo>
                  <a:lnTo>
                    <a:pt x="4337" y="2135"/>
                  </a:lnTo>
                  <a:lnTo>
                    <a:pt x="4269" y="2101"/>
                  </a:lnTo>
                  <a:lnTo>
                    <a:pt x="4223" y="2055"/>
                  </a:lnTo>
                  <a:lnTo>
                    <a:pt x="4189" y="2032"/>
                  </a:lnTo>
                  <a:lnTo>
                    <a:pt x="4155" y="1998"/>
                  </a:lnTo>
                  <a:lnTo>
                    <a:pt x="4086" y="1952"/>
                  </a:lnTo>
                  <a:lnTo>
                    <a:pt x="4040" y="1861"/>
                  </a:lnTo>
                  <a:lnTo>
                    <a:pt x="3961" y="1781"/>
                  </a:lnTo>
                  <a:lnTo>
                    <a:pt x="3938" y="1735"/>
                  </a:lnTo>
                  <a:lnTo>
                    <a:pt x="3961" y="1690"/>
                  </a:lnTo>
                  <a:lnTo>
                    <a:pt x="3938" y="1656"/>
                  </a:lnTo>
                  <a:lnTo>
                    <a:pt x="3881" y="1610"/>
                  </a:lnTo>
                  <a:lnTo>
                    <a:pt x="3858" y="1541"/>
                  </a:lnTo>
                  <a:lnTo>
                    <a:pt x="3824" y="1496"/>
                  </a:lnTo>
                  <a:lnTo>
                    <a:pt x="3767" y="1462"/>
                  </a:lnTo>
                  <a:lnTo>
                    <a:pt x="3675" y="1404"/>
                  </a:lnTo>
                  <a:lnTo>
                    <a:pt x="3447" y="1142"/>
                  </a:lnTo>
                  <a:lnTo>
                    <a:pt x="3344" y="1051"/>
                  </a:lnTo>
                  <a:lnTo>
                    <a:pt x="3242" y="1085"/>
                  </a:lnTo>
                  <a:close/>
                  <a:moveTo>
                    <a:pt x="23" y="172"/>
                  </a:moveTo>
                  <a:lnTo>
                    <a:pt x="46" y="115"/>
                  </a:lnTo>
                  <a:lnTo>
                    <a:pt x="58" y="1"/>
                  </a:lnTo>
                  <a:lnTo>
                    <a:pt x="35" y="58"/>
                  </a:lnTo>
                  <a:lnTo>
                    <a:pt x="0" y="19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24" name="Google Shape;395;p29">
              <a:extLst>
                <a:ext uri="{FF2B5EF4-FFF2-40B4-BE49-F238E27FC236}">
                  <a16:creationId xmlns:a16="http://schemas.microsoft.com/office/drawing/2014/main" id="{E2126F48-30EF-4CA8-AD2E-C766704AB849}"/>
                </a:ext>
              </a:extLst>
            </p:cNvPr>
            <p:cNvSpPr/>
            <p:nvPr/>
          </p:nvSpPr>
          <p:spPr>
            <a:xfrm>
              <a:off x="7066600" y="3123225"/>
              <a:ext cx="1175" cy="1450"/>
            </a:xfrm>
            <a:custGeom>
              <a:avLst/>
              <a:gdLst/>
              <a:ahLst/>
              <a:cxnLst/>
              <a:rect l="l" t="t" r="r" b="b"/>
              <a:pathLst>
                <a:path w="47" h="58" extrusionOk="0">
                  <a:moveTo>
                    <a:pt x="46" y="35"/>
                  </a:moveTo>
                  <a:lnTo>
                    <a:pt x="46" y="1"/>
                  </a:lnTo>
                  <a:lnTo>
                    <a:pt x="23" y="1"/>
                  </a:lnTo>
                  <a:lnTo>
                    <a:pt x="12" y="1"/>
                  </a:lnTo>
                  <a:lnTo>
                    <a:pt x="1" y="35"/>
                  </a:lnTo>
                  <a:lnTo>
                    <a:pt x="12" y="47"/>
                  </a:lnTo>
                  <a:lnTo>
                    <a:pt x="23" y="5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25" name="Google Shape;396;p29">
              <a:extLst>
                <a:ext uri="{FF2B5EF4-FFF2-40B4-BE49-F238E27FC236}">
                  <a16:creationId xmlns:a16="http://schemas.microsoft.com/office/drawing/2014/main" id="{99B99EF9-C471-429B-BFE8-3DF969BC7160}"/>
                </a:ext>
              </a:extLst>
            </p:cNvPr>
            <p:cNvSpPr/>
            <p:nvPr/>
          </p:nvSpPr>
          <p:spPr>
            <a:xfrm>
              <a:off x="1214425" y="3663900"/>
              <a:ext cx="1750" cy="2300"/>
            </a:xfrm>
            <a:custGeom>
              <a:avLst/>
              <a:gdLst/>
              <a:ahLst/>
              <a:cxnLst/>
              <a:rect l="l" t="t" r="r" b="b"/>
              <a:pathLst>
                <a:path w="70" h="92" extrusionOk="0">
                  <a:moveTo>
                    <a:pt x="69" y="80"/>
                  </a:moveTo>
                  <a:lnTo>
                    <a:pt x="69" y="46"/>
                  </a:lnTo>
                  <a:lnTo>
                    <a:pt x="46" y="11"/>
                  </a:lnTo>
                  <a:lnTo>
                    <a:pt x="23" y="0"/>
                  </a:lnTo>
                  <a:lnTo>
                    <a:pt x="1" y="11"/>
                  </a:lnTo>
                  <a:lnTo>
                    <a:pt x="23" y="46"/>
                  </a:lnTo>
                  <a:lnTo>
                    <a:pt x="46" y="80"/>
                  </a:lnTo>
                  <a:lnTo>
                    <a:pt x="69" y="9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26" name="Google Shape;397;p29">
              <a:extLst>
                <a:ext uri="{FF2B5EF4-FFF2-40B4-BE49-F238E27FC236}">
                  <a16:creationId xmlns:a16="http://schemas.microsoft.com/office/drawing/2014/main" id="{EC0F7781-A0C8-467C-89A4-5A9AA55D2480}"/>
                </a:ext>
              </a:extLst>
            </p:cNvPr>
            <p:cNvSpPr/>
            <p:nvPr/>
          </p:nvSpPr>
          <p:spPr>
            <a:xfrm>
              <a:off x="2379600" y="2691850"/>
              <a:ext cx="52250" cy="13150"/>
            </a:xfrm>
            <a:custGeom>
              <a:avLst/>
              <a:gdLst/>
              <a:ahLst/>
              <a:cxnLst/>
              <a:rect l="l" t="t" r="r" b="b"/>
              <a:pathLst>
                <a:path w="2090" h="526" extrusionOk="0">
                  <a:moveTo>
                    <a:pt x="47" y="423"/>
                  </a:moveTo>
                  <a:lnTo>
                    <a:pt x="47" y="412"/>
                  </a:lnTo>
                  <a:lnTo>
                    <a:pt x="47" y="412"/>
                  </a:lnTo>
                  <a:lnTo>
                    <a:pt x="58" y="412"/>
                  </a:lnTo>
                  <a:lnTo>
                    <a:pt x="58" y="400"/>
                  </a:lnTo>
                  <a:lnTo>
                    <a:pt x="81" y="377"/>
                  </a:lnTo>
                  <a:lnTo>
                    <a:pt x="81" y="377"/>
                  </a:lnTo>
                  <a:lnTo>
                    <a:pt x="81" y="366"/>
                  </a:lnTo>
                  <a:lnTo>
                    <a:pt x="58" y="366"/>
                  </a:lnTo>
                  <a:lnTo>
                    <a:pt x="58" y="366"/>
                  </a:lnTo>
                  <a:lnTo>
                    <a:pt x="24" y="366"/>
                  </a:lnTo>
                  <a:lnTo>
                    <a:pt x="1" y="366"/>
                  </a:lnTo>
                  <a:lnTo>
                    <a:pt x="1" y="377"/>
                  </a:lnTo>
                  <a:lnTo>
                    <a:pt x="1" y="400"/>
                  </a:lnTo>
                  <a:lnTo>
                    <a:pt x="35" y="412"/>
                  </a:lnTo>
                  <a:lnTo>
                    <a:pt x="35" y="412"/>
                  </a:lnTo>
                  <a:lnTo>
                    <a:pt x="35" y="423"/>
                  </a:lnTo>
                  <a:lnTo>
                    <a:pt x="47" y="423"/>
                  </a:lnTo>
                  <a:close/>
                  <a:moveTo>
                    <a:pt x="1987" y="389"/>
                  </a:moveTo>
                  <a:lnTo>
                    <a:pt x="2089" y="355"/>
                  </a:lnTo>
                  <a:lnTo>
                    <a:pt x="2089" y="343"/>
                  </a:lnTo>
                  <a:lnTo>
                    <a:pt x="2032" y="332"/>
                  </a:lnTo>
                  <a:lnTo>
                    <a:pt x="1941" y="332"/>
                  </a:lnTo>
                  <a:lnTo>
                    <a:pt x="1873" y="355"/>
                  </a:lnTo>
                  <a:lnTo>
                    <a:pt x="1884" y="377"/>
                  </a:lnTo>
                  <a:lnTo>
                    <a:pt x="1918" y="377"/>
                  </a:lnTo>
                  <a:close/>
                  <a:moveTo>
                    <a:pt x="1462" y="69"/>
                  </a:moveTo>
                  <a:lnTo>
                    <a:pt x="1439" y="46"/>
                  </a:lnTo>
                  <a:lnTo>
                    <a:pt x="1416" y="46"/>
                  </a:lnTo>
                  <a:lnTo>
                    <a:pt x="914" y="24"/>
                  </a:lnTo>
                  <a:lnTo>
                    <a:pt x="731" y="1"/>
                  </a:lnTo>
                  <a:lnTo>
                    <a:pt x="686" y="12"/>
                  </a:lnTo>
                  <a:lnTo>
                    <a:pt x="651" y="24"/>
                  </a:lnTo>
                  <a:lnTo>
                    <a:pt x="629" y="81"/>
                  </a:lnTo>
                  <a:lnTo>
                    <a:pt x="606" y="115"/>
                  </a:lnTo>
                  <a:lnTo>
                    <a:pt x="560" y="138"/>
                  </a:lnTo>
                  <a:lnTo>
                    <a:pt x="572" y="183"/>
                  </a:lnTo>
                  <a:lnTo>
                    <a:pt x="594" y="218"/>
                  </a:lnTo>
                  <a:lnTo>
                    <a:pt x="617" y="275"/>
                  </a:lnTo>
                  <a:lnTo>
                    <a:pt x="606" y="343"/>
                  </a:lnTo>
                  <a:lnTo>
                    <a:pt x="572" y="480"/>
                  </a:lnTo>
                  <a:lnTo>
                    <a:pt x="617" y="514"/>
                  </a:lnTo>
                  <a:lnTo>
                    <a:pt x="720" y="491"/>
                  </a:lnTo>
                  <a:lnTo>
                    <a:pt x="754" y="514"/>
                  </a:lnTo>
                  <a:lnTo>
                    <a:pt x="800" y="526"/>
                  </a:lnTo>
                  <a:lnTo>
                    <a:pt x="857" y="514"/>
                  </a:lnTo>
                  <a:lnTo>
                    <a:pt x="914" y="480"/>
                  </a:lnTo>
                  <a:lnTo>
                    <a:pt x="1039" y="503"/>
                  </a:lnTo>
                  <a:lnTo>
                    <a:pt x="1119" y="480"/>
                  </a:lnTo>
                  <a:lnTo>
                    <a:pt x="1199" y="526"/>
                  </a:lnTo>
                  <a:lnTo>
                    <a:pt x="1256" y="514"/>
                  </a:lnTo>
                  <a:lnTo>
                    <a:pt x="1291" y="526"/>
                  </a:lnTo>
                  <a:lnTo>
                    <a:pt x="1325" y="526"/>
                  </a:lnTo>
                  <a:lnTo>
                    <a:pt x="1416" y="526"/>
                  </a:lnTo>
                  <a:lnTo>
                    <a:pt x="1542" y="503"/>
                  </a:lnTo>
                  <a:lnTo>
                    <a:pt x="1656" y="423"/>
                  </a:lnTo>
                  <a:lnTo>
                    <a:pt x="1701" y="355"/>
                  </a:lnTo>
                  <a:lnTo>
                    <a:pt x="1758" y="309"/>
                  </a:lnTo>
                  <a:lnTo>
                    <a:pt x="1838" y="252"/>
                  </a:lnTo>
                  <a:lnTo>
                    <a:pt x="1838" y="126"/>
                  </a:lnTo>
                  <a:lnTo>
                    <a:pt x="1747" y="115"/>
                  </a:lnTo>
                  <a:lnTo>
                    <a:pt x="1656" y="69"/>
                  </a:lnTo>
                  <a:lnTo>
                    <a:pt x="1496" y="58"/>
                  </a:lnTo>
                  <a:lnTo>
                    <a:pt x="1485" y="58"/>
                  </a:lnTo>
                  <a:lnTo>
                    <a:pt x="1496" y="81"/>
                  </a:lnTo>
                  <a:lnTo>
                    <a:pt x="1485" y="8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27" name="Google Shape;398;p29">
              <a:extLst>
                <a:ext uri="{FF2B5EF4-FFF2-40B4-BE49-F238E27FC236}">
                  <a16:creationId xmlns:a16="http://schemas.microsoft.com/office/drawing/2014/main" id="{888B790F-0E50-4416-BE76-319D575426E8}"/>
                </a:ext>
              </a:extLst>
            </p:cNvPr>
            <p:cNvSpPr/>
            <p:nvPr/>
          </p:nvSpPr>
          <p:spPr>
            <a:xfrm>
              <a:off x="721700" y="3311250"/>
              <a:ext cx="309875" cy="274775"/>
            </a:xfrm>
            <a:custGeom>
              <a:avLst/>
              <a:gdLst/>
              <a:ahLst/>
              <a:cxnLst/>
              <a:rect l="l" t="t" r="r" b="b"/>
              <a:pathLst>
                <a:path w="12395" h="10991" extrusionOk="0">
                  <a:moveTo>
                    <a:pt x="11071" y="10968"/>
                  </a:moveTo>
                  <a:lnTo>
                    <a:pt x="11059" y="10933"/>
                  </a:lnTo>
                  <a:lnTo>
                    <a:pt x="11025" y="10888"/>
                  </a:lnTo>
                  <a:lnTo>
                    <a:pt x="11013" y="10899"/>
                  </a:lnTo>
                  <a:lnTo>
                    <a:pt x="11025" y="10911"/>
                  </a:lnTo>
                  <a:lnTo>
                    <a:pt x="11059" y="10956"/>
                  </a:lnTo>
                  <a:lnTo>
                    <a:pt x="11059" y="10990"/>
                  </a:lnTo>
                  <a:close/>
                  <a:moveTo>
                    <a:pt x="12394" y="8879"/>
                  </a:moveTo>
                  <a:lnTo>
                    <a:pt x="12371" y="8845"/>
                  </a:lnTo>
                  <a:lnTo>
                    <a:pt x="12314" y="8811"/>
                  </a:lnTo>
                  <a:lnTo>
                    <a:pt x="12280" y="8799"/>
                  </a:lnTo>
                  <a:lnTo>
                    <a:pt x="12257" y="8788"/>
                  </a:lnTo>
                  <a:lnTo>
                    <a:pt x="12246" y="8799"/>
                  </a:lnTo>
                  <a:lnTo>
                    <a:pt x="12257" y="8811"/>
                  </a:lnTo>
                  <a:lnTo>
                    <a:pt x="12269" y="8811"/>
                  </a:lnTo>
                  <a:lnTo>
                    <a:pt x="12314" y="8845"/>
                  </a:lnTo>
                  <a:lnTo>
                    <a:pt x="12360" y="8856"/>
                  </a:lnTo>
                  <a:lnTo>
                    <a:pt x="12383" y="8879"/>
                  </a:lnTo>
                  <a:lnTo>
                    <a:pt x="12383" y="8891"/>
                  </a:lnTo>
                  <a:close/>
                  <a:moveTo>
                    <a:pt x="8902" y="8719"/>
                  </a:moveTo>
                  <a:lnTo>
                    <a:pt x="8822" y="8674"/>
                  </a:lnTo>
                  <a:lnTo>
                    <a:pt x="8834" y="8708"/>
                  </a:lnTo>
                  <a:lnTo>
                    <a:pt x="8891" y="8731"/>
                  </a:lnTo>
                  <a:lnTo>
                    <a:pt x="8914" y="8742"/>
                  </a:lnTo>
                  <a:close/>
                  <a:moveTo>
                    <a:pt x="11824" y="8685"/>
                  </a:moveTo>
                  <a:lnTo>
                    <a:pt x="11767" y="8617"/>
                  </a:lnTo>
                  <a:lnTo>
                    <a:pt x="11732" y="8617"/>
                  </a:lnTo>
                  <a:lnTo>
                    <a:pt x="11824" y="8697"/>
                  </a:lnTo>
                  <a:close/>
                  <a:moveTo>
                    <a:pt x="8742" y="8548"/>
                  </a:moveTo>
                  <a:lnTo>
                    <a:pt x="8685" y="8491"/>
                  </a:lnTo>
                  <a:lnTo>
                    <a:pt x="8663" y="8446"/>
                  </a:lnTo>
                  <a:lnTo>
                    <a:pt x="8617" y="8434"/>
                  </a:lnTo>
                  <a:lnTo>
                    <a:pt x="8628" y="8446"/>
                  </a:lnTo>
                  <a:lnTo>
                    <a:pt x="8685" y="8503"/>
                  </a:lnTo>
                  <a:lnTo>
                    <a:pt x="8731" y="8560"/>
                  </a:lnTo>
                  <a:lnTo>
                    <a:pt x="8765" y="8571"/>
                  </a:lnTo>
                  <a:close/>
                  <a:moveTo>
                    <a:pt x="8708" y="8240"/>
                  </a:moveTo>
                  <a:lnTo>
                    <a:pt x="8685" y="8229"/>
                  </a:lnTo>
                  <a:lnTo>
                    <a:pt x="8685" y="8229"/>
                  </a:lnTo>
                  <a:lnTo>
                    <a:pt x="8685" y="8183"/>
                  </a:lnTo>
                  <a:lnTo>
                    <a:pt x="8720" y="8149"/>
                  </a:lnTo>
                  <a:lnTo>
                    <a:pt x="8799" y="8092"/>
                  </a:lnTo>
                  <a:lnTo>
                    <a:pt x="8799" y="8069"/>
                  </a:lnTo>
                  <a:lnTo>
                    <a:pt x="8799" y="8069"/>
                  </a:lnTo>
                  <a:lnTo>
                    <a:pt x="8777" y="8092"/>
                  </a:lnTo>
                  <a:lnTo>
                    <a:pt x="8720" y="8115"/>
                  </a:lnTo>
                  <a:lnTo>
                    <a:pt x="8685" y="8149"/>
                  </a:lnTo>
                  <a:lnTo>
                    <a:pt x="8674" y="8172"/>
                  </a:lnTo>
                  <a:lnTo>
                    <a:pt x="8663" y="8217"/>
                  </a:lnTo>
                  <a:lnTo>
                    <a:pt x="8674" y="8252"/>
                  </a:lnTo>
                  <a:lnTo>
                    <a:pt x="8685" y="8263"/>
                  </a:lnTo>
                  <a:lnTo>
                    <a:pt x="8720" y="8263"/>
                  </a:lnTo>
                  <a:close/>
                  <a:moveTo>
                    <a:pt x="1941" y="8092"/>
                  </a:moveTo>
                  <a:lnTo>
                    <a:pt x="1918" y="8001"/>
                  </a:lnTo>
                  <a:lnTo>
                    <a:pt x="1872" y="7932"/>
                  </a:lnTo>
                  <a:lnTo>
                    <a:pt x="1758" y="7921"/>
                  </a:lnTo>
                  <a:lnTo>
                    <a:pt x="1678" y="7943"/>
                  </a:lnTo>
                  <a:lnTo>
                    <a:pt x="1667" y="7978"/>
                  </a:lnTo>
                  <a:lnTo>
                    <a:pt x="1678" y="8035"/>
                  </a:lnTo>
                  <a:lnTo>
                    <a:pt x="1758" y="8126"/>
                  </a:lnTo>
                  <a:lnTo>
                    <a:pt x="1827" y="8149"/>
                  </a:lnTo>
                  <a:lnTo>
                    <a:pt x="1941" y="8126"/>
                  </a:lnTo>
                  <a:lnTo>
                    <a:pt x="1998" y="8217"/>
                  </a:lnTo>
                  <a:lnTo>
                    <a:pt x="2021" y="8229"/>
                  </a:lnTo>
                  <a:lnTo>
                    <a:pt x="2078" y="8252"/>
                  </a:lnTo>
                  <a:lnTo>
                    <a:pt x="2101" y="8206"/>
                  </a:lnTo>
                  <a:lnTo>
                    <a:pt x="2066" y="8137"/>
                  </a:lnTo>
                  <a:close/>
                  <a:moveTo>
                    <a:pt x="1530" y="7955"/>
                  </a:moveTo>
                  <a:lnTo>
                    <a:pt x="1541" y="7898"/>
                  </a:lnTo>
                  <a:lnTo>
                    <a:pt x="1507" y="7886"/>
                  </a:lnTo>
                  <a:lnTo>
                    <a:pt x="1439" y="7886"/>
                  </a:lnTo>
                  <a:lnTo>
                    <a:pt x="1439" y="7921"/>
                  </a:lnTo>
                  <a:lnTo>
                    <a:pt x="1450" y="7943"/>
                  </a:lnTo>
                  <a:lnTo>
                    <a:pt x="1473" y="7966"/>
                  </a:lnTo>
                  <a:lnTo>
                    <a:pt x="1507" y="7989"/>
                  </a:lnTo>
                  <a:close/>
                  <a:moveTo>
                    <a:pt x="149" y="7350"/>
                  </a:moveTo>
                  <a:lnTo>
                    <a:pt x="172" y="7350"/>
                  </a:lnTo>
                  <a:lnTo>
                    <a:pt x="115" y="7259"/>
                  </a:lnTo>
                  <a:lnTo>
                    <a:pt x="69" y="7236"/>
                  </a:lnTo>
                  <a:lnTo>
                    <a:pt x="69" y="7247"/>
                  </a:lnTo>
                  <a:lnTo>
                    <a:pt x="69" y="7350"/>
                  </a:lnTo>
                  <a:lnTo>
                    <a:pt x="115" y="7361"/>
                  </a:lnTo>
                  <a:close/>
                  <a:moveTo>
                    <a:pt x="6403" y="7122"/>
                  </a:moveTo>
                  <a:lnTo>
                    <a:pt x="6380" y="7122"/>
                  </a:lnTo>
                  <a:lnTo>
                    <a:pt x="6334" y="7122"/>
                  </a:lnTo>
                  <a:lnTo>
                    <a:pt x="6323" y="7122"/>
                  </a:lnTo>
                  <a:lnTo>
                    <a:pt x="6392" y="7133"/>
                  </a:lnTo>
                  <a:lnTo>
                    <a:pt x="6449" y="7167"/>
                  </a:lnTo>
                  <a:close/>
                  <a:moveTo>
                    <a:pt x="6312" y="7133"/>
                  </a:moveTo>
                  <a:lnTo>
                    <a:pt x="6266" y="7122"/>
                  </a:lnTo>
                  <a:lnTo>
                    <a:pt x="6220" y="7088"/>
                  </a:lnTo>
                  <a:lnTo>
                    <a:pt x="6175" y="7088"/>
                  </a:lnTo>
                  <a:lnTo>
                    <a:pt x="6277" y="7133"/>
                  </a:lnTo>
                  <a:close/>
                  <a:moveTo>
                    <a:pt x="58" y="7145"/>
                  </a:moveTo>
                  <a:lnTo>
                    <a:pt x="69" y="7122"/>
                  </a:lnTo>
                  <a:lnTo>
                    <a:pt x="58" y="7099"/>
                  </a:lnTo>
                  <a:lnTo>
                    <a:pt x="1" y="7076"/>
                  </a:lnTo>
                  <a:lnTo>
                    <a:pt x="12" y="7122"/>
                  </a:lnTo>
                  <a:lnTo>
                    <a:pt x="12" y="7145"/>
                  </a:lnTo>
                  <a:lnTo>
                    <a:pt x="46" y="7156"/>
                  </a:lnTo>
                  <a:close/>
                  <a:moveTo>
                    <a:pt x="4737" y="6859"/>
                  </a:moveTo>
                  <a:lnTo>
                    <a:pt x="4691" y="6802"/>
                  </a:lnTo>
                  <a:lnTo>
                    <a:pt x="4668" y="6768"/>
                  </a:lnTo>
                  <a:lnTo>
                    <a:pt x="4634" y="6711"/>
                  </a:lnTo>
                  <a:lnTo>
                    <a:pt x="4577" y="6631"/>
                  </a:lnTo>
                  <a:lnTo>
                    <a:pt x="4600" y="6677"/>
                  </a:lnTo>
                  <a:lnTo>
                    <a:pt x="4611" y="6711"/>
                  </a:lnTo>
                  <a:lnTo>
                    <a:pt x="4634" y="6734"/>
                  </a:lnTo>
                  <a:lnTo>
                    <a:pt x="4668" y="6791"/>
                  </a:lnTo>
                  <a:lnTo>
                    <a:pt x="4680" y="6825"/>
                  </a:lnTo>
                  <a:lnTo>
                    <a:pt x="4725" y="6882"/>
                  </a:lnTo>
                  <a:lnTo>
                    <a:pt x="4737" y="6882"/>
                  </a:lnTo>
                  <a:close/>
                  <a:moveTo>
                    <a:pt x="7053" y="6642"/>
                  </a:moveTo>
                  <a:lnTo>
                    <a:pt x="7065" y="6574"/>
                  </a:lnTo>
                  <a:lnTo>
                    <a:pt x="7031" y="6574"/>
                  </a:lnTo>
                  <a:lnTo>
                    <a:pt x="7031" y="6642"/>
                  </a:lnTo>
                  <a:close/>
                  <a:moveTo>
                    <a:pt x="4999" y="6414"/>
                  </a:moveTo>
                  <a:lnTo>
                    <a:pt x="4908" y="6334"/>
                  </a:lnTo>
                  <a:lnTo>
                    <a:pt x="4897" y="6334"/>
                  </a:lnTo>
                  <a:lnTo>
                    <a:pt x="4908" y="6357"/>
                  </a:lnTo>
                  <a:lnTo>
                    <a:pt x="4976" y="6437"/>
                  </a:lnTo>
                  <a:lnTo>
                    <a:pt x="4999" y="6460"/>
                  </a:lnTo>
                  <a:close/>
                  <a:moveTo>
                    <a:pt x="9393" y="1587"/>
                  </a:moveTo>
                  <a:lnTo>
                    <a:pt x="9404" y="1553"/>
                  </a:lnTo>
                  <a:lnTo>
                    <a:pt x="9404" y="1530"/>
                  </a:lnTo>
                  <a:lnTo>
                    <a:pt x="9393" y="1507"/>
                  </a:lnTo>
                  <a:lnTo>
                    <a:pt x="9347" y="1496"/>
                  </a:lnTo>
                  <a:lnTo>
                    <a:pt x="9359" y="1598"/>
                  </a:lnTo>
                  <a:close/>
                  <a:moveTo>
                    <a:pt x="9005" y="1050"/>
                  </a:moveTo>
                  <a:lnTo>
                    <a:pt x="8993" y="1028"/>
                  </a:lnTo>
                  <a:lnTo>
                    <a:pt x="8959" y="1028"/>
                  </a:lnTo>
                  <a:lnTo>
                    <a:pt x="8948" y="1039"/>
                  </a:lnTo>
                  <a:lnTo>
                    <a:pt x="8948" y="1108"/>
                  </a:lnTo>
                  <a:close/>
                  <a:moveTo>
                    <a:pt x="9016" y="822"/>
                  </a:moveTo>
                  <a:lnTo>
                    <a:pt x="8902" y="902"/>
                  </a:lnTo>
                  <a:lnTo>
                    <a:pt x="8936" y="959"/>
                  </a:lnTo>
                  <a:lnTo>
                    <a:pt x="8993" y="971"/>
                  </a:lnTo>
                  <a:lnTo>
                    <a:pt x="9016" y="936"/>
                  </a:lnTo>
                  <a:lnTo>
                    <a:pt x="9130" y="925"/>
                  </a:lnTo>
                  <a:lnTo>
                    <a:pt x="9176" y="868"/>
                  </a:lnTo>
                  <a:lnTo>
                    <a:pt x="9130" y="879"/>
                  </a:lnTo>
                  <a:close/>
                  <a:moveTo>
                    <a:pt x="8149" y="583"/>
                  </a:moveTo>
                  <a:lnTo>
                    <a:pt x="8172" y="514"/>
                  </a:lnTo>
                  <a:lnTo>
                    <a:pt x="8149" y="503"/>
                  </a:lnTo>
                  <a:lnTo>
                    <a:pt x="8092" y="526"/>
                  </a:lnTo>
                  <a:lnTo>
                    <a:pt x="8092" y="560"/>
                  </a:lnTo>
                  <a:lnTo>
                    <a:pt x="8138" y="617"/>
                  </a:lnTo>
                  <a:close/>
                  <a:moveTo>
                    <a:pt x="8514" y="138"/>
                  </a:moveTo>
                  <a:lnTo>
                    <a:pt x="8560" y="126"/>
                  </a:lnTo>
                  <a:lnTo>
                    <a:pt x="8560" y="115"/>
                  </a:lnTo>
                  <a:lnTo>
                    <a:pt x="8537" y="80"/>
                  </a:lnTo>
                  <a:lnTo>
                    <a:pt x="8491" y="69"/>
                  </a:lnTo>
                  <a:lnTo>
                    <a:pt x="8480" y="80"/>
                  </a:lnTo>
                  <a:lnTo>
                    <a:pt x="8457" y="115"/>
                  </a:lnTo>
                  <a:lnTo>
                    <a:pt x="8480" y="160"/>
                  </a:lnTo>
                  <a:close/>
                  <a:moveTo>
                    <a:pt x="8103" y="126"/>
                  </a:moveTo>
                  <a:lnTo>
                    <a:pt x="8115" y="80"/>
                  </a:lnTo>
                  <a:lnTo>
                    <a:pt x="8115" y="58"/>
                  </a:lnTo>
                  <a:lnTo>
                    <a:pt x="8103" y="23"/>
                  </a:lnTo>
                  <a:lnTo>
                    <a:pt x="7978" y="1"/>
                  </a:lnTo>
                  <a:lnTo>
                    <a:pt x="7966" y="12"/>
                  </a:lnTo>
                  <a:lnTo>
                    <a:pt x="7966" y="69"/>
                  </a:lnTo>
                  <a:lnTo>
                    <a:pt x="7989" y="138"/>
                  </a:lnTo>
                  <a:lnTo>
                    <a:pt x="8035" y="13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28" name="Google Shape;399;p29">
              <a:extLst>
                <a:ext uri="{FF2B5EF4-FFF2-40B4-BE49-F238E27FC236}">
                  <a16:creationId xmlns:a16="http://schemas.microsoft.com/office/drawing/2014/main" id="{DFDE25EF-A9DC-4F83-B7C0-1BBED152739D}"/>
                </a:ext>
              </a:extLst>
            </p:cNvPr>
            <p:cNvSpPr/>
            <p:nvPr/>
          </p:nvSpPr>
          <p:spPr>
            <a:xfrm>
              <a:off x="5798700" y="3079300"/>
              <a:ext cx="6875" cy="4025"/>
            </a:xfrm>
            <a:custGeom>
              <a:avLst/>
              <a:gdLst/>
              <a:ahLst/>
              <a:cxnLst/>
              <a:rect l="l" t="t" r="r" b="b"/>
              <a:pathLst>
                <a:path w="275" h="161" extrusionOk="0">
                  <a:moveTo>
                    <a:pt x="263" y="103"/>
                  </a:moveTo>
                  <a:lnTo>
                    <a:pt x="275" y="80"/>
                  </a:lnTo>
                  <a:lnTo>
                    <a:pt x="240" y="46"/>
                  </a:lnTo>
                  <a:lnTo>
                    <a:pt x="206" y="35"/>
                  </a:lnTo>
                  <a:lnTo>
                    <a:pt x="126" y="0"/>
                  </a:lnTo>
                  <a:lnTo>
                    <a:pt x="46" y="23"/>
                  </a:lnTo>
                  <a:lnTo>
                    <a:pt x="1" y="103"/>
                  </a:lnTo>
                  <a:lnTo>
                    <a:pt x="126" y="16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29" name="Google Shape;400;p29">
              <a:extLst>
                <a:ext uri="{FF2B5EF4-FFF2-40B4-BE49-F238E27FC236}">
                  <a16:creationId xmlns:a16="http://schemas.microsoft.com/office/drawing/2014/main" id="{B5FFE6F5-A85D-4AFF-A220-E7C56D248E3C}"/>
                </a:ext>
              </a:extLst>
            </p:cNvPr>
            <p:cNvSpPr/>
            <p:nvPr/>
          </p:nvSpPr>
          <p:spPr>
            <a:xfrm>
              <a:off x="6833800" y="3262175"/>
              <a:ext cx="212850" cy="118425"/>
            </a:xfrm>
            <a:custGeom>
              <a:avLst/>
              <a:gdLst/>
              <a:ahLst/>
              <a:cxnLst/>
              <a:rect l="l" t="t" r="r" b="b"/>
              <a:pathLst>
                <a:path w="8514" h="4737" extrusionOk="0">
                  <a:moveTo>
                    <a:pt x="8514" y="4588"/>
                  </a:moveTo>
                  <a:lnTo>
                    <a:pt x="8479" y="4554"/>
                  </a:lnTo>
                  <a:lnTo>
                    <a:pt x="8468" y="4497"/>
                  </a:lnTo>
                  <a:lnTo>
                    <a:pt x="8422" y="4497"/>
                  </a:lnTo>
                  <a:lnTo>
                    <a:pt x="8388" y="4520"/>
                  </a:lnTo>
                  <a:lnTo>
                    <a:pt x="8411" y="4600"/>
                  </a:lnTo>
                  <a:lnTo>
                    <a:pt x="8445" y="4600"/>
                  </a:lnTo>
                  <a:close/>
                  <a:moveTo>
                    <a:pt x="3435" y="4702"/>
                  </a:moveTo>
                  <a:lnTo>
                    <a:pt x="3424" y="4668"/>
                  </a:lnTo>
                  <a:lnTo>
                    <a:pt x="3344" y="4611"/>
                  </a:lnTo>
                  <a:lnTo>
                    <a:pt x="3081" y="4429"/>
                  </a:lnTo>
                  <a:lnTo>
                    <a:pt x="3024" y="4417"/>
                  </a:lnTo>
                  <a:lnTo>
                    <a:pt x="3002" y="4429"/>
                  </a:lnTo>
                  <a:lnTo>
                    <a:pt x="2990" y="4474"/>
                  </a:lnTo>
                  <a:lnTo>
                    <a:pt x="3002" y="4497"/>
                  </a:lnTo>
                  <a:lnTo>
                    <a:pt x="3081" y="4520"/>
                  </a:lnTo>
                  <a:lnTo>
                    <a:pt x="3081" y="4531"/>
                  </a:lnTo>
                  <a:lnTo>
                    <a:pt x="3116" y="4566"/>
                  </a:lnTo>
                  <a:lnTo>
                    <a:pt x="3218" y="4588"/>
                  </a:lnTo>
                  <a:lnTo>
                    <a:pt x="3275" y="4634"/>
                  </a:lnTo>
                  <a:lnTo>
                    <a:pt x="3287" y="4702"/>
                  </a:lnTo>
                  <a:lnTo>
                    <a:pt x="3333" y="4714"/>
                  </a:lnTo>
                  <a:lnTo>
                    <a:pt x="3378" y="4737"/>
                  </a:lnTo>
                  <a:close/>
                  <a:moveTo>
                    <a:pt x="8000" y="3755"/>
                  </a:moveTo>
                  <a:lnTo>
                    <a:pt x="8000" y="3744"/>
                  </a:lnTo>
                  <a:lnTo>
                    <a:pt x="8023" y="3698"/>
                  </a:lnTo>
                  <a:lnTo>
                    <a:pt x="8000" y="3687"/>
                  </a:lnTo>
                  <a:lnTo>
                    <a:pt x="7932" y="3675"/>
                  </a:lnTo>
                  <a:lnTo>
                    <a:pt x="7829" y="3687"/>
                  </a:lnTo>
                  <a:lnTo>
                    <a:pt x="7783" y="3721"/>
                  </a:lnTo>
                  <a:lnTo>
                    <a:pt x="7760" y="3755"/>
                  </a:lnTo>
                  <a:lnTo>
                    <a:pt x="7726" y="3755"/>
                  </a:lnTo>
                  <a:lnTo>
                    <a:pt x="7726" y="3790"/>
                  </a:lnTo>
                  <a:lnTo>
                    <a:pt x="7738" y="3847"/>
                  </a:lnTo>
                  <a:lnTo>
                    <a:pt x="7772" y="3835"/>
                  </a:lnTo>
                  <a:lnTo>
                    <a:pt x="7795" y="3847"/>
                  </a:lnTo>
                  <a:lnTo>
                    <a:pt x="7875" y="3778"/>
                  </a:lnTo>
                  <a:lnTo>
                    <a:pt x="7909" y="3778"/>
                  </a:lnTo>
                  <a:lnTo>
                    <a:pt x="7920" y="3778"/>
                  </a:lnTo>
                  <a:close/>
                  <a:moveTo>
                    <a:pt x="4519" y="3436"/>
                  </a:moveTo>
                  <a:lnTo>
                    <a:pt x="4508" y="3402"/>
                  </a:lnTo>
                  <a:lnTo>
                    <a:pt x="4474" y="3390"/>
                  </a:lnTo>
                  <a:lnTo>
                    <a:pt x="4348" y="3287"/>
                  </a:lnTo>
                  <a:lnTo>
                    <a:pt x="4280" y="3265"/>
                  </a:lnTo>
                  <a:lnTo>
                    <a:pt x="4200" y="3265"/>
                  </a:lnTo>
                  <a:lnTo>
                    <a:pt x="4188" y="3333"/>
                  </a:lnTo>
                  <a:lnTo>
                    <a:pt x="4188" y="3379"/>
                  </a:lnTo>
                  <a:lnTo>
                    <a:pt x="4280" y="3379"/>
                  </a:lnTo>
                  <a:lnTo>
                    <a:pt x="4337" y="3402"/>
                  </a:lnTo>
                  <a:lnTo>
                    <a:pt x="4337" y="3493"/>
                  </a:lnTo>
                  <a:lnTo>
                    <a:pt x="4360" y="3516"/>
                  </a:lnTo>
                  <a:lnTo>
                    <a:pt x="4360" y="3584"/>
                  </a:lnTo>
                  <a:lnTo>
                    <a:pt x="4531" y="3721"/>
                  </a:lnTo>
                  <a:lnTo>
                    <a:pt x="4634" y="3778"/>
                  </a:lnTo>
                  <a:lnTo>
                    <a:pt x="4736" y="3790"/>
                  </a:lnTo>
                  <a:lnTo>
                    <a:pt x="4793" y="3812"/>
                  </a:lnTo>
                  <a:lnTo>
                    <a:pt x="4862" y="3801"/>
                  </a:lnTo>
                  <a:lnTo>
                    <a:pt x="4930" y="3835"/>
                  </a:lnTo>
                  <a:lnTo>
                    <a:pt x="4987" y="3812"/>
                  </a:lnTo>
                  <a:lnTo>
                    <a:pt x="4930" y="3778"/>
                  </a:lnTo>
                  <a:lnTo>
                    <a:pt x="4930" y="3721"/>
                  </a:lnTo>
                  <a:lnTo>
                    <a:pt x="4862" y="3538"/>
                  </a:lnTo>
                  <a:lnTo>
                    <a:pt x="4816" y="3493"/>
                  </a:lnTo>
                  <a:lnTo>
                    <a:pt x="4748" y="3504"/>
                  </a:lnTo>
                  <a:lnTo>
                    <a:pt x="4679" y="3481"/>
                  </a:lnTo>
                  <a:lnTo>
                    <a:pt x="4622" y="3481"/>
                  </a:lnTo>
                  <a:close/>
                  <a:moveTo>
                    <a:pt x="4462" y="2740"/>
                  </a:moveTo>
                  <a:lnTo>
                    <a:pt x="4371" y="2500"/>
                  </a:lnTo>
                  <a:lnTo>
                    <a:pt x="4348" y="2489"/>
                  </a:lnTo>
                  <a:lnTo>
                    <a:pt x="4360" y="2580"/>
                  </a:lnTo>
                  <a:lnTo>
                    <a:pt x="4371" y="2637"/>
                  </a:lnTo>
                  <a:lnTo>
                    <a:pt x="4360" y="2705"/>
                  </a:lnTo>
                  <a:lnTo>
                    <a:pt x="4348" y="2785"/>
                  </a:lnTo>
                  <a:lnTo>
                    <a:pt x="4371" y="2819"/>
                  </a:lnTo>
                  <a:lnTo>
                    <a:pt x="4405" y="2785"/>
                  </a:lnTo>
                  <a:lnTo>
                    <a:pt x="4462" y="2865"/>
                  </a:lnTo>
                  <a:lnTo>
                    <a:pt x="4462" y="2831"/>
                  </a:lnTo>
                  <a:close/>
                  <a:moveTo>
                    <a:pt x="3059" y="2420"/>
                  </a:moveTo>
                  <a:lnTo>
                    <a:pt x="3024" y="2409"/>
                  </a:lnTo>
                  <a:lnTo>
                    <a:pt x="2956" y="2443"/>
                  </a:lnTo>
                  <a:lnTo>
                    <a:pt x="2945" y="2489"/>
                  </a:lnTo>
                  <a:lnTo>
                    <a:pt x="2933" y="2591"/>
                  </a:lnTo>
                  <a:lnTo>
                    <a:pt x="2933" y="2648"/>
                  </a:lnTo>
                  <a:lnTo>
                    <a:pt x="2979" y="2751"/>
                  </a:lnTo>
                  <a:lnTo>
                    <a:pt x="3024" y="2819"/>
                  </a:lnTo>
                  <a:lnTo>
                    <a:pt x="3059" y="2865"/>
                  </a:lnTo>
                  <a:lnTo>
                    <a:pt x="3093" y="2888"/>
                  </a:lnTo>
                  <a:lnTo>
                    <a:pt x="3218" y="2899"/>
                  </a:lnTo>
                  <a:lnTo>
                    <a:pt x="3458" y="2922"/>
                  </a:lnTo>
                  <a:lnTo>
                    <a:pt x="3595" y="2979"/>
                  </a:lnTo>
                  <a:lnTo>
                    <a:pt x="3721" y="3002"/>
                  </a:lnTo>
                  <a:lnTo>
                    <a:pt x="3778" y="2991"/>
                  </a:lnTo>
                  <a:lnTo>
                    <a:pt x="3846" y="2956"/>
                  </a:lnTo>
                  <a:lnTo>
                    <a:pt x="3858" y="2945"/>
                  </a:lnTo>
                  <a:lnTo>
                    <a:pt x="3846" y="2865"/>
                  </a:lnTo>
                  <a:lnTo>
                    <a:pt x="3823" y="2819"/>
                  </a:lnTo>
                  <a:lnTo>
                    <a:pt x="3766" y="2785"/>
                  </a:lnTo>
                  <a:lnTo>
                    <a:pt x="3732" y="2705"/>
                  </a:lnTo>
                  <a:lnTo>
                    <a:pt x="3664" y="2648"/>
                  </a:lnTo>
                  <a:lnTo>
                    <a:pt x="3538" y="2546"/>
                  </a:lnTo>
                  <a:lnTo>
                    <a:pt x="3310" y="2546"/>
                  </a:lnTo>
                  <a:lnTo>
                    <a:pt x="3218" y="2557"/>
                  </a:lnTo>
                  <a:close/>
                  <a:moveTo>
                    <a:pt x="3435" y="2169"/>
                  </a:moveTo>
                  <a:lnTo>
                    <a:pt x="3355" y="2192"/>
                  </a:lnTo>
                  <a:lnTo>
                    <a:pt x="3355" y="2237"/>
                  </a:lnTo>
                  <a:lnTo>
                    <a:pt x="3424" y="2249"/>
                  </a:lnTo>
                  <a:lnTo>
                    <a:pt x="3481" y="2283"/>
                  </a:lnTo>
                  <a:lnTo>
                    <a:pt x="3492" y="2317"/>
                  </a:lnTo>
                  <a:lnTo>
                    <a:pt x="3492" y="2317"/>
                  </a:lnTo>
                  <a:lnTo>
                    <a:pt x="3515" y="2306"/>
                  </a:lnTo>
                  <a:lnTo>
                    <a:pt x="3572" y="2340"/>
                  </a:lnTo>
                  <a:lnTo>
                    <a:pt x="3606" y="2295"/>
                  </a:lnTo>
                  <a:lnTo>
                    <a:pt x="3549" y="2226"/>
                  </a:lnTo>
                  <a:lnTo>
                    <a:pt x="3492" y="2180"/>
                  </a:lnTo>
                  <a:lnTo>
                    <a:pt x="3481" y="2180"/>
                  </a:lnTo>
                  <a:close/>
                  <a:moveTo>
                    <a:pt x="2636" y="2272"/>
                  </a:moveTo>
                  <a:lnTo>
                    <a:pt x="2671" y="2249"/>
                  </a:lnTo>
                  <a:lnTo>
                    <a:pt x="2671" y="2192"/>
                  </a:lnTo>
                  <a:lnTo>
                    <a:pt x="2636" y="2192"/>
                  </a:lnTo>
                  <a:lnTo>
                    <a:pt x="2625" y="2158"/>
                  </a:lnTo>
                  <a:lnTo>
                    <a:pt x="2591" y="2158"/>
                  </a:lnTo>
                  <a:lnTo>
                    <a:pt x="2545" y="2192"/>
                  </a:lnTo>
                  <a:lnTo>
                    <a:pt x="2522" y="2237"/>
                  </a:lnTo>
                  <a:lnTo>
                    <a:pt x="2534" y="2260"/>
                  </a:lnTo>
                  <a:lnTo>
                    <a:pt x="2591" y="2260"/>
                  </a:lnTo>
                  <a:lnTo>
                    <a:pt x="2625" y="2272"/>
                  </a:lnTo>
                  <a:close/>
                  <a:moveTo>
                    <a:pt x="1438" y="1952"/>
                  </a:moveTo>
                  <a:lnTo>
                    <a:pt x="1427" y="1918"/>
                  </a:lnTo>
                  <a:lnTo>
                    <a:pt x="1381" y="1895"/>
                  </a:lnTo>
                  <a:lnTo>
                    <a:pt x="1347" y="1895"/>
                  </a:lnTo>
                  <a:lnTo>
                    <a:pt x="1278" y="1907"/>
                  </a:lnTo>
                  <a:lnTo>
                    <a:pt x="1290" y="1918"/>
                  </a:lnTo>
                  <a:lnTo>
                    <a:pt x="1381" y="1964"/>
                  </a:lnTo>
                  <a:lnTo>
                    <a:pt x="1415" y="1975"/>
                  </a:lnTo>
                  <a:close/>
                  <a:moveTo>
                    <a:pt x="1872" y="2009"/>
                  </a:moveTo>
                  <a:lnTo>
                    <a:pt x="1917" y="1975"/>
                  </a:lnTo>
                  <a:lnTo>
                    <a:pt x="1906" y="1952"/>
                  </a:lnTo>
                  <a:lnTo>
                    <a:pt x="1895" y="1872"/>
                  </a:lnTo>
                  <a:lnTo>
                    <a:pt x="1838" y="1975"/>
                  </a:lnTo>
                  <a:lnTo>
                    <a:pt x="1849" y="2009"/>
                  </a:lnTo>
                  <a:close/>
                  <a:moveTo>
                    <a:pt x="1803" y="1884"/>
                  </a:moveTo>
                  <a:lnTo>
                    <a:pt x="1803" y="1849"/>
                  </a:lnTo>
                  <a:lnTo>
                    <a:pt x="1803" y="1815"/>
                  </a:lnTo>
                  <a:lnTo>
                    <a:pt x="1780" y="1804"/>
                  </a:lnTo>
                  <a:lnTo>
                    <a:pt x="1838" y="1758"/>
                  </a:lnTo>
                  <a:lnTo>
                    <a:pt x="1815" y="1747"/>
                  </a:lnTo>
                  <a:lnTo>
                    <a:pt x="1735" y="1724"/>
                  </a:lnTo>
                  <a:lnTo>
                    <a:pt x="1712" y="1747"/>
                  </a:lnTo>
                  <a:lnTo>
                    <a:pt x="1678" y="1758"/>
                  </a:lnTo>
                  <a:lnTo>
                    <a:pt x="1666" y="1781"/>
                  </a:lnTo>
                  <a:lnTo>
                    <a:pt x="1655" y="1792"/>
                  </a:lnTo>
                  <a:lnTo>
                    <a:pt x="1632" y="1861"/>
                  </a:lnTo>
                  <a:lnTo>
                    <a:pt x="1666" y="1918"/>
                  </a:lnTo>
                  <a:lnTo>
                    <a:pt x="1723" y="1952"/>
                  </a:lnTo>
                  <a:close/>
                  <a:moveTo>
                    <a:pt x="1233" y="1907"/>
                  </a:moveTo>
                  <a:lnTo>
                    <a:pt x="1187" y="1849"/>
                  </a:lnTo>
                  <a:lnTo>
                    <a:pt x="1210" y="1781"/>
                  </a:lnTo>
                  <a:lnTo>
                    <a:pt x="1233" y="1770"/>
                  </a:lnTo>
                  <a:lnTo>
                    <a:pt x="1267" y="1690"/>
                  </a:lnTo>
                  <a:lnTo>
                    <a:pt x="1244" y="1633"/>
                  </a:lnTo>
                  <a:lnTo>
                    <a:pt x="1221" y="1655"/>
                  </a:lnTo>
                  <a:lnTo>
                    <a:pt x="1119" y="1735"/>
                  </a:lnTo>
                  <a:lnTo>
                    <a:pt x="1107" y="1781"/>
                  </a:lnTo>
                  <a:lnTo>
                    <a:pt x="1187" y="1895"/>
                  </a:lnTo>
                  <a:lnTo>
                    <a:pt x="1233" y="1918"/>
                  </a:lnTo>
                  <a:close/>
                  <a:moveTo>
                    <a:pt x="3093" y="1724"/>
                  </a:moveTo>
                  <a:lnTo>
                    <a:pt x="3059" y="1667"/>
                  </a:lnTo>
                  <a:lnTo>
                    <a:pt x="3059" y="1633"/>
                  </a:lnTo>
                  <a:lnTo>
                    <a:pt x="3013" y="1610"/>
                  </a:lnTo>
                  <a:lnTo>
                    <a:pt x="2990" y="1621"/>
                  </a:lnTo>
                  <a:lnTo>
                    <a:pt x="2979" y="1667"/>
                  </a:lnTo>
                  <a:lnTo>
                    <a:pt x="2990" y="1690"/>
                  </a:lnTo>
                  <a:lnTo>
                    <a:pt x="3047" y="1735"/>
                  </a:lnTo>
                  <a:close/>
                  <a:moveTo>
                    <a:pt x="3949" y="1553"/>
                  </a:moveTo>
                  <a:lnTo>
                    <a:pt x="3915" y="1553"/>
                  </a:lnTo>
                  <a:lnTo>
                    <a:pt x="3903" y="1564"/>
                  </a:lnTo>
                  <a:lnTo>
                    <a:pt x="3869" y="1564"/>
                  </a:lnTo>
                  <a:lnTo>
                    <a:pt x="3835" y="1564"/>
                  </a:lnTo>
                  <a:lnTo>
                    <a:pt x="3812" y="1598"/>
                  </a:lnTo>
                  <a:lnTo>
                    <a:pt x="3903" y="1747"/>
                  </a:lnTo>
                  <a:lnTo>
                    <a:pt x="3858" y="1827"/>
                  </a:lnTo>
                  <a:lnTo>
                    <a:pt x="3915" y="2135"/>
                  </a:lnTo>
                  <a:lnTo>
                    <a:pt x="3972" y="2306"/>
                  </a:lnTo>
                  <a:lnTo>
                    <a:pt x="4086" y="2420"/>
                  </a:lnTo>
                  <a:lnTo>
                    <a:pt x="4086" y="2454"/>
                  </a:lnTo>
                  <a:lnTo>
                    <a:pt x="4200" y="2523"/>
                  </a:lnTo>
                  <a:lnTo>
                    <a:pt x="4291" y="2705"/>
                  </a:lnTo>
                  <a:lnTo>
                    <a:pt x="4314" y="2717"/>
                  </a:lnTo>
                  <a:lnTo>
                    <a:pt x="4325" y="2694"/>
                  </a:lnTo>
                  <a:lnTo>
                    <a:pt x="4325" y="2603"/>
                  </a:lnTo>
                  <a:lnTo>
                    <a:pt x="4257" y="2454"/>
                  </a:lnTo>
                  <a:lnTo>
                    <a:pt x="4268" y="2340"/>
                  </a:lnTo>
                  <a:lnTo>
                    <a:pt x="4246" y="2295"/>
                  </a:lnTo>
                  <a:lnTo>
                    <a:pt x="4246" y="2249"/>
                  </a:lnTo>
                  <a:lnTo>
                    <a:pt x="4211" y="2135"/>
                  </a:lnTo>
                  <a:lnTo>
                    <a:pt x="4131" y="2032"/>
                  </a:lnTo>
                  <a:lnTo>
                    <a:pt x="4086" y="2021"/>
                  </a:lnTo>
                  <a:lnTo>
                    <a:pt x="4063" y="1975"/>
                  </a:lnTo>
                  <a:lnTo>
                    <a:pt x="4086" y="1895"/>
                  </a:lnTo>
                  <a:lnTo>
                    <a:pt x="4120" y="1861"/>
                  </a:lnTo>
                  <a:lnTo>
                    <a:pt x="4131" y="1827"/>
                  </a:lnTo>
                  <a:close/>
                  <a:moveTo>
                    <a:pt x="1575" y="1484"/>
                  </a:moveTo>
                  <a:lnTo>
                    <a:pt x="1495" y="1450"/>
                  </a:lnTo>
                  <a:lnTo>
                    <a:pt x="1461" y="1404"/>
                  </a:lnTo>
                  <a:lnTo>
                    <a:pt x="1461" y="1267"/>
                  </a:lnTo>
                  <a:lnTo>
                    <a:pt x="1381" y="1222"/>
                  </a:lnTo>
                  <a:lnTo>
                    <a:pt x="1335" y="1256"/>
                  </a:lnTo>
                  <a:lnTo>
                    <a:pt x="1256" y="1347"/>
                  </a:lnTo>
                  <a:lnTo>
                    <a:pt x="1221" y="1404"/>
                  </a:lnTo>
                  <a:lnTo>
                    <a:pt x="1153" y="1450"/>
                  </a:lnTo>
                  <a:lnTo>
                    <a:pt x="1141" y="1496"/>
                  </a:lnTo>
                  <a:lnTo>
                    <a:pt x="1141" y="1553"/>
                  </a:lnTo>
                  <a:lnTo>
                    <a:pt x="1198" y="1564"/>
                  </a:lnTo>
                  <a:lnTo>
                    <a:pt x="1233" y="1507"/>
                  </a:lnTo>
                  <a:lnTo>
                    <a:pt x="1370" y="1496"/>
                  </a:lnTo>
                  <a:lnTo>
                    <a:pt x="1404" y="1507"/>
                  </a:lnTo>
                  <a:lnTo>
                    <a:pt x="1404" y="1564"/>
                  </a:lnTo>
                  <a:lnTo>
                    <a:pt x="1427" y="1667"/>
                  </a:lnTo>
                  <a:lnTo>
                    <a:pt x="1461" y="1713"/>
                  </a:lnTo>
                  <a:lnTo>
                    <a:pt x="1541" y="1735"/>
                  </a:lnTo>
                  <a:lnTo>
                    <a:pt x="1598" y="1827"/>
                  </a:lnTo>
                  <a:lnTo>
                    <a:pt x="1609" y="1781"/>
                  </a:lnTo>
                  <a:lnTo>
                    <a:pt x="1632" y="1781"/>
                  </a:lnTo>
                  <a:lnTo>
                    <a:pt x="1666" y="1724"/>
                  </a:lnTo>
                  <a:lnTo>
                    <a:pt x="1621" y="1553"/>
                  </a:lnTo>
                  <a:close/>
                  <a:moveTo>
                    <a:pt x="651" y="1427"/>
                  </a:moveTo>
                  <a:lnTo>
                    <a:pt x="662" y="1347"/>
                  </a:lnTo>
                  <a:lnTo>
                    <a:pt x="651" y="1222"/>
                  </a:lnTo>
                  <a:lnTo>
                    <a:pt x="616" y="1233"/>
                  </a:lnTo>
                  <a:lnTo>
                    <a:pt x="616" y="1267"/>
                  </a:lnTo>
                  <a:lnTo>
                    <a:pt x="605" y="1324"/>
                  </a:lnTo>
                  <a:lnTo>
                    <a:pt x="639" y="1439"/>
                  </a:lnTo>
                  <a:close/>
                  <a:moveTo>
                    <a:pt x="1107" y="1370"/>
                  </a:moveTo>
                  <a:lnTo>
                    <a:pt x="1141" y="1336"/>
                  </a:lnTo>
                  <a:lnTo>
                    <a:pt x="1141" y="1279"/>
                  </a:lnTo>
                  <a:lnTo>
                    <a:pt x="1141" y="1210"/>
                  </a:lnTo>
                  <a:lnTo>
                    <a:pt x="1107" y="1153"/>
                  </a:lnTo>
                  <a:lnTo>
                    <a:pt x="1073" y="1119"/>
                  </a:lnTo>
                  <a:lnTo>
                    <a:pt x="1004" y="1142"/>
                  </a:lnTo>
                  <a:lnTo>
                    <a:pt x="947" y="1210"/>
                  </a:lnTo>
                  <a:lnTo>
                    <a:pt x="947" y="1279"/>
                  </a:lnTo>
                  <a:lnTo>
                    <a:pt x="1004" y="1370"/>
                  </a:lnTo>
                  <a:lnTo>
                    <a:pt x="1096" y="1370"/>
                  </a:lnTo>
                  <a:close/>
                  <a:moveTo>
                    <a:pt x="742" y="1199"/>
                  </a:moveTo>
                  <a:lnTo>
                    <a:pt x="765" y="1153"/>
                  </a:lnTo>
                  <a:lnTo>
                    <a:pt x="833" y="1051"/>
                  </a:lnTo>
                  <a:lnTo>
                    <a:pt x="856" y="1005"/>
                  </a:lnTo>
                  <a:lnTo>
                    <a:pt x="776" y="982"/>
                  </a:lnTo>
                  <a:lnTo>
                    <a:pt x="719" y="914"/>
                  </a:lnTo>
                  <a:lnTo>
                    <a:pt x="662" y="879"/>
                  </a:lnTo>
                  <a:lnTo>
                    <a:pt x="616" y="936"/>
                  </a:lnTo>
                  <a:lnTo>
                    <a:pt x="616" y="994"/>
                  </a:lnTo>
                  <a:lnTo>
                    <a:pt x="696" y="1073"/>
                  </a:lnTo>
                  <a:lnTo>
                    <a:pt x="674" y="1130"/>
                  </a:lnTo>
                  <a:lnTo>
                    <a:pt x="708" y="1153"/>
                  </a:lnTo>
                  <a:lnTo>
                    <a:pt x="719" y="1210"/>
                  </a:lnTo>
                  <a:close/>
                  <a:moveTo>
                    <a:pt x="3230" y="1747"/>
                  </a:moveTo>
                  <a:lnTo>
                    <a:pt x="3218" y="1678"/>
                  </a:lnTo>
                  <a:lnTo>
                    <a:pt x="3173" y="1621"/>
                  </a:lnTo>
                  <a:lnTo>
                    <a:pt x="3230" y="1553"/>
                  </a:lnTo>
                  <a:lnTo>
                    <a:pt x="2922" y="1279"/>
                  </a:lnTo>
                  <a:lnTo>
                    <a:pt x="2876" y="1256"/>
                  </a:lnTo>
                  <a:lnTo>
                    <a:pt x="2819" y="1233"/>
                  </a:lnTo>
                  <a:lnTo>
                    <a:pt x="2751" y="1176"/>
                  </a:lnTo>
                  <a:lnTo>
                    <a:pt x="2682" y="1165"/>
                  </a:lnTo>
                  <a:lnTo>
                    <a:pt x="2602" y="1108"/>
                  </a:lnTo>
                  <a:lnTo>
                    <a:pt x="2579" y="1062"/>
                  </a:lnTo>
                  <a:lnTo>
                    <a:pt x="2488" y="1005"/>
                  </a:lnTo>
                  <a:lnTo>
                    <a:pt x="2408" y="891"/>
                  </a:lnTo>
                  <a:lnTo>
                    <a:pt x="2191" y="857"/>
                  </a:lnTo>
                  <a:lnTo>
                    <a:pt x="2203" y="879"/>
                  </a:lnTo>
                  <a:lnTo>
                    <a:pt x="2260" y="936"/>
                  </a:lnTo>
                  <a:lnTo>
                    <a:pt x="2283" y="1039"/>
                  </a:lnTo>
                  <a:lnTo>
                    <a:pt x="2351" y="1096"/>
                  </a:lnTo>
                  <a:lnTo>
                    <a:pt x="2420" y="1176"/>
                  </a:lnTo>
                  <a:lnTo>
                    <a:pt x="2454" y="1199"/>
                  </a:lnTo>
                  <a:lnTo>
                    <a:pt x="2477" y="1222"/>
                  </a:lnTo>
                  <a:lnTo>
                    <a:pt x="2534" y="1290"/>
                  </a:lnTo>
                  <a:lnTo>
                    <a:pt x="2648" y="1347"/>
                  </a:lnTo>
                  <a:lnTo>
                    <a:pt x="2762" y="1439"/>
                  </a:lnTo>
                  <a:lnTo>
                    <a:pt x="2808" y="1450"/>
                  </a:lnTo>
                  <a:lnTo>
                    <a:pt x="2853" y="1496"/>
                  </a:lnTo>
                  <a:lnTo>
                    <a:pt x="3059" y="1598"/>
                  </a:lnTo>
                  <a:lnTo>
                    <a:pt x="3139" y="1690"/>
                  </a:lnTo>
                  <a:lnTo>
                    <a:pt x="3230" y="1770"/>
                  </a:lnTo>
                  <a:close/>
                  <a:moveTo>
                    <a:pt x="126" y="434"/>
                  </a:moveTo>
                  <a:lnTo>
                    <a:pt x="149" y="400"/>
                  </a:lnTo>
                  <a:lnTo>
                    <a:pt x="57" y="320"/>
                  </a:lnTo>
                  <a:lnTo>
                    <a:pt x="23" y="366"/>
                  </a:lnTo>
                  <a:lnTo>
                    <a:pt x="0" y="434"/>
                  </a:lnTo>
                  <a:lnTo>
                    <a:pt x="57" y="469"/>
                  </a:lnTo>
                  <a:close/>
                  <a:moveTo>
                    <a:pt x="1427" y="651"/>
                  </a:moveTo>
                  <a:lnTo>
                    <a:pt x="1404" y="640"/>
                  </a:lnTo>
                  <a:lnTo>
                    <a:pt x="1370" y="640"/>
                  </a:lnTo>
                  <a:lnTo>
                    <a:pt x="1313" y="606"/>
                  </a:lnTo>
                  <a:lnTo>
                    <a:pt x="1210" y="491"/>
                  </a:lnTo>
                  <a:lnTo>
                    <a:pt x="1176" y="457"/>
                  </a:lnTo>
                  <a:lnTo>
                    <a:pt x="1153" y="309"/>
                  </a:lnTo>
                  <a:lnTo>
                    <a:pt x="1096" y="252"/>
                  </a:lnTo>
                  <a:lnTo>
                    <a:pt x="890" y="138"/>
                  </a:lnTo>
                  <a:lnTo>
                    <a:pt x="776" y="23"/>
                  </a:lnTo>
                  <a:lnTo>
                    <a:pt x="674" y="1"/>
                  </a:lnTo>
                  <a:lnTo>
                    <a:pt x="651" y="23"/>
                  </a:lnTo>
                  <a:lnTo>
                    <a:pt x="651" y="92"/>
                  </a:lnTo>
                  <a:lnTo>
                    <a:pt x="674" y="138"/>
                  </a:lnTo>
                  <a:lnTo>
                    <a:pt x="822" y="263"/>
                  </a:lnTo>
                  <a:lnTo>
                    <a:pt x="982" y="514"/>
                  </a:lnTo>
                  <a:lnTo>
                    <a:pt x="1119" y="651"/>
                  </a:lnTo>
                  <a:lnTo>
                    <a:pt x="1233" y="663"/>
                  </a:lnTo>
                  <a:lnTo>
                    <a:pt x="1290" y="663"/>
                  </a:lnTo>
                  <a:lnTo>
                    <a:pt x="1290" y="685"/>
                  </a:lnTo>
                  <a:lnTo>
                    <a:pt x="1301" y="708"/>
                  </a:lnTo>
                  <a:lnTo>
                    <a:pt x="1381" y="742"/>
                  </a:lnTo>
                  <a:lnTo>
                    <a:pt x="1450" y="68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30" name="Google Shape;401;p29">
              <a:extLst>
                <a:ext uri="{FF2B5EF4-FFF2-40B4-BE49-F238E27FC236}">
                  <a16:creationId xmlns:a16="http://schemas.microsoft.com/office/drawing/2014/main" id="{ABBED679-5743-4C4D-8E1B-833F167DED9A}"/>
                </a:ext>
              </a:extLst>
            </p:cNvPr>
            <p:cNvSpPr/>
            <p:nvPr/>
          </p:nvSpPr>
          <p:spPr>
            <a:xfrm>
              <a:off x="3851225" y="3073600"/>
              <a:ext cx="19700" cy="37675"/>
            </a:xfrm>
            <a:custGeom>
              <a:avLst/>
              <a:gdLst/>
              <a:ahLst/>
              <a:cxnLst/>
              <a:rect l="l" t="t" r="r" b="b"/>
              <a:pathLst>
                <a:path w="788" h="1507" extrusionOk="0">
                  <a:moveTo>
                    <a:pt x="137" y="1438"/>
                  </a:moveTo>
                  <a:lnTo>
                    <a:pt x="217" y="1324"/>
                  </a:lnTo>
                  <a:lnTo>
                    <a:pt x="217" y="1244"/>
                  </a:lnTo>
                  <a:lnTo>
                    <a:pt x="171" y="1176"/>
                  </a:lnTo>
                  <a:lnTo>
                    <a:pt x="114" y="1176"/>
                  </a:lnTo>
                  <a:lnTo>
                    <a:pt x="46" y="1233"/>
                  </a:lnTo>
                  <a:lnTo>
                    <a:pt x="0" y="1290"/>
                  </a:lnTo>
                  <a:lnTo>
                    <a:pt x="0" y="1335"/>
                  </a:lnTo>
                  <a:lnTo>
                    <a:pt x="11" y="1438"/>
                  </a:lnTo>
                  <a:lnTo>
                    <a:pt x="23" y="1472"/>
                  </a:lnTo>
                  <a:lnTo>
                    <a:pt x="69" y="1507"/>
                  </a:lnTo>
                  <a:close/>
                  <a:moveTo>
                    <a:pt x="753" y="114"/>
                  </a:moveTo>
                  <a:lnTo>
                    <a:pt x="788" y="57"/>
                  </a:lnTo>
                  <a:lnTo>
                    <a:pt x="788" y="34"/>
                  </a:lnTo>
                  <a:lnTo>
                    <a:pt x="765" y="23"/>
                  </a:lnTo>
                  <a:lnTo>
                    <a:pt x="753" y="0"/>
                  </a:lnTo>
                  <a:lnTo>
                    <a:pt x="730" y="23"/>
                  </a:lnTo>
                  <a:lnTo>
                    <a:pt x="685" y="92"/>
                  </a:lnTo>
                  <a:lnTo>
                    <a:pt x="696" y="114"/>
                  </a:lnTo>
                  <a:lnTo>
                    <a:pt x="730" y="149"/>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31" name="Google Shape;402;p29">
              <a:extLst>
                <a:ext uri="{FF2B5EF4-FFF2-40B4-BE49-F238E27FC236}">
                  <a16:creationId xmlns:a16="http://schemas.microsoft.com/office/drawing/2014/main" id="{233CE620-B1E4-4F64-A9C9-50FA5E064C46}"/>
                </a:ext>
              </a:extLst>
            </p:cNvPr>
            <p:cNvSpPr/>
            <p:nvPr/>
          </p:nvSpPr>
          <p:spPr>
            <a:xfrm>
              <a:off x="2474625" y="2702125"/>
              <a:ext cx="2025" cy="1175"/>
            </a:xfrm>
            <a:custGeom>
              <a:avLst/>
              <a:gdLst/>
              <a:ahLst/>
              <a:cxnLst/>
              <a:rect l="l" t="t" r="r" b="b"/>
              <a:pathLst>
                <a:path w="81" h="47" extrusionOk="0">
                  <a:moveTo>
                    <a:pt x="0" y="1"/>
                  </a:moveTo>
                  <a:lnTo>
                    <a:pt x="0" y="1"/>
                  </a:lnTo>
                  <a:lnTo>
                    <a:pt x="23" y="35"/>
                  </a:lnTo>
                  <a:lnTo>
                    <a:pt x="69" y="46"/>
                  </a:lnTo>
                  <a:lnTo>
                    <a:pt x="80" y="35"/>
                  </a:lnTo>
                  <a:lnTo>
                    <a:pt x="80" y="1"/>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32" name="Google Shape;403;p29">
              <a:extLst>
                <a:ext uri="{FF2B5EF4-FFF2-40B4-BE49-F238E27FC236}">
                  <a16:creationId xmlns:a16="http://schemas.microsoft.com/office/drawing/2014/main" id="{0A2A8515-F2BE-45B5-A596-E5EF6C92080A}"/>
                </a:ext>
              </a:extLst>
            </p:cNvPr>
            <p:cNvSpPr/>
            <p:nvPr/>
          </p:nvSpPr>
          <p:spPr>
            <a:xfrm>
              <a:off x="4830100" y="3215675"/>
              <a:ext cx="3150" cy="5150"/>
            </a:xfrm>
            <a:custGeom>
              <a:avLst/>
              <a:gdLst/>
              <a:ahLst/>
              <a:cxnLst/>
              <a:rect l="l" t="t" r="r" b="b"/>
              <a:pathLst>
                <a:path w="126" h="206" extrusionOk="0">
                  <a:moveTo>
                    <a:pt x="126" y="115"/>
                  </a:moveTo>
                  <a:lnTo>
                    <a:pt x="57" y="0"/>
                  </a:lnTo>
                  <a:lnTo>
                    <a:pt x="0" y="46"/>
                  </a:lnTo>
                  <a:lnTo>
                    <a:pt x="35" y="80"/>
                  </a:lnTo>
                  <a:lnTo>
                    <a:pt x="69" y="115"/>
                  </a:lnTo>
                  <a:lnTo>
                    <a:pt x="80" y="172"/>
                  </a:lnTo>
                  <a:lnTo>
                    <a:pt x="126" y="206"/>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33" name="Google Shape;404;p29">
              <a:extLst>
                <a:ext uri="{FF2B5EF4-FFF2-40B4-BE49-F238E27FC236}">
                  <a16:creationId xmlns:a16="http://schemas.microsoft.com/office/drawing/2014/main" id="{DA224D80-3B70-4FA9-A682-664E2A22B0D0}"/>
                </a:ext>
              </a:extLst>
            </p:cNvPr>
            <p:cNvSpPr/>
            <p:nvPr/>
          </p:nvSpPr>
          <p:spPr>
            <a:xfrm>
              <a:off x="2301725" y="2613975"/>
              <a:ext cx="13725" cy="4875"/>
            </a:xfrm>
            <a:custGeom>
              <a:avLst/>
              <a:gdLst/>
              <a:ahLst/>
              <a:cxnLst/>
              <a:rect l="l" t="t" r="r" b="b"/>
              <a:pathLst>
                <a:path w="549" h="195" extrusionOk="0">
                  <a:moveTo>
                    <a:pt x="12" y="92"/>
                  </a:moveTo>
                  <a:lnTo>
                    <a:pt x="0" y="149"/>
                  </a:lnTo>
                  <a:lnTo>
                    <a:pt x="0" y="171"/>
                  </a:lnTo>
                  <a:lnTo>
                    <a:pt x="23" y="194"/>
                  </a:lnTo>
                  <a:lnTo>
                    <a:pt x="115" y="171"/>
                  </a:lnTo>
                  <a:lnTo>
                    <a:pt x="126" y="160"/>
                  </a:lnTo>
                  <a:lnTo>
                    <a:pt x="149" y="149"/>
                  </a:lnTo>
                  <a:lnTo>
                    <a:pt x="149" y="126"/>
                  </a:lnTo>
                  <a:lnTo>
                    <a:pt x="92" y="149"/>
                  </a:lnTo>
                  <a:close/>
                  <a:moveTo>
                    <a:pt x="525" y="171"/>
                  </a:moveTo>
                  <a:lnTo>
                    <a:pt x="548" y="149"/>
                  </a:lnTo>
                  <a:lnTo>
                    <a:pt x="525" y="114"/>
                  </a:lnTo>
                  <a:lnTo>
                    <a:pt x="423" y="92"/>
                  </a:lnTo>
                  <a:lnTo>
                    <a:pt x="400" y="103"/>
                  </a:lnTo>
                  <a:lnTo>
                    <a:pt x="400" y="149"/>
                  </a:lnTo>
                  <a:lnTo>
                    <a:pt x="480" y="149"/>
                  </a:lnTo>
                  <a:lnTo>
                    <a:pt x="525" y="194"/>
                  </a:lnTo>
                  <a:close/>
                  <a:moveTo>
                    <a:pt x="366" y="103"/>
                  </a:moveTo>
                  <a:lnTo>
                    <a:pt x="354" y="92"/>
                  </a:lnTo>
                  <a:lnTo>
                    <a:pt x="343" y="0"/>
                  </a:lnTo>
                  <a:lnTo>
                    <a:pt x="263" y="0"/>
                  </a:lnTo>
                  <a:lnTo>
                    <a:pt x="263" y="34"/>
                  </a:lnTo>
                  <a:lnTo>
                    <a:pt x="286" y="57"/>
                  </a:lnTo>
                  <a:lnTo>
                    <a:pt x="297" y="57"/>
                  </a:lnTo>
                  <a:lnTo>
                    <a:pt x="309" y="92"/>
                  </a:lnTo>
                  <a:lnTo>
                    <a:pt x="354" y="11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34" name="Google Shape;405;p29">
              <a:extLst>
                <a:ext uri="{FF2B5EF4-FFF2-40B4-BE49-F238E27FC236}">
                  <a16:creationId xmlns:a16="http://schemas.microsoft.com/office/drawing/2014/main" id="{F3D0A6B9-AFE3-4AB2-8053-D90B45412428}"/>
                </a:ext>
              </a:extLst>
            </p:cNvPr>
            <p:cNvSpPr/>
            <p:nvPr/>
          </p:nvSpPr>
          <p:spPr>
            <a:xfrm>
              <a:off x="275475" y="3533500"/>
              <a:ext cx="13725" cy="65375"/>
            </a:xfrm>
            <a:custGeom>
              <a:avLst/>
              <a:gdLst/>
              <a:ahLst/>
              <a:cxnLst/>
              <a:rect l="l" t="t" r="r" b="b"/>
              <a:pathLst>
                <a:path w="549" h="2615" extrusionOk="0">
                  <a:moveTo>
                    <a:pt x="400" y="2477"/>
                  </a:moveTo>
                  <a:lnTo>
                    <a:pt x="400" y="2477"/>
                  </a:lnTo>
                  <a:lnTo>
                    <a:pt x="378" y="2523"/>
                  </a:lnTo>
                  <a:lnTo>
                    <a:pt x="378" y="2557"/>
                  </a:lnTo>
                  <a:lnTo>
                    <a:pt x="435" y="2614"/>
                  </a:lnTo>
                  <a:close/>
                  <a:moveTo>
                    <a:pt x="172" y="2352"/>
                  </a:moveTo>
                  <a:lnTo>
                    <a:pt x="149" y="2352"/>
                  </a:lnTo>
                  <a:lnTo>
                    <a:pt x="172" y="2340"/>
                  </a:lnTo>
                  <a:lnTo>
                    <a:pt x="115" y="2306"/>
                  </a:lnTo>
                  <a:lnTo>
                    <a:pt x="58" y="2306"/>
                  </a:lnTo>
                  <a:lnTo>
                    <a:pt x="35" y="2294"/>
                  </a:lnTo>
                  <a:lnTo>
                    <a:pt x="35" y="2272"/>
                  </a:lnTo>
                  <a:lnTo>
                    <a:pt x="1" y="2306"/>
                  </a:lnTo>
                  <a:lnTo>
                    <a:pt x="35" y="2352"/>
                  </a:lnTo>
                  <a:lnTo>
                    <a:pt x="161" y="2409"/>
                  </a:lnTo>
                  <a:lnTo>
                    <a:pt x="206" y="2431"/>
                  </a:lnTo>
                  <a:lnTo>
                    <a:pt x="229" y="2352"/>
                  </a:lnTo>
                  <a:lnTo>
                    <a:pt x="229" y="2317"/>
                  </a:lnTo>
                  <a:lnTo>
                    <a:pt x="195" y="2340"/>
                  </a:lnTo>
                  <a:lnTo>
                    <a:pt x="195" y="2352"/>
                  </a:lnTo>
                  <a:close/>
                  <a:moveTo>
                    <a:pt x="537" y="69"/>
                  </a:moveTo>
                  <a:lnTo>
                    <a:pt x="549" y="46"/>
                  </a:lnTo>
                  <a:lnTo>
                    <a:pt x="549" y="12"/>
                  </a:lnTo>
                  <a:lnTo>
                    <a:pt x="503" y="1"/>
                  </a:lnTo>
                  <a:lnTo>
                    <a:pt x="492" y="1"/>
                  </a:lnTo>
                  <a:lnTo>
                    <a:pt x="446" y="69"/>
                  </a:lnTo>
                  <a:lnTo>
                    <a:pt x="457" y="81"/>
                  </a:lnTo>
                  <a:lnTo>
                    <a:pt x="503" y="115"/>
                  </a:lnTo>
                  <a:lnTo>
                    <a:pt x="515" y="11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35" name="Google Shape;406;p29">
              <a:extLst>
                <a:ext uri="{FF2B5EF4-FFF2-40B4-BE49-F238E27FC236}">
                  <a16:creationId xmlns:a16="http://schemas.microsoft.com/office/drawing/2014/main" id="{3ABC1EDA-C013-40F1-A061-1F35C867327F}"/>
                </a:ext>
              </a:extLst>
            </p:cNvPr>
            <p:cNvSpPr/>
            <p:nvPr/>
          </p:nvSpPr>
          <p:spPr>
            <a:xfrm>
              <a:off x="2486325" y="2855050"/>
              <a:ext cx="28825" cy="28550"/>
            </a:xfrm>
            <a:custGeom>
              <a:avLst/>
              <a:gdLst/>
              <a:ahLst/>
              <a:cxnLst/>
              <a:rect l="l" t="t" r="r" b="b"/>
              <a:pathLst>
                <a:path w="1153" h="1142" extrusionOk="0">
                  <a:moveTo>
                    <a:pt x="719" y="1085"/>
                  </a:moveTo>
                  <a:lnTo>
                    <a:pt x="730" y="1062"/>
                  </a:lnTo>
                  <a:lnTo>
                    <a:pt x="730" y="971"/>
                  </a:lnTo>
                  <a:lnTo>
                    <a:pt x="753" y="913"/>
                  </a:lnTo>
                  <a:lnTo>
                    <a:pt x="730" y="856"/>
                  </a:lnTo>
                  <a:lnTo>
                    <a:pt x="719" y="777"/>
                  </a:lnTo>
                  <a:lnTo>
                    <a:pt x="730" y="708"/>
                  </a:lnTo>
                  <a:lnTo>
                    <a:pt x="730" y="605"/>
                  </a:lnTo>
                  <a:lnTo>
                    <a:pt x="753" y="560"/>
                  </a:lnTo>
                  <a:lnTo>
                    <a:pt x="833" y="446"/>
                  </a:lnTo>
                  <a:lnTo>
                    <a:pt x="696" y="446"/>
                  </a:lnTo>
                  <a:lnTo>
                    <a:pt x="616" y="480"/>
                  </a:lnTo>
                  <a:lnTo>
                    <a:pt x="457" y="491"/>
                  </a:lnTo>
                  <a:lnTo>
                    <a:pt x="388" y="514"/>
                  </a:lnTo>
                  <a:lnTo>
                    <a:pt x="285" y="537"/>
                  </a:lnTo>
                  <a:lnTo>
                    <a:pt x="228" y="560"/>
                  </a:lnTo>
                  <a:lnTo>
                    <a:pt x="240" y="571"/>
                  </a:lnTo>
                  <a:lnTo>
                    <a:pt x="320" y="605"/>
                  </a:lnTo>
                  <a:lnTo>
                    <a:pt x="342" y="628"/>
                  </a:lnTo>
                  <a:lnTo>
                    <a:pt x="354" y="662"/>
                  </a:lnTo>
                  <a:lnTo>
                    <a:pt x="377" y="719"/>
                  </a:lnTo>
                  <a:lnTo>
                    <a:pt x="331" y="959"/>
                  </a:lnTo>
                  <a:lnTo>
                    <a:pt x="320" y="971"/>
                  </a:lnTo>
                  <a:lnTo>
                    <a:pt x="228" y="993"/>
                  </a:lnTo>
                  <a:lnTo>
                    <a:pt x="206" y="1028"/>
                  </a:lnTo>
                  <a:lnTo>
                    <a:pt x="0" y="1142"/>
                  </a:lnTo>
                  <a:lnTo>
                    <a:pt x="114" y="1130"/>
                  </a:lnTo>
                  <a:lnTo>
                    <a:pt x="240" y="1142"/>
                  </a:lnTo>
                  <a:lnTo>
                    <a:pt x="582" y="1130"/>
                  </a:lnTo>
                  <a:close/>
                  <a:moveTo>
                    <a:pt x="970" y="137"/>
                  </a:moveTo>
                  <a:lnTo>
                    <a:pt x="1141" y="58"/>
                  </a:lnTo>
                  <a:lnTo>
                    <a:pt x="1153" y="1"/>
                  </a:lnTo>
                  <a:lnTo>
                    <a:pt x="1130" y="1"/>
                  </a:lnTo>
                  <a:lnTo>
                    <a:pt x="1016" y="46"/>
                  </a:lnTo>
                  <a:lnTo>
                    <a:pt x="925" y="115"/>
                  </a:lnTo>
                  <a:lnTo>
                    <a:pt x="925" y="149"/>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36" name="Google Shape;407;p29">
              <a:extLst>
                <a:ext uri="{FF2B5EF4-FFF2-40B4-BE49-F238E27FC236}">
                  <a16:creationId xmlns:a16="http://schemas.microsoft.com/office/drawing/2014/main" id="{DC48D898-E449-43F5-86F6-9B49AD7860C7}"/>
                </a:ext>
              </a:extLst>
            </p:cNvPr>
            <p:cNvSpPr/>
            <p:nvPr/>
          </p:nvSpPr>
          <p:spPr>
            <a:xfrm>
              <a:off x="2500575" y="2809125"/>
              <a:ext cx="5450" cy="15125"/>
            </a:xfrm>
            <a:custGeom>
              <a:avLst/>
              <a:gdLst/>
              <a:ahLst/>
              <a:cxnLst/>
              <a:rect l="l" t="t" r="r" b="b"/>
              <a:pathLst>
                <a:path w="218" h="605" extrusionOk="0">
                  <a:moveTo>
                    <a:pt x="12" y="605"/>
                  </a:moveTo>
                  <a:lnTo>
                    <a:pt x="12" y="605"/>
                  </a:lnTo>
                  <a:lnTo>
                    <a:pt x="12" y="582"/>
                  </a:lnTo>
                  <a:lnTo>
                    <a:pt x="35" y="582"/>
                  </a:lnTo>
                  <a:lnTo>
                    <a:pt x="35" y="571"/>
                  </a:lnTo>
                  <a:lnTo>
                    <a:pt x="35" y="571"/>
                  </a:lnTo>
                  <a:lnTo>
                    <a:pt x="35" y="559"/>
                  </a:lnTo>
                  <a:lnTo>
                    <a:pt x="12" y="559"/>
                  </a:lnTo>
                  <a:lnTo>
                    <a:pt x="12" y="571"/>
                  </a:lnTo>
                  <a:lnTo>
                    <a:pt x="12" y="571"/>
                  </a:lnTo>
                  <a:lnTo>
                    <a:pt x="12" y="582"/>
                  </a:lnTo>
                  <a:lnTo>
                    <a:pt x="1" y="582"/>
                  </a:lnTo>
                  <a:lnTo>
                    <a:pt x="1" y="605"/>
                  </a:lnTo>
                  <a:lnTo>
                    <a:pt x="1" y="605"/>
                  </a:lnTo>
                  <a:lnTo>
                    <a:pt x="1" y="605"/>
                  </a:lnTo>
                  <a:close/>
                  <a:moveTo>
                    <a:pt x="115" y="331"/>
                  </a:moveTo>
                  <a:lnTo>
                    <a:pt x="126" y="297"/>
                  </a:lnTo>
                  <a:lnTo>
                    <a:pt x="149" y="285"/>
                  </a:lnTo>
                  <a:lnTo>
                    <a:pt x="149" y="285"/>
                  </a:lnTo>
                  <a:lnTo>
                    <a:pt x="149" y="285"/>
                  </a:lnTo>
                  <a:lnTo>
                    <a:pt x="126" y="274"/>
                  </a:lnTo>
                  <a:lnTo>
                    <a:pt x="126" y="274"/>
                  </a:lnTo>
                  <a:lnTo>
                    <a:pt x="126" y="285"/>
                  </a:lnTo>
                  <a:lnTo>
                    <a:pt x="103" y="297"/>
                  </a:lnTo>
                  <a:lnTo>
                    <a:pt x="103" y="297"/>
                  </a:lnTo>
                  <a:lnTo>
                    <a:pt x="103" y="320"/>
                  </a:lnTo>
                  <a:lnTo>
                    <a:pt x="103" y="320"/>
                  </a:lnTo>
                  <a:lnTo>
                    <a:pt x="103" y="331"/>
                  </a:lnTo>
                  <a:lnTo>
                    <a:pt x="92" y="331"/>
                  </a:lnTo>
                  <a:lnTo>
                    <a:pt x="69" y="331"/>
                  </a:lnTo>
                  <a:lnTo>
                    <a:pt x="69" y="331"/>
                  </a:lnTo>
                  <a:lnTo>
                    <a:pt x="92" y="331"/>
                  </a:lnTo>
                  <a:lnTo>
                    <a:pt x="92" y="331"/>
                  </a:lnTo>
                  <a:lnTo>
                    <a:pt x="103" y="343"/>
                  </a:lnTo>
                  <a:lnTo>
                    <a:pt x="103" y="343"/>
                  </a:lnTo>
                  <a:lnTo>
                    <a:pt x="103" y="343"/>
                  </a:lnTo>
                  <a:lnTo>
                    <a:pt x="103" y="343"/>
                  </a:lnTo>
                  <a:close/>
                  <a:moveTo>
                    <a:pt x="160" y="171"/>
                  </a:moveTo>
                  <a:lnTo>
                    <a:pt x="195" y="148"/>
                  </a:lnTo>
                  <a:lnTo>
                    <a:pt x="218" y="57"/>
                  </a:lnTo>
                  <a:lnTo>
                    <a:pt x="195" y="0"/>
                  </a:lnTo>
                  <a:lnTo>
                    <a:pt x="172" y="0"/>
                  </a:lnTo>
                  <a:lnTo>
                    <a:pt x="126" y="12"/>
                  </a:lnTo>
                  <a:lnTo>
                    <a:pt x="103" y="57"/>
                  </a:lnTo>
                  <a:lnTo>
                    <a:pt x="81" y="126"/>
                  </a:lnTo>
                  <a:lnTo>
                    <a:pt x="138" y="183"/>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37" name="Google Shape;408;p29">
              <a:extLst>
                <a:ext uri="{FF2B5EF4-FFF2-40B4-BE49-F238E27FC236}">
                  <a16:creationId xmlns:a16="http://schemas.microsoft.com/office/drawing/2014/main" id="{9C9B2B5F-F622-4E8A-B189-18D972C62548}"/>
                </a:ext>
              </a:extLst>
            </p:cNvPr>
            <p:cNvSpPr/>
            <p:nvPr/>
          </p:nvSpPr>
          <p:spPr>
            <a:xfrm>
              <a:off x="2444375" y="2686725"/>
              <a:ext cx="8875" cy="8000"/>
            </a:xfrm>
            <a:custGeom>
              <a:avLst/>
              <a:gdLst/>
              <a:ahLst/>
              <a:cxnLst/>
              <a:rect l="l" t="t" r="r" b="b"/>
              <a:pathLst>
                <a:path w="355" h="320" extrusionOk="0">
                  <a:moveTo>
                    <a:pt x="80" y="320"/>
                  </a:moveTo>
                  <a:lnTo>
                    <a:pt x="126" y="286"/>
                  </a:lnTo>
                  <a:lnTo>
                    <a:pt x="92" y="274"/>
                  </a:lnTo>
                  <a:lnTo>
                    <a:pt x="35" y="274"/>
                  </a:lnTo>
                  <a:lnTo>
                    <a:pt x="1" y="308"/>
                  </a:lnTo>
                  <a:lnTo>
                    <a:pt x="12" y="320"/>
                  </a:lnTo>
                  <a:close/>
                  <a:moveTo>
                    <a:pt x="240" y="263"/>
                  </a:moveTo>
                  <a:lnTo>
                    <a:pt x="297" y="206"/>
                  </a:lnTo>
                  <a:lnTo>
                    <a:pt x="229" y="217"/>
                  </a:lnTo>
                  <a:lnTo>
                    <a:pt x="195" y="251"/>
                  </a:lnTo>
                  <a:lnTo>
                    <a:pt x="206" y="263"/>
                  </a:lnTo>
                  <a:lnTo>
                    <a:pt x="229" y="263"/>
                  </a:lnTo>
                  <a:close/>
                  <a:moveTo>
                    <a:pt x="354" y="0"/>
                  </a:moveTo>
                  <a:lnTo>
                    <a:pt x="320" y="0"/>
                  </a:lnTo>
                  <a:lnTo>
                    <a:pt x="252" y="0"/>
                  </a:lnTo>
                  <a:lnTo>
                    <a:pt x="252" y="0"/>
                  </a:lnTo>
                  <a:lnTo>
                    <a:pt x="263" y="23"/>
                  </a:lnTo>
                  <a:lnTo>
                    <a:pt x="309" y="23"/>
                  </a:lnTo>
                  <a:lnTo>
                    <a:pt x="354" y="35"/>
                  </a:lnTo>
                  <a:lnTo>
                    <a:pt x="354" y="3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38" name="Google Shape;409;p29">
              <a:extLst>
                <a:ext uri="{FF2B5EF4-FFF2-40B4-BE49-F238E27FC236}">
                  <a16:creationId xmlns:a16="http://schemas.microsoft.com/office/drawing/2014/main" id="{EC935113-AC0A-4748-B8D1-6EF1EE188F68}"/>
                </a:ext>
              </a:extLst>
            </p:cNvPr>
            <p:cNvSpPr/>
            <p:nvPr/>
          </p:nvSpPr>
          <p:spPr>
            <a:xfrm>
              <a:off x="2437825" y="2695000"/>
              <a:ext cx="7425" cy="15425"/>
            </a:xfrm>
            <a:custGeom>
              <a:avLst/>
              <a:gdLst/>
              <a:ahLst/>
              <a:cxnLst/>
              <a:rect l="l" t="t" r="r" b="b"/>
              <a:pathLst>
                <a:path w="297" h="617" extrusionOk="0">
                  <a:moveTo>
                    <a:pt x="160" y="525"/>
                  </a:moveTo>
                  <a:lnTo>
                    <a:pt x="57" y="559"/>
                  </a:lnTo>
                  <a:lnTo>
                    <a:pt x="46" y="617"/>
                  </a:lnTo>
                  <a:lnTo>
                    <a:pt x="194" y="617"/>
                  </a:lnTo>
                  <a:lnTo>
                    <a:pt x="297" y="571"/>
                  </a:lnTo>
                  <a:lnTo>
                    <a:pt x="217" y="571"/>
                  </a:lnTo>
                  <a:close/>
                  <a:moveTo>
                    <a:pt x="285" y="35"/>
                  </a:moveTo>
                  <a:lnTo>
                    <a:pt x="217" y="12"/>
                  </a:lnTo>
                  <a:lnTo>
                    <a:pt x="183" y="46"/>
                  </a:lnTo>
                  <a:lnTo>
                    <a:pt x="183" y="46"/>
                  </a:lnTo>
                  <a:lnTo>
                    <a:pt x="228" y="57"/>
                  </a:lnTo>
                  <a:close/>
                  <a:moveTo>
                    <a:pt x="126" y="46"/>
                  </a:moveTo>
                  <a:lnTo>
                    <a:pt x="103" y="12"/>
                  </a:lnTo>
                  <a:lnTo>
                    <a:pt x="57" y="0"/>
                  </a:lnTo>
                  <a:lnTo>
                    <a:pt x="0" y="12"/>
                  </a:lnTo>
                  <a:lnTo>
                    <a:pt x="69" y="57"/>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39" name="Google Shape;410;p29">
              <a:extLst>
                <a:ext uri="{FF2B5EF4-FFF2-40B4-BE49-F238E27FC236}">
                  <a16:creationId xmlns:a16="http://schemas.microsoft.com/office/drawing/2014/main" id="{26C0D330-4C23-454F-BBE1-BF66CC52430A}"/>
                </a:ext>
              </a:extLst>
            </p:cNvPr>
            <p:cNvSpPr/>
            <p:nvPr/>
          </p:nvSpPr>
          <p:spPr>
            <a:xfrm>
              <a:off x="4331675" y="2302700"/>
              <a:ext cx="40825" cy="24850"/>
            </a:xfrm>
            <a:custGeom>
              <a:avLst/>
              <a:gdLst/>
              <a:ahLst/>
              <a:cxnLst/>
              <a:rect l="l" t="t" r="r" b="b"/>
              <a:pathLst>
                <a:path w="1633" h="994" extrusionOk="0">
                  <a:moveTo>
                    <a:pt x="297" y="457"/>
                  </a:moveTo>
                  <a:lnTo>
                    <a:pt x="251" y="446"/>
                  </a:lnTo>
                  <a:lnTo>
                    <a:pt x="183" y="468"/>
                  </a:lnTo>
                  <a:lnTo>
                    <a:pt x="126" y="525"/>
                  </a:lnTo>
                  <a:lnTo>
                    <a:pt x="69" y="571"/>
                  </a:lnTo>
                  <a:lnTo>
                    <a:pt x="0" y="525"/>
                  </a:lnTo>
                  <a:lnTo>
                    <a:pt x="23" y="651"/>
                  </a:lnTo>
                  <a:lnTo>
                    <a:pt x="103" y="811"/>
                  </a:lnTo>
                  <a:lnTo>
                    <a:pt x="137" y="856"/>
                  </a:lnTo>
                  <a:lnTo>
                    <a:pt x="183" y="879"/>
                  </a:lnTo>
                  <a:lnTo>
                    <a:pt x="331" y="925"/>
                  </a:lnTo>
                  <a:lnTo>
                    <a:pt x="377" y="925"/>
                  </a:lnTo>
                  <a:lnTo>
                    <a:pt x="468" y="925"/>
                  </a:lnTo>
                  <a:lnTo>
                    <a:pt x="491" y="936"/>
                  </a:lnTo>
                  <a:lnTo>
                    <a:pt x="525" y="993"/>
                  </a:lnTo>
                  <a:lnTo>
                    <a:pt x="582" y="993"/>
                  </a:lnTo>
                  <a:lnTo>
                    <a:pt x="582" y="982"/>
                  </a:lnTo>
                  <a:lnTo>
                    <a:pt x="582" y="936"/>
                  </a:lnTo>
                  <a:lnTo>
                    <a:pt x="605" y="914"/>
                  </a:lnTo>
                  <a:lnTo>
                    <a:pt x="651" y="879"/>
                  </a:lnTo>
                  <a:lnTo>
                    <a:pt x="696" y="879"/>
                  </a:lnTo>
                  <a:lnTo>
                    <a:pt x="776" y="868"/>
                  </a:lnTo>
                  <a:lnTo>
                    <a:pt x="868" y="845"/>
                  </a:lnTo>
                  <a:lnTo>
                    <a:pt x="936" y="788"/>
                  </a:lnTo>
                  <a:lnTo>
                    <a:pt x="1062" y="640"/>
                  </a:lnTo>
                  <a:lnTo>
                    <a:pt x="1107" y="640"/>
                  </a:lnTo>
                  <a:lnTo>
                    <a:pt x="1153" y="640"/>
                  </a:lnTo>
                  <a:lnTo>
                    <a:pt x="1233" y="640"/>
                  </a:lnTo>
                  <a:lnTo>
                    <a:pt x="1324" y="628"/>
                  </a:lnTo>
                  <a:lnTo>
                    <a:pt x="1290" y="571"/>
                  </a:lnTo>
                  <a:lnTo>
                    <a:pt x="1278" y="560"/>
                  </a:lnTo>
                  <a:lnTo>
                    <a:pt x="1221" y="480"/>
                  </a:lnTo>
                  <a:lnTo>
                    <a:pt x="1187" y="423"/>
                  </a:lnTo>
                  <a:lnTo>
                    <a:pt x="1210" y="343"/>
                  </a:lnTo>
                  <a:lnTo>
                    <a:pt x="1564" y="69"/>
                  </a:lnTo>
                  <a:lnTo>
                    <a:pt x="1632" y="1"/>
                  </a:lnTo>
                  <a:lnTo>
                    <a:pt x="1518" y="23"/>
                  </a:lnTo>
                  <a:lnTo>
                    <a:pt x="1438" y="80"/>
                  </a:lnTo>
                  <a:lnTo>
                    <a:pt x="1381" y="115"/>
                  </a:lnTo>
                  <a:lnTo>
                    <a:pt x="1278" y="172"/>
                  </a:lnTo>
                  <a:lnTo>
                    <a:pt x="947" y="286"/>
                  </a:lnTo>
                  <a:lnTo>
                    <a:pt x="833" y="297"/>
                  </a:lnTo>
                  <a:lnTo>
                    <a:pt x="719" y="297"/>
                  </a:lnTo>
                  <a:lnTo>
                    <a:pt x="582" y="286"/>
                  </a:lnTo>
                  <a:lnTo>
                    <a:pt x="445" y="252"/>
                  </a:lnTo>
                  <a:lnTo>
                    <a:pt x="445" y="354"/>
                  </a:lnTo>
                  <a:lnTo>
                    <a:pt x="422" y="446"/>
                  </a:lnTo>
                  <a:lnTo>
                    <a:pt x="331" y="46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40" name="Google Shape;411;p29">
              <a:extLst>
                <a:ext uri="{FF2B5EF4-FFF2-40B4-BE49-F238E27FC236}">
                  <a16:creationId xmlns:a16="http://schemas.microsoft.com/office/drawing/2014/main" id="{3F28BB92-BE22-4281-A1A9-83E8AF3D5177}"/>
                </a:ext>
              </a:extLst>
            </p:cNvPr>
            <p:cNvSpPr/>
            <p:nvPr/>
          </p:nvSpPr>
          <p:spPr>
            <a:xfrm>
              <a:off x="4806425" y="3585425"/>
              <a:ext cx="12000" cy="11450"/>
            </a:xfrm>
            <a:custGeom>
              <a:avLst/>
              <a:gdLst/>
              <a:ahLst/>
              <a:cxnLst/>
              <a:rect l="l" t="t" r="r" b="b"/>
              <a:pathLst>
                <a:path w="480" h="458" extrusionOk="0">
                  <a:moveTo>
                    <a:pt x="434" y="434"/>
                  </a:moveTo>
                  <a:lnTo>
                    <a:pt x="468" y="377"/>
                  </a:lnTo>
                  <a:lnTo>
                    <a:pt x="479" y="263"/>
                  </a:lnTo>
                  <a:lnTo>
                    <a:pt x="422" y="149"/>
                  </a:lnTo>
                  <a:lnTo>
                    <a:pt x="365" y="46"/>
                  </a:lnTo>
                  <a:lnTo>
                    <a:pt x="308" y="23"/>
                  </a:lnTo>
                  <a:lnTo>
                    <a:pt x="194" y="1"/>
                  </a:lnTo>
                  <a:lnTo>
                    <a:pt x="91" y="46"/>
                  </a:lnTo>
                  <a:lnTo>
                    <a:pt x="34" y="138"/>
                  </a:lnTo>
                  <a:lnTo>
                    <a:pt x="0" y="172"/>
                  </a:lnTo>
                  <a:lnTo>
                    <a:pt x="57" y="332"/>
                  </a:lnTo>
                  <a:lnTo>
                    <a:pt x="91" y="377"/>
                  </a:lnTo>
                  <a:lnTo>
                    <a:pt x="251" y="457"/>
                  </a:lnTo>
                  <a:lnTo>
                    <a:pt x="320" y="457"/>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41" name="Google Shape;412;p29">
              <a:extLst>
                <a:ext uri="{FF2B5EF4-FFF2-40B4-BE49-F238E27FC236}">
                  <a16:creationId xmlns:a16="http://schemas.microsoft.com/office/drawing/2014/main" id="{937C51B9-EC50-4F94-8E88-31F897E28E62}"/>
                </a:ext>
              </a:extLst>
            </p:cNvPr>
            <p:cNvSpPr/>
            <p:nvPr/>
          </p:nvSpPr>
          <p:spPr>
            <a:xfrm>
              <a:off x="4617550" y="3399400"/>
              <a:ext cx="3725" cy="7450"/>
            </a:xfrm>
            <a:custGeom>
              <a:avLst/>
              <a:gdLst/>
              <a:ahLst/>
              <a:cxnLst/>
              <a:rect l="l" t="t" r="r" b="b"/>
              <a:pathLst>
                <a:path w="149" h="298" extrusionOk="0">
                  <a:moveTo>
                    <a:pt x="103" y="286"/>
                  </a:moveTo>
                  <a:lnTo>
                    <a:pt x="103" y="241"/>
                  </a:lnTo>
                  <a:lnTo>
                    <a:pt x="126" y="172"/>
                  </a:lnTo>
                  <a:lnTo>
                    <a:pt x="126" y="161"/>
                  </a:lnTo>
                  <a:lnTo>
                    <a:pt x="149" y="81"/>
                  </a:lnTo>
                  <a:lnTo>
                    <a:pt x="103" y="47"/>
                  </a:lnTo>
                  <a:lnTo>
                    <a:pt x="69" y="47"/>
                  </a:lnTo>
                  <a:lnTo>
                    <a:pt x="46" y="1"/>
                  </a:lnTo>
                  <a:lnTo>
                    <a:pt x="0" y="47"/>
                  </a:lnTo>
                  <a:lnTo>
                    <a:pt x="46" y="115"/>
                  </a:lnTo>
                  <a:lnTo>
                    <a:pt x="34" y="161"/>
                  </a:lnTo>
                  <a:lnTo>
                    <a:pt x="12" y="218"/>
                  </a:lnTo>
                  <a:lnTo>
                    <a:pt x="34" y="275"/>
                  </a:lnTo>
                  <a:lnTo>
                    <a:pt x="57" y="29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42" name="Google Shape;413;p29">
              <a:extLst>
                <a:ext uri="{FF2B5EF4-FFF2-40B4-BE49-F238E27FC236}">
                  <a16:creationId xmlns:a16="http://schemas.microsoft.com/office/drawing/2014/main" id="{C080EECF-E165-40C6-B6F6-F3E8DC83341B}"/>
                </a:ext>
              </a:extLst>
            </p:cNvPr>
            <p:cNvSpPr/>
            <p:nvPr/>
          </p:nvSpPr>
          <p:spPr>
            <a:xfrm>
              <a:off x="2506275" y="2774600"/>
              <a:ext cx="7175" cy="10300"/>
            </a:xfrm>
            <a:custGeom>
              <a:avLst/>
              <a:gdLst/>
              <a:ahLst/>
              <a:cxnLst/>
              <a:rect l="l" t="t" r="r" b="b"/>
              <a:pathLst>
                <a:path w="287" h="412" extrusionOk="0">
                  <a:moveTo>
                    <a:pt x="286" y="343"/>
                  </a:moveTo>
                  <a:lnTo>
                    <a:pt x="252" y="240"/>
                  </a:lnTo>
                  <a:lnTo>
                    <a:pt x="241" y="217"/>
                  </a:lnTo>
                  <a:lnTo>
                    <a:pt x="218" y="171"/>
                  </a:lnTo>
                  <a:lnTo>
                    <a:pt x="229" y="126"/>
                  </a:lnTo>
                  <a:lnTo>
                    <a:pt x="229" y="114"/>
                  </a:lnTo>
                  <a:lnTo>
                    <a:pt x="195" y="114"/>
                  </a:lnTo>
                  <a:lnTo>
                    <a:pt x="161" y="35"/>
                  </a:lnTo>
                  <a:lnTo>
                    <a:pt x="69" y="0"/>
                  </a:lnTo>
                  <a:lnTo>
                    <a:pt x="24" y="0"/>
                  </a:lnTo>
                  <a:lnTo>
                    <a:pt x="1" y="23"/>
                  </a:lnTo>
                  <a:lnTo>
                    <a:pt x="1" y="69"/>
                  </a:lnTo>
                  <a:lnTo>
                    <a:pt x="47" y="194"/>
                  </a:lnTo>
                  <a:lnTo>
                    <a:pt x="69" y="229"/>
                  </a:lnTo>
                  <a:lnTo>
                    <a:pt x="138" y="251"/>
                  </a:lnTo>
                  <a:lnTo>
                    <a:pt x="81" y="308"/>
                  </a:lnTo>
                  <a:lnTo>
                    <a:pt x="81" y="320"/>
                  </a:lnTo>
                  <a:lnTo>
                    <a:pt x="104" y="365"/>
                  </a:lnTo>
                  <a:lnTo>
                    <a:pt x="229" y="365"/>
                  </a:lnTo>
                  <a:lnTo>
                    <a:pt x="252" y="411"/>
                  </a:lnTo>
                  <a:lnTo>
                    <a:pt x="275" y="40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43" name="Google Shape;414;p29">
              <a:extLst>
                <a:ext uri="{FF2B5EF4-FFF2-40B4-BE49-F238E27FC236}">
                  <a16:creationId xmlns:a16="http://schemas.microsoft.com/office/drawing/2014/main" id="{09139773-243B-4214-B6A6-8194E8269936}"/>
                </a:ext>
              </a:extLst>
            </p:cNvPr>
            <p:cNvSpPr/>
            <p:nvPr/>
          </p:nvSpPr>
          <p:spPr>
            <a:xfrm>
              <a:off x="2497450" y="2737500"/>
              <a:ext cx="12000" cy="14300"/>
            </a:xfrm>
            <a:custGeom>
              <a:avLst/>
              <a:gdLst/>
              <a:ahLst/>
              <a:cxnLst/>
              <a:rect l="l" t="t" r="r" b="b"/>
              <a:pathLst>
                <a:path w="480" h="572" extrusionOk="0">
                  <a:moveTo>
                    <a:pt x="411" y="571"/>
                  </a:moveTo>
                  <a:lnTo>
                    <a:pt x="445" y="537"/>
                  </a:lnTo>
                  <a:lnTo>
                    <a:pt x="445" y="503"/>
                  </a:lnTo>
                  <a:lnTo>
                    <a:pt x="411" y="457"/>
                  </a:lnTo>
                  <a:lnTo>
                    <a:pt x="377" y="469"/>
                  </a:lnTo>
                  <a:lnTo>
                    <a:pt x="354" y="514"/>
                  </a:lnTo>
                  <a:lnTo>
                    <a:pt x="354" y="560"/>
                  </a:lnTo>
                  <a:lnTo>
                    <a:pt x="365" y="571"/>
                  </a:lnTo>
                  <a:close/>
                  <a:moveTo>
                    <a:pt x="137" y="457"/>
                  </a:moveTo>
                  <a:lnTo>
                    <a:pt x="171" y="423"/>
                  </a:lnTo>
                  <a:lnTo>
                    <a:pt x="171" y="252"/>
                  </a:lnTo>
                  <a:lnTo>
                    <a:pt x="183" y="218"/>
                  </a:lnTo>
                  <a:lnTo>
                    <a:pt x="160" y="195"/>
                  </a:lnTo>
                  <a:lnTo>
                    <a:pt x="126" y="172"/>
                  </a:lnTo>
                  <a:lnTo>
                    <a:pt x="34" y="138"/>
                  </a:lnTo>
                  <a:lnTo>
                    <a:pt x="23" y="160"/>
                  </a:lnTo>
                  <a:lnTo>
                    <a:pt x="0" y="195"/>
                  </a:lnTo>
                  <a:lnTo>
                    <a:pt x="12" y="412"/>
                  </a:lnTo>
                  <a:lnTo>
                    <a:pt x="34" y="480"/>
                  </a:lnTo>
                  <a:lnTo>
                    <a:pt x="69" y="503"/>
                  </a:lnTo>
                  <a:close/>
                  <a:moveTo>
                    <a:pt x="365" y="252"/>
                  </a:moveTo>
                  <a:lnTo>
                    <a:pt x="480" y="229"/>
                  </a:lnTo>
                  <a:lnTo>
                    <a:pt x="354" y="138"/>
                  </a:lnTo>
                  <a:lnTo>
                    <a:pt x="320" y="81"/>
                  </a:lnTo>
                  <a:lnTo>
                    <a:pt x="320" y="46"/>
                  </a:lnTo>
                  <a:lnTo>
                    <a:pt x="274" y="1"/>
                  </a:lnTo>
                  <a:lnTo>
                    <a:pt x="240" y="24"/>
                  </a:lnTo>
                  <a:lnTo>
                    <a:pt x="228" y="69"/>
                  </a:lnTo>
                  <a:lnTo>
                    <a:pt x="240" y="138"/>
                  </a:lnTo>
                  <a:lnTo>
                    <a:pt x="194" y="195"/>
                  </a:lnTo>
                  <a:lnTo>
                    <a:pt x="217" y="252"/>
                  </a:lnTo>
                  <a:lnTo>
                    <a:pt x="274" y="27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44" name="Google Shape;415;p29">
              <a:extLst>
                <a:ext uri="{FF2B5EF4-FFF2-40B4-BE49-F238E27FC236}">
                  <a16:creationId xmlns:a16="http://schemas.microsoft.com/office/drawing/2014/main" id="{A4E528E8-EB17-45A3-9D2E-A6C403D2A3AD}"/>
                </a:ext>
              </a:extLst>
            </p:cNvPr>
            <p:cNvSpPr/>
            <p:nvPr/>
          </p:nvSpPr>
          <p:spPr>
            <a:xfrm>
              <a:off x="2360200" y="2833075"/>
              <a:ext cx="3175" cy="6025"/>
            </a:xfrm>
            <a:custGeom>
              <a:avLst/>
              <a:gdLst/>
              <a:ahLst/>
              <a:cxnLst/>
              <a:rect l="l" t="t" r="r" b="b"/>
              <a:pathLst>
                <a:path w="127" h="241" extrusionOk="0">
                  <a:moveTo>
                    <a:pt x="126" y="138"/>
                  </a:moveTo>
                  <a:lnTo>
                    <a:pt x="126" y="58"/>
                  </a:lnTo>
                  <a:lnTo>
                    <a:pt x="1" y="1"/>
                  </a:lnTo>
                  <a:lnTo>
                    <a:pt x="1" y="46"/>
                  </a:lnTo>
                  <a:lnTo>
                    <a:pt x="12" y="69"/>
                  </a:lnTo>
                  <a:lnTo>
                    <a:pt x="58" y="81"/>
                  </a:lnTo>
                  <a:lnTo>
                    <a:pt x="69" y="115"/>
                  </a:lnTo>
                  <a:lnTo>
                    <a:pt x="58" y="195"/>
                  </a:lnTo>
                  <a:lnTo>
                    <a:pt x="81" y="240"/>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sp>
          <p:nvSpPr>
            <p:cNvPr id="245" name="Google Shape;416;p29">
              <a:extLst>
                <a:ext uri="{FF2B5EF4-FFF2-40B4-BE49-F238E27FC236}">
                  <a16:creationId xmlns:a16="http://schemas.microsoft.com/office/drawing/2014/main" id="{DBA540E6-617F-406F-8BC7-20F29CFAE4DA}"/>
                </a:ext>
              </a:extLst>
            </p:cNvPr>
            <p:cNvSpPr/>
            <p:nvPr/>
          </p:nvSpPr>
          <p:spPr>
            <a:xfrm>
              <a:off x="3369625" y="2448500"/>
              <a:ext cx="92750" cy="36525"/>
            </a:xfrm>
            <a:custGeom>
              <a:avLst/>
              <a:gdLst/>
              <a:ahLst/>
              <a:cxnLst/>
              <a:rect l="l" t="t" r="r" b="b"/>
              <a:pathLst>
                <a:path w="3710" h="1461" extrusionOk="0">
                  <a:moveTo>
                    <a:pt x="217" y="1301"/>
                  </a:moveTo>
                  <a:lnTo>
                    <a:pt x="194" y="1278"/>
                  </a:lnTo>
                  <a:lnTo>
                    <a:pt x="92" y="1347"/>
                  </a:lnTo>
                  <a:lnTo>
                    <a:pt x="0" y="1347"/>
                  </a:lnTo>
                  <a:lnTo>
                    <a:pt x="23" y="1370"/>
                  </a:lnTo>
                  <a:lnTo>
                    <a:pt x="35" y="1404"/>
                  </a:lnTo>
                  <a:lnTo>
                    <a:pt x="137" y="1461"/>
                  </a:lnTo>
                  <a:close/>
                  <a:moveTo>
                    <a:pt x="2146" y="1004"/>
                  </a:moveTo>
                  <a:lnTo>
                    <a:pt x="2146" y="982"/>
                  </a:lnTo>
                  <a:lnTo>
                    <a:pt x="2134" y="982"/>
                  </a:lnTo>
                  <a:lnTo>
                    <a:pt x="2112" y="1004"/>
                  </a:lnTo>
                  <a:lnTo>
                    <a:pt x="1929" y="982"/>
                  </a:lnTo>
                  <a:lnTo>
                    <a:pt x="1906" y="1073"/>
                  </a:lnTo>
                  <a:lnTo>
                    <a:pt x="1826" y="1130"/>
                  </a:lnTo>
                  <a:lnTo>
                    <a:pt x="1826" y="1233"/>
                  </a:lnTo>
                  <a:lnTo>
                    <a:pt x="1906" y="1324"/>
                  </a:lnTo>
                  <a:lnTo>
                    <a:pt x="1940" y="1347"/>
                  </a:lnTo>
                  <a:lnTo>
                    <a:pt x="2020" y="1358"/>
                  </a:lnTo>
                  <a:lnTo>
                    <a:pt x="2112" y="1301"/>
                  </a:lnTo>
                  <a:lnTo>
                    <a:pt x="2146" y="1244"/>
                  </a:lnTo>
                  <a:lnTo>
                    <a:pt x="2157" y="1130"/>
                  </a:lnTo>
                  <a:lnTo>
                    <a:pt x="2146" y="1073"/>
                  </a:lnTo>
                  <a:close/>
                  <a:moveTo>
                    <a:pt x="765" y="1119"/>
                  </a:moveTo>
                  <a:lnTo>
                    <a:pt x="833" y="1061"/>
                  </a:lnTo>
                  <a:lnTo>
                    <a:pt x="833" y="1027"/>
                  </a:lnTo>
                  <a:lnTo>
                    <a:pt x="822" y="993"/>
                  </a:lnTo>
                  <a:lnTo>
                    <a:pt x="742" y="947"/>
                  </a:lnTo>
                  <a:lnTo>
                    <a:pt x="719" y="947"/>
                  </a:lnTo>
                  <a:lnTo>
                    <a:pt x="685" y="970"/>
                  </a:lnTo>
                  <a:lnTo>
                    <a:pt x="662" y="1027"/>
                  </a:lnTo>
                  <a:lnTo>
                    <a:pt x="696" y="1096"/>
                  </a:lnTo>
                  <a:lnTo>
                    <a:pt x="731" y="1119"/>
                  </a:lnTo>
                  <a:close/>
                  <a:moveTo>
                    <a:pt x="1427" y="788"/>
                  </a:moveTo>
                  <a:lnTo>
                    <a:pt x="1598" y="651"/>
                  </a:lnTo>
                  <a:lnTo>
                    <a:pt x="1598" y="605"/>
                  </a:lnTo>
                  <a:lnTo>
                    <a:pt x="1461" y="616"/>
                  </a:lnTo>
                  <a:lnTo>
                    <a:pt x="1301" y="765"/>
                  </a:lnTo>
                  <a:lnTo>
                    <a:pt x="1256" y="776"/>
                  </a:lnTo>
                  <a:lnTo>
                    <a:pt x="1119" y="788"/>
                  </a:lnTo>
                  <a:lnTo>
                    <a:pt x="1050" y="788"/>
                  </a:lnTo>
                  <a:lnTo>
                    <a:pt x="993" y="822"/>
                  </a:lnTo>
                  <a:lnTo>
                    <a:pt x="1016" y="856"/>
                  </a:lnTo>
                  <a:lnTo>
                    <a:pt x="1073" y="1004"/>
                  </a:lnTo>
                  <a:lnTo>
                    <a:pt x="1176" y="1130"/>
                  </a:lnTo>
                  <a:lnTo>
                    <a:pt x="1256" y="1107"/>
                  </a:lnTo>
                  <a:lnTo>
                    <a:pt x="1301" y="1073"/>
                  </a:lnTo>
                  <a:lnTo>
                    <a:pt x="1358" y="993"/>
                  </a:lnTo>
                  <a:close/>
                  <a:moveTo>
                    <a:pt x="3082" y="970"/>
                  </a:moveTo>
                  <a:lnTo>
                    <a:pt x="3298" y="902"/>
                  </a:lnTo>
                  <a:lnTo>
                    <a:pt x="3344" y="765"/>
                  </a:lnTo>
                  <a:lnTo>
                    <a:pt x="3390" y="605"/>
                  </a:lnTo>
                  <a:lnTo>
                    <a:pt x="3390" y="502"/>
                  </a:lnTo>
                  <a:lnTo>
                    <a:pt x="3355" y="457"/>
                  </a:lnTo>
                  <a:lnTo>
                    <a:pt x="3344" y="457"/>
                  </a:lnTo>
                  <a:lnTo>
                    <a:pt x="3287" y="457"/>
                  </a:lnTo>
                  <a:lnTo>
                    <a:pt x="3241" y="491"/>
                  </a:lnTo>
                  <a:lnTo>
                    <a:pt x="3230" y="571"/>
                  </a:lnTo>
                  <a:lnTo>
                    <a:pt x="3127" y="765"/>
                  </a:lnTo>
                  <a:lnTo>
                    <a:pt x="3059" y="936"/>
                  </a:lnTo>
                  <a:lnTo>
                    <a:pt x="2956" y="1016"/>
                  </a:lnTo>
                  <a:lnTo>
                    <a:pt x="2853" y="1050"/>
                  </a:lnTo>
                  <a:lnTo>
                    <a:pt x="2865" y="1061"/>
                  </a:lnTo>
                  <a:lnTo>
                    <a:pt x="2967" y="1073"/>
                  </a:lnTo>
                  <a:close/>
                  <a:moveTo>
                    <a:pt x="274" y="685"/>
                  </a:moveTo>
                  <a:lnTo>
                    <a:pt x="343" y="616"/>
                  </a:lnTo>
                  <a:lnTo>
                    <a:pt x="365" y="571"/>
                  </a:lnTo>
                  <a:lnTo>
                    <a:pt x="343" y="502"/>
                  </a:lnTo>
                  <a:lnTo>
                    <a:pt x="377" y="479"/>
                  </a:lnTo>
                  <a:lnTo>
                    <a:pt x="365" y="422"/>
                  </a:lnTo>
                  <a:lnTo>
                    <a:pt x="320" y="365"/>
                  </a:lnTo>
                  <a:lnTo>
                    <a:pt x="217" y="365"/>
                  </a:lnTo>
                  <a:lnTo>
                    <a:pt x="160" y="445"/>
                  </a:lnTo>
                  <a:lnTo>
                    <a:pt x="251" y="616"/>
                  </a:lnTo>
                  <a:lnTo>
                    <a:pt x="263" y="685"/>
                  </a:lnTo>
                  <a:close/>
                  <a:moveTo>
                    <a:pt x="3470" y="308"/>
                  </a:moveTo>
                  <a:lnTo>
                    <a:pt x="3595" y="263"/>
                  </a:lnTo>
                  <a:lnTo>
                    <a:pt x="3675" y="217"/>
                  </a:lnTo>
                  <a:lnTo>
                    <a:pt x="3686" y="91"/>
                  </a:lnTo>
                  <a:lnTo>
                    <a:pt x="3709" y="46"/>
                  </a:lnTo>
                  <a:lnTo>
                    <a:pt x="3686" y="0"/>
                  </a:lnTo>
                  <a:lnTo>
                    <a:pt x="3652" y="34"/>
                  </a:lnTo>
                  <a:lnTo>
                    <a:pt x="3629" y="91"/>
                  </a:lnTo>
                  <a:lnTo>
                    <a:pt x="3538" y="114"/>
                  </a:lnTo>
                  <a:lnTo>
                    <a:pt x="3424" y="171"/>
                  </a:lnTo>
                  <a:lnTo>
                    <a:pt x="3401" y="217"/>
                  </a:lnTo>
                  <a:lnTo>
                    <a:pt x="3367" y="343"/>
                  </a:lnTo>
                  <a:lnTo>
                    <a:pt x="3424" y="354"/>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800"/>
              </a:pPr>
              <a:endParaRPr sz="2400">
                <a:solidFill>
                  <a:srgbClr val="000000"/>
                </a:solidFill>
                <a:latin typeface="Calibri"/>
                <a:ea typeface="Calibri"/>
                <a:cs typeface="Calibri"/>
                <a:sym typeface="Calibri"/>
              </a:endParaRPr>
            </a:p>
          </p:txBody>
        </p:sp>
      </p:grpSp>
      <p:sp>
        <p:nvSpPr>
          <p:cNvPr id="33" name="Rectangle 32">
            <a:extLst>
              <a:ext uri="{FF2B5EF4-FFF2-40B4-BE49-F238E27FC236}">
                <a16:creationId xmlns:a16="http://schemas.microsoft.com/office/drawing/2014/main" id="{DBDD1667-0772-4241-8766-689E06212710}"/>
              </a:ext>
            </a:extLst>
          </p:cNvPr>
          <p:cNvSpPr/>
          <p:nvPr/>
        </p:nvSpPr>
        <p:spPr>
          <a:xfrm>
            <a:off x="0" y="-35458"/>
            <a:ext cx="12192000" cy="6910890"/>
          </a:xfrm>
          <a:prstGeom prst="rect">
            <a:avLst/>
          </a:prstGeom>
          <a:gradFill flip="none" rotWithShape="1">
            <a:gsLst>
              <a:gs pos="0">
                <a:schemeClr val="bg1">
                  <a:alpha val="8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4" name="Shape 684"/>
          <p:cNvSpPr>
            <a:spLocks noGrp="1"/>
          </p:cNvSpPr>
          <p:nvPr>
            <p:ph type="sldNum" sz="quarter" idx="2"/>
          </p:nvPr>
        </p:nvSpPr>
        <p:spPr>
          <a:xfrm>
            <a:off x="23019528" y="819533"/>
            <a:ext cx="607908" cy="846386"/>
          </a:xfrm>
          <a:prstGeom prst="rect">
            <a:avLst/>
          </a:prstGeom>
          <a:ln w="3175">
            <a:miter lim="400000"/>
          </a:ln>
          <a:extLst>
            <a:ext uri="{C572A759-6A51-4108-AA02-DFA0A04FC94B}">
              <ma14:wrappingTextBoxFlag xmlns="" xmlns:ma14="http://schemas.microsoft.com/office/mac/drawingml/2011/main" val="1"/>
            </a:ext>
          </a:extLst>
        </p:spPr>
        <p:txBody>
          <a:bodyPr lIns="38100" tIns="38100" rIns="38100" bIns="381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500" b="0" i="0" u="none" strike="noStrike" cap="all" spc="500" normalizeH="0" baseline="0">
                <a:ln>
                  <a:noFill/>
                </a:ln>
                <a:solidFill>
                  <a:srgbClr val="ABADC2"/>
                </a:solidFill>
                <a:effectLst/>
                <a:uFillTx/>
                <a:latin typeface="+mn-lt"/>
                <a:ea typeface="Avenir Next Demi Bold"/>
                <a:cs typeface="Avenir Next Demi Bold"/>
                <a:sym typeface="Avenir Next Demi Bold"/>
              </a:defRPr>
            </a:lvl1pPr>
            <a:lvl2pPr marL="0" marR="0" indent="2286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2pPr>
            <a:lvl3pPr marL="0" marR="0" indent="4572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3pPr>
            <a:lvl4pPr marL="0" marR="0" indent="6858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4pPr>
            <a:lvl5pPr marL="0" marR="0" indent="9144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5pPr>
            <a:lvl6pPr marL="0" marR="0" indent="11430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6pPr>
            <a:lvl7pPr marL="0" marR="0" indent="13716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7pPr>
            <a:lvl8pPr marL="0" marR="0" indent="16002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8pPr>
            <a:lvl9pPr marL="0" marR="0" indent="18288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9pPr>
          </a:lstStyle>
          <a:p>
            <a:fld id="{86CB4B4D-7CA3-9044-876B-883B54F8677D}" type="slidenum">
              <a:rPr lang="en-IL" smtClean="0"/>
              <a:pPr/>
              <a:t>25</a:t>
            </a:fld>
            <a:endParaRPr/>
          </a:p>
        </p:txBody>
      </p:sp>
      <p:sp>
        <p:nvSpPr>
          <p:cNvPr id="3" name="TextBox 2">
            <a:extLst>
              <a:ext uri="{FF2B5EF4-FFF2-40B4-BE49-F238E27FC236}">
                <a16:creationId xmlns:a16="http://schemas.microsoft.com/office/drawing/2014/main" id="{149A0D93-12FE-4D20-A96E-A03271BF864F}"/>
              </a:ext>
            </a:extLst>
          </p:cNvPr>
          <p:cNvSpPr txBox="1"/>
          <p:nvPr/>
        </p:nvSpPr>
        <p:spPr>
          <a:xfrm>
            <a:off x="4675218" y="69487"/>
            <a:ext cx="2754675" cy="1015663"/>
          </a:xfrm>
          <a:prstGeom prst="rect">
            <a:avLst/>
          </a:prstGeom>
          <a:noFill/>
        </p:spPr>
        <p:txBody>
          <a:bodyPr wrap="square" rtlCol="0">
            <a:spAutoFit/>
          </a:bodyPr>
          <a:lstStyle/>
          <a:p>
            <a:pPr algn="ctr"/>
            <a:r>
              <a:rPr lang="en-US" sz="6000" b="0" i="0" dirty="0">
                <a:solidFill>
                  <a:srgbClr val="652D74"/>
                </a:solidFill>
                <a:effectLst/>
                <a:latin typeface="Baskerville Old Face" panose="02020602080505020303" pitchFamily="18" charset="0"/>
              </a:rPr>
              <a:t>Results</a:t>
            </a:r>
            <a:endParaRPr lang="en-IL" sz="6000" dirty="0">
              <a:solidFill>
                <a:srgbClr val="652D74"/>
              </a:solidFill>
              <a:latin typeface="Baskerville Old Face" panose="02020602080505020303" pitchFamily="18" charset="0"/>
            </a:endParaRPr>
          </a:p>
        </p:txBody>
      </p:sp>
      <p:grpSp>
        <p:nvGrpSpPr>
          <p:cNvPr id="6" name="Group 5">
            <a:extLst>
              <a:ext uri="{FF2B5EF4-FFF2-40B4-BE49-F238E27FC236}">
                <a16:creationId xmlns:a16="http://schemas.microsoft.com/office/drawing/2014/main" id="{0F214DCD-A54E-4C86-B766-54FD543BEAA0}"/>
              </a:ext>
            </a:extLst>
          </p:cNvPr>
          <p:cNvGrpSpPr/>
          <p:nvPr/>
        </p:nvGrpSpPr>
        <p:grpSpPr>
          <a:xfrm>
            <a:off x="405375" y="1011971"/>
            <a:ext cx="11311322" cy="4165957"/>
            <a:chOff x="497863" y="1819827"/>
            <a:chExt cx="11311322" cy="4165957"/>
          </a:xfrm>
        </p:grpSpPr>
        <p:pic>
          <p:nvPicPr>
            <p:cNvPr id="710" name="Computer_4.png"/>
            <p:cNvPicPr>
              <a:picLocks noChangeAspect="1"/>
            </p:cNvPicPr>
            <p:nvPr/>
          </p:nvPicPr>
          <p:blipFill>
            <a:blip r:embed="rId2"/>
            <a:stretch>
              <a:fillRect/>
            </a:stretch>
          </p:blipFill>
          <p:spPr>
            <a:xfrm>
              <a:off x="2622295" y="1819827"/>
              <a:ext cx="6975263" cy="4165957"/>
            </a:xfrm>
            <a:prstGeom prst="rect">
              <a:avLst/>
            </a:prstGeom>
            <a:ln w="3175" cap="flat">
              <a:noFill/>
              <a:miter lim="400000"/>
            </a:ln>
            <a:effectLst/>
          </p:spPr>
        </p:pic>
        <p:grpSp>
          <p:nvGrpSpPr>
            <p:cNvPr id="5" name="Group 4">
              <a:extLst>
                <a:ext uri="{FF2B5EF4-FFF2-40B4-BE49-F238E27FC236}">
                  <a16:creationId xmlns:a16="http://schemas.microsoft.com/office/drawing/2014/main" id="{7A5AB965-C5E3-404E-9530-23317B75DC56}"/>
                </a:ext>
              </a:extLst>
            </p:cNvPr>
            <p:cNvGrpSpPr/>
            <p:nvPr/>
          </p:nvGrpSpPr>
          <p:grpSpPr>
            <a:xfrm>
              <a:off x="497863" y="2178151"/>
              <a:ext cx="11311322" cy="3228088"/>
              <a:chOff x="440340" y="2189767"/>
              <a:chExt cx="11311322" cy="3228088"/>
            </a:xfrm>
          </p:grpSpPr>
          <p:sp>
            <p:nvSpPr>
              <p:cNvPr id="685" name="Shape 685"/>
              <p:cNvSpPr/>
              <p:nvPr/>
            </p:nvSpPr>
            <p:spPr>
              <a:xfrm>
                <a:off x="3554743" y="2189767"/>
                <a:ext cx="5086896" cy="3228088"/>
              </a:xfrm>
              <a:prstGeom prst="rect">
                <a:avLst/>
              </a:prstGeom>
              <a:solidFill>
                <a:srgbClr val="A6AAA9"/>
              </a:soli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grpSp>
            <p:nvGrpSpPr>
              <p:cNvPr id="689" name="Group 689"/>
              <p:cNvGrpSpPr/>
              <p:nvPr/>
            </p:nvGrpSpPr>
            <p:grpSpPr>
              <a:xfrm>
                <a:off x="4106810" y="2578312"/>
                <a:ext cx="997701" cy="997702"/>
                <a:chOff x="0" y="0"/>
                <a:chExt cx="1995400" cy="1995400"/>
              </a:xfrm>
            </p:grpSpPr>
            <p:sp>
              <p:nvSpPr>
                <p:cNvPr id="687" name="Shape 687"/>
                <p:cNvSpPr/>
                <p:nvPr/>
              </p:nvSpPr>
              <p:spPr>
                <a:xfrm>
                  <a:off x="0" y="0"/>
                  <a:ext cx="1995401" cy="1995401"/>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688" name="Shape 688"/>
                <p:cNvSpPr/>
                <p:nvPr/>
              </p:nvSpPr>
              <p:spPr>
                <a:xfrm>
                  <a:off x="504893" y="522176"/>
                  <a:ext cx="1066025" cy="1005292"/>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rmAutofit/>
                </a:bodyPr>
                <a:lstStyle>
                  <a:lvl1pPr algn="ctr" defTabSz="726440">
                    <a:defRPr sz="5280" cap="all">
                      <a:solidFill>
                        <a:srgbClr val="282A40"/>
                      </a:solidFill>
                      <a:latin typeface="Avenir Next Demi Bold"/>
                      <a:ea typeface="Avenir Next Demi Bold"/>
                      <a:cs typeface="Avenir Next Demi Bold"/>
                      <a:sym typeface="Avenir Next Demi Bold"/>
                    </a:defRPr>
                  </a:lvl1pPr>
                </a:lstStyle>
                <a:p>
                  <a:r>
                    <a:rPr sz="2640" dirty="0">
                      <a:latin typeface="+mn-lt"/>
                    </a:rPr>
                    <a:t>1</a:t>
                  </a:r>
                </a:p>
              </p:txBody>
            </p:sp>
          </p:grpSp>
          <p:sp>
            <p:nvSpPr>
              <p:cNvPr id="690" name="Shape 690"/>
              <p:cNvSpPr/>
              <p:nvPr/>
            </p:nvSpPr>
            <p:spPr>
              <a:xfrm>
                <a:off x="897463" y="2550908"/>
                <a:ext cx="2382336" cy="1088419"/>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Autofit/>
              </a:bodyPr>
              <a:lstStyle/>
              <a:p>
                <a:pPr algn="just"/>
                <a:r>
                  <a:rPr lang="en-US" sz="1600" b="1" i="0" dirty="0">
                    <a:solidFill>
                      <a:srgbClr val="652D74"/>
                    </a:solidFill>
                    <a:effectLst/>
                    <a:latin typeface="Book Antiqua" panose="02040602050305030304" pitchFamily="18" charset="0"/>
                  </a:rPr>
                  <a:t>Senior Citizen Status Insight: Senior citizens are more likely to churn than non-senior citizens.</a:t>
                </a:r>
              </a:p>
            </p:txBody>
          </p:sp>
          <p:grpSp>
            <p:nvGrpSpPr>
              <p:cNvPr id="695" name="Group 695"/>
              <p:cNvGrpSpPr/>
              <p:nvPr/>
            </p:nvGrpSpPr>
            <p:grpSpPr>
              <a:xfrm>
                <a:off x="7076675" y="2578312"/>
                <a:ext cx="997701" cy="997702"/>
                <a:chOff x="0" y="0"/>
                <a:chExt cx="1995400" cy="1995400"/>
              </a:xfrm>
            </p:grpSpPr>
            <p:sp>
              <p:nvSpPr>
                <p:cNvPr id="693" name="Shape 693"/>
                <p:cNvSpPr/>
                <p:nvPr/>
              </p:nvSpPr>
              <p:spPr>
                <a:xfrm>
                  <a:off x="0" y="0"/>
                  <a:ext cx="1995401" cy="1995401"/>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694" name="Shape 694"/>
                <p:cNvSpPr/>
                <p:nvPr/>
              </p:nvSpPr>
              <p:spPr>
                <a:xfrm>
                  <a:off x="504893" y="522176"/>
                  <a:ext cx="1066025" cy="1005292"/>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rmAutofit/>
                </a:bodyPr>
                <a:lstStyle>
                  <a:lvl1pPr algn="ctr" defTabSz="726440">
                    <a:defRPr sz="5280" cap="all">
                      <a:solidFill>
                        <a:srgbClr val="282A40"/>
                      </a:solidFill>
                      <a:latin typeface="Avenir Next Demi Bold"/>
                      <a:ea typeface="Avenir Next Demi Bold"/>
                      <a:cs typeface="Avenir Next Demi Bold"/>
                      <a:sym typeface="Avenir Next Demi Bold"/>
                    </a:defRPr>
                  </a:lvl1pPr>
                </a:lstStyle>
                <a:p>
                  <a:r>
                    <a:rPr sz="2640" dirty="0">
                      <a:latin typeface="+mn-lt"/>
                    </a:rPr>
                    <a:t>3</a:t>
                  </a:r>
                </a:p>
              </p:txBody>
            </p:sp>
          </p:grpSp>
          <p:grpSp>
            <p:nvGrpSpPr>
              <p:cNvPr id="701" name="Group 701"/>
              <p:cNvGrpSpPr/>
              <p:nvPr/>
            </p:nvGrpSpPr>
            <p:grpSpPr>
              <a:xfrm>
                <a:off x="4111190" y="4022374"/>
                <a:ext cx="997701" cy="997702"/>
                <a:chOff x="0" y="0"/>
                <a:chExt cx="1995400" cy="1995400"/>
              </a:xfrm>
            </p:grpSpPr>
            <p:sp>
              <p:nvSpPr>
                <p:cNvPr id="699" name="Shape 699"/>
                <p:cNvSpPr/>
                <p:nvPr/>
              </p:nvSpPr>
              <p:spPr>
                <a:xfrm>
                  <a:off x="0" y="0"/>
                  <a:ext cx="1995401" cy="1995401"/>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700" name="Shape 700"/>
                <p:cNvSpPr/>
                <p:nvPr/>
              </p:nvSpPr>
              <p:spPr>
                <a:xfrm>
                  <a:off x="504893" y="522176"/>
                  <a:ext cx="1066025" cy="1005292"/>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rmAutofit/>
                </a:bodyPr>
                <a:lstStyle>
                  <a:lvl1pPr algn="ctr" defTabSz="726440">
                    <a:defRPr sz="5280" cap="all">
                      <a:solidFill>
                        <a:srgbClr val="282A40"/>
                      </a:solidFill>
                      <a:latin typeface="Avenir Next Demi Bold"/>
                      <a:ea typeface="Avenir Next Demi Bold"/>
                      <a:cs typeface="Avenir Next Demi Bold"/>
                      <a:sym typeface="Avenir Next Demi Bold"/>
                    </a:defRPr>
                  </a:lvl1pPr>
                </a:lstStyle>
                <a:p>
                  <a:r>
                    <a:rPr sz="2640" dirty="0">
                      <a:latin typeface="+mn-lt"/>
                    </a:rPr>
                    <a:t>2</a:t>
                  </a:r>
                </a:p>
              </p:txBody>
            </p:sp>
          </p:grpSp>
          <p:grpSp>
            <p:nvGrpSpPr>
              <p:cNvPr id="2" name="Group 1">
                <a:extLst>
                  <a:ext uri="{FF2B5EF4-FFF2-40B4-BE49-F238E27FC236}">
                    <a16:creationId xmlns:a16="http://schemas.microsoft.com/office/drawing/2014/main" id="{8E2FADEE-30A8-4D80-A7EE-BDBD3928F35B}"/>
                  </a:ext>
                </a:extLst>
              </p:cNvPr>
              <p:cNvGrpSpPr/>
              <p:nvPr/>
            </p:nvGrpSpPr>
            <p:grpSpPr>
              <a:xfrm>
                <a:off x="440340" y="2448166"/>
                <a:ext cx="11311322" cy="2702057"/>
                <a:chOff x="440340" y="2448166"/>
                <a:chExt cx="11311322" cy="2702057"/>
              </a:xfrm>
            </p:grpSpPr>
            <p:sp>
              <p:nvSpPr>
                <p:cNvPr id="686" name="Shape 686"/>
                <p:cNvSpPr/>
                <p:nvPr/>
              </p:nvSpPr>
              <p:spPr>
                <a:xfrm>
                  <a:off x="440340" y="2448166"/>
                  <a:ext cx="4788812" cy="1257995"/>
                </a:xfrm>
                <a:prstGeom prst="roundRect">
                  <a:avLst>
                    <a:gd name="adj" fmla="val 50000"/>
                  </a:avLst>
                </a:prstGeom>
                <a:noFill/>
                <a:ln w="76200" cap="flat">
                  <a:solidFill>
                    <a:srgbClr val="343750"/>
                  </a:solidFill>
                  <a:prstDash val="solid"/>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692" name="Shape 692"/>
                <p:cNvSpPr/>
                <p:nvPr/>
              </p:nvSpPr>
              <p:spPr>
                <a:xfrm>
                  <a:off x="6958470" y="2448166"/>
                  <a:ext cx="4788812" cy="1257995"/>
                </a:xfrm>
                <a:prstGeom prst="roundRect">
                  <a:avLst>
                    <a:gd name="adj" fmla="val 50000"/>
                  </a:avLst>
                </a:prstGeom>
                <a:noFill/>
                <a:ln w="76200" cap="flat">
                  <a:solidFill>
                    <a:srgbClr val="343750"/>
                  </a:solidFill>
                  <a:prstDash val="solid"/>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698" name="Shape 698"/>
                <p:cNvSpPr/>
                <p:nvPr/>
              </p:nvSpPr>
              <p:spPr>
                <a:xfrm>
                  <a:off x="444720" y="3892228"/>
                  <a:ext cx="4788812" cy="1257995"/>
                </a:xfrm>
                <a:prstGeom prst="roundRect">
                  <a:avLst>
                    <a:gd name="adj" fmla="val 50000"/>
                  </a:avLst>
                </a:prstGeom>
                <a:noFill/>
                <a:ln w="76200" cap="flat">
                  <a:solidFill>
                    <a:srgbClr val="343750"/>
                  </a:solidFill>
                  <a:prstDash val="solid"/>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704" name="Shape 704"/>
                <p:cNvSpPr/>
                <p:nvPr/>
              </p:nvSpPr>
              <p:spPr>
                <a:xfrm>
                  <a:off x="6962850" y="3892228"/>
                  <a:ext cx="4788812" cy="1257995"/>
                </a:xfrm>
                <a:prstGeom prst="roundRect">
                  <a:avLst>
                    <a:gd name="adj" fmla="val 50000"/>
                  </a:avLst>
                </a:prstGeom>
                <a:noFill/>
                <a:ln w="76200" cap="flat">
                  <a:solidFill>
                    <a:srgbClr val="343750"/>
                  </a:solidFill>
                  <a:prstDash val="solid"/>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grpSp>
          <p:grpSp>
            <p:nvGrpSpPr>
              <p:cNvPr id="707" name="Group 707"/>
              <p:cNvGrpSpPr/>
              <p:nvPr/>
            </p:nvGrpSpPr>
            <p:grpSpPr>
              <a:xfrm>
                <a:off x="7081055" y="4022374"/>
                <a:ext cx="997701" cy="997702"/>
                <a:chOff x="0" y="0"/>
                <a:chExt cx="1995400" cy="1995400"/>
              </a:xfrm>
            </p:grpSpPr>
            <p:sp>
              <p:nvSpPr>
                <p:cNvPr id="705" name="Shape 705"/>
                <p:cNvSpPr/>
                <p:nvPr/>
              </p:nvSpPr>
              <p:spPr>
                <a:xfrm>
                  <a:off x="0" y="0"/>
                  <a:ext cx="1995401" cy="1995401"/>
                </a:xfrm>
                <a:prstGeom prst="ellipse">
                  <a:avLst/>
                </a:prstGeom>
                <a:gradFill flip="none" rotWithShape="1">
                  <a:gsLst>
                    <a:gs pos="0">
                      <a:srgbClr val="A4AADB"/>
                    </a:gs>
                    <a:gs pos="100000">
                      <a:srgbClr val="E583B7"/>
                    </a:gs>
                  </a:gsLst>
                  <a:lin ang="2911681" scaled="0"/>
                </a:gra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sp>
              <p:nvSpPr>
                <p:cNvPr id="706" name="Shape 706"/>
                <p:cNvSpPr/>
                <p:nvPr/>
              </p:nvSpPr>
              <p:spPr>
                <a:xfrm>
                  <a:off x="504893" y="522176"/>
                  <a:ext cx="1066025" cy="1005292"/>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rmAutofit/>
                </a:bodyPr>
                <a:lstStyle>
                  <a:lvl1pPr algn="ctr" defTabSz="726440">
                    <a:defRPr sz="5280" cap="all">
                      <a:solidFill>
                        <a:srgbClr val="282A40"/>
                      </a:solidFill>
                      <a:latin typeface="Avenir Next Demi Bold"/>
                      <a:ea typeface="Avenir Next Demi Bold"/>
                      <a:cs typeface="Avenir Next Demi Bold"/>
                      <a:sym typeface="Avenir Next Demi Bold"/>
                    </a:defRPr>
                  </a:lvl1pPr>
                </a:lstStyle>
                <a:p>
                  <a:r>
                    <a:rPr sz="2640" dirty="0">
                      <a:latin typeface="+mn-lt"/>
                    </a:rPr>
                    <a:t>4</a:t>
                  </a:r>
                </a:p>
              </p:txBody>
            </p:sp>
          </p:grpSp>
          <p:sp>
            <p:nvSpPr>
              <p:cNvPr id="247" name="Shape 690">
                <a:extLst>
                  <a:ext uri="{FF2B5EF4-FFF2-40B4-BE49-F238E27FC236}">
                    <a16:creationId xmlns:a16="http://schemas.microsoft.com/office/drawing/2014/main" id="{C79B79D7-5F9C-4C6E-8C5A-6D5F5B0700BC}"/>
                  </a:ext>
                </a:extLst>
              </p:cNvPr>
              <p:cNvSpPr/>
              <p:nvPr/>
            </p:nvSpPr>
            <p:spPr>
              <a:xfrm>
                <a:off x="859735" y="4018848"/>
                <a:ext cx="2382336" cy="1088419"/>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Autofit/>
              </a:bodyPr>
              <a:lstStyle/>
              <a:p>
                <a:pPr algn="just"/>
                <a:r>
                  <a:rPr lang="en-US" sz="1600" b="1" i="0" dirty="0">
                    <a:solidFill>
                      <a:srgbClr val="652D74"/>
                    </a:solidFill>
                    <a:effectLst/>
                    <a:latin typeface="Book Antiqua" panose="02040602050305030304" pitchFamily="18" charset="0"/>
                  </a:rPr>
                  <a:t>Payment Methods Insight: Customers paying via Electronic Check have the highest churn rate. </a:t>
                </a:r>
              </a:p>
            </p:txBody>
          </p:sp>
          <p:sp>
            <p:nvSpPr>
              <p:cNvPr id="248" name="Shape 690">
                <a:extLst>
                  <a:ext uri="{FF2B5EF4-FFF2-40B4-BE49-F238E27FC236}">
                    <a16:creationId xmlns:a16="http://schemas.microsoft.com/office/drawing/2014/main" id="{236A7FA6-6BBF-4A67-BD03-443A9C64CCC6}"/>
                  </a:ext>
                </a:extLst>
              </p:cNvPr>
              <p:cNvSpPr/>
              <p:nvPr/>
            </p:nvSpPr>
            <p:spPr>
              <a:xfrm>
                <a:off x="8858092" y="2563955"/>
                <a:ext cx="2461266" cy="1088419"/>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Autofit/>
              </a:bodyPr>
              <a:lstStyle/>
              <a:p>
                <a:pPr algn="just"/>
                <a:r>
                  <a:rPr lang="en-US" sz="1600" b="1" i="0" dirty="0">
                    <a:solidFill>
                      <a:srgbClr val="652D74"/>
                    </a:solidFill>
                    <a:effectLst/>
                    <a:latin typeface="Book Antiqua" panose="02040602050305030304" pitchFamily="18" charset="0"/>
                  </a:rPr>
                  <a:t>Monthly Charges Insight: Customers with higher Monthly Charges are more likely to churn.</a:t>
                </a:r>
              </a:p>
            </p:txBody>
          </p:sp>
          <p:sp>
            <p:nvSpPr>
              <p:cNvPr id="249" name="Shape 690">
                <a:extLst>
                  <a:ext uri="{FF2B5EF4-FFF2-40B4-BE49-F238E27FC236}">
                    <a16:creationId xmlns:a16="http://schemas.microsoft.com/office/drawing/2014/main" id="{08EFDD7E-9E4E-401B-95CB-6F88E0393963}"/>
                  </a:ext>
                </a:extLst>
              </p:cNvPr>
              <p:cNvSpPr/>
              <p:nvPr/>
            </p:nvSpPr>
            <p:spPr>
              <a:xfrm>
                <a:off x="8839488" y="3891357"/>
                <a:ext cx="2514461" cy="1088419"/>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19050" tIns="19050" rIns="19050" bIns="19050" numCol="1" anchor="t">
                <a:noAutofit/>
              </a:bodyPr>
              <a:lstStyle/>
              <a:p>
                <a:pPr algn="just"/>
                <a:r>
                  <a:rPr lang="en-US" sz="1600" b="1" i="0" dirty="0">
                    <a:solidFill>
                      <a:srgbClr val="652D74"/>
                    </a:solidFill>
                    <a:effectLst/>
                    <a:latin typeface="Book Antiqua" panose="02040602050305030304" pitchFamily="18" charset="0"/>
                  </a:rPr>
                  <a:t>Customers with low Total Charges are more likely to churn. These are typically new customers with shorter tenures.</a:t>
                </a:r>
              </a:p>
            </p:txBody>
          </p:sp>
        </p:grpSp>
      </p:grpSp>
      <p:sp>
        <p:nvSpPr>
          <p:cNvPr id="250" name="Rectangle 249">
            <a:extLst>
              <a:ext uri="{FF2B5EF4-FFF2-40B4-BE49-F238E27FC236}">
                <a16:creationId xmlns:a16="http://schemas.microsoft.com/office/drawing/2014/main" id="{BC74A143-B628-47A2-B60C-721108E72451}"/>
              </a:ext>
            </a:extLst>
          </p:cNvPr>
          <p:cNvSpPr/>
          <p:nvPr/>
        </p:nvSpPr>
        <p:spPr>
          <a:xfrm>
            <a:off x="-11378" y="5095253"/>
            <a:ext cx="12203378" cy="1767149"/>
          </a:xfrm>
          <a:prstGeom prst="rect">
            <a:avLst/>
          </a:prstGeom>
          <a:gradFill>
            <a:gsLst>
              <a:gs pos="39000">
                <a:srgbClr val="7C3174">
                  <a:alpha val="47000"/>
                </a:srgbClr>
              </a:gs>
              <a:gs pos="21000">
                <a:schemeClr val="accent1">
                  <a:alpha val="85000"/>
                </a:schemeClr>
              </a:gs>
              <a:gs pos="86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extBox 3">
            <a:extLst>
              <a:ext uri="{FF2B5EF4-FFF2-40B4-BE49-F238E27FC236}">
                <a16:creationId xmlns:a16="http://schemas.microsoft.com/office/drawing/2014/main" id="{CD7FA57A-70AA-46D6-8939-1B6B935BE9B8}"/>
              </a:ext>
            </a:extLst>
          </p:cNvPr>
          <p:cNvSpPr txBox="1"/>
          <p:nvPr/>
        </p:nvSpPr>
        <p:spPr>
          <a:xfrm>
            <a:off x="110191" y="5124832"/>
            <a:ext cx="11925261" cy="1754326"/>
          </a:xfrm>
          <a:prstGeom prst="rect">
            <a:avLst/>
          </a:prstGeom>
          <a:noFill/>
        </p:spPr>
        <p:txBody>
          <a:bodyPr wrap="square" rtlCol="0">
            <a:spAutoFit/>
          </a:bodyPr>
          <a:lstStyle/>
          <a:p>
            <a:r>
              <a:rPr lang="en-US" b="0" i="0" dirty="0">
                <a:solidFill>
                  <a:schemeClr val="bg1"/>
                </a:solidFill>
                <a:effectLst/>
                <a:latin typeface="Book Antiqua" panose="02040602050305030304" pitchFamily="18" charset="0"/>
              </a:rPr>
              <a:t>    </a:t>
            </a:r>
          </a:p>
          <a:p>
            <a:r>
              <a:rPr lang="en-US" b="0" i="0" dirty="0">
                <a:solidFill>
                  <a:schemeClr val="bg1"/>
                </a:solidFill>
                <a:effectLst/>
                <a:latin typeface="Book Antiqua" panose="02040602050305030304" pitchFamily="18" charset="0"/>
              </a:rPr>
              <a:t>▪️ Average **monthly charges** is higher for customers who churn</a:t>
            </a:r>
          </a:p>
          <a:p>
            <a:r>
              <a:rPr lang="en-US" b="0" i="0" dirty="0">
                <a:solidFill>
                  <a:schemeClr val="bg1"/>
                </a:solidFill>
                <a:effectLst/>
                <a:latin typeface="Book Antiqua" panose="02040602050305030304" pitchFamily="18" charset="0"/>
              </a:rPr>
              <a:t> ▪️ Average **tenure** is shorter for customers who churn</a:t>
            </a:r>
          </a:p>
          <a:p>
            <a:r>
              <a:rPr lang="en-US" b="0" i="0" dirty="0">
                <a:solidFill>
                  <a:schemeClr val="bg1"/>
                </a:solidFill>
                <a:effectLst/>
                <a:latin typeface="Book Antiqua" panose="02040602050305030304" pitchFamily="18" charset="0"/>
              </a:rPr>
              <a:t> ▪️ Additional services (device protection, online security, online backup, tech support, streaming tv, streaming movies) are dependent on churn</a:t>
            </a:r>
          </a:p>
          <a:p>
            <a:endParaRPr lang="en-IL" dirty="0">
              <a:solidFill>
                <a:schemeClr val="bg1"/>
              </a:solidFill>
              <a:latin typeface="Book Antiqua" panose="02040602050305030304" pitchFamily="18" charset="0"/>
            </a:endParaRPr>
          </a:p>
        </p:txBody>
      </p:sp>
      <p:sp>
        <p:nvSpPr>
          <p:cNvPr id="246" name="Slide Number Placeholder 3">
            <a:extLst>
              <a:ext uri="{FF2B5EF4-FFF2-40B4-BE49-F238E27FC236}">
                <a16:creationId xmlns:a16="http://schemas.microsoft.com/office/drawing/2014/main" id="{83AD0E08-0834-4122-9F50-DBD1E4277E81}"/>
              </a:ext>
            </a:extLst>
          </p:cNvPr>
          <p:cNvSpPr txBox="1">
            <a:spLocks/>
          </p:cNvSpPr>
          <p:nvPr/>
        </p:nvSpPr>
        <p:spPr>
          <a:xfrm>
            <a:off x="11658612" y="6369817"/>
            <a:ext cx="367408" cy="27699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B84D2E29-67F4-44D8-B0E3-F54815B4F123}" type="slidenum">
              <a:rPr lang="en-US" sz="1200" smtClean="0">
                <a:solidFill>
                  <a:prstClr val="white"/>
                </a:solidFill>
                <a:latin typeface="Calibri" panose="020F0502020204030204"/>
              </a:rPr>
              <a:pPr algn="ctr"/>
              <a:t>25</a:t>
            </a:fld>
            <a:endParaRPr lang="en-US" sz="1200" dirty="0">
              <a:solidFill>
                <a:prstClr val="white"/>
              </a:solidFill>
              <a:latin typeface="Calibri" panose="020F0502020204030204"/>
            </a:endParaRPr>
          </a:p>
        </p:txBody>
      </p:sp>
    </p:spTree>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4">
            <a:extLst>
              <a:ext uri="{FF2B5EF4-FFF2-40B4-BE49-F238E27FC236}">
                <a16:creationId xmlns:a16="http://schemas.microsoft.com/office/drawing/2014/main" id="{8BE74FEE-4E67-4F3C-B002-6850A242377E}"/>
              </a:ext>
            </a:extLst>
          </p:cNvPr>
          <p:cNvSpPr/>
          <p:nvPr/>
        </p:nvSpPr>
        <p:spPr>
          <a:xfrm rot="10800000" flipV="1">
            <a:off x="-38912" y="-21499"/>
            <a:ext cx="12168077" cy="6789451"/>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 name="connsiteX0" fmla="*/ 0 w 4735061"/>
              <a:gd name="connsiteY0" fmla="*/ 0 h 1227503"/>
              <a:gd name="connsiteX1" fmla="*/ 4735061 w 4735061"/>
              <a:gd name="connsiteY1" fmla="*/ 2272 h 1227503"/>
              <a:gd name="connsiteX2" fmla="*/ 4735061 w 4735061"/>
              <a:gd name="connsiteY2" fmla="*/ 1128124 h 1227503"/>
              <a:gd name="connsiteX3" fmla="*/ 3440744 w 4735061"/>
              <a:gd name="connsiteY3" fmla="*/ 772982 h 1227503"/>
              <a:gd name="connsiteX4" fmla="*/ 0 w 4735061"/>
              <a:gd name="connsiteY4" fmla="*/ 0 h 1227503"/>
              <a:gd name="connsiteX0" fmla="*/ 0 w 4942986"/>
              <a:gd name="connsiteY0" fmla="*/ 2291 h 1225136"/>
              <a:gd name="connsiteX1" fmla="*/ 4942986 w 4942986"/>
              <a:gd name="connsiteY1" fmla="*/ 0 h 1225136"/>
              <a:gd name="connsiteX2" fmla="*/ 4942986 w 4942986"/>
              <a:gd name="connsiteY2" fmla="*/ 1125852 h 1225136"/>
              <a:gd name="connsiteX3" fmla="*/ 3648669 w 4942986"/>
              <a:gd name="connsiteY3" fmla="*/ 770710 h 1225136"/>
              <a:gd name="connsiteX4" fmla="*/ 0 w 4942986"/>
              <a:gd name="connsiteY4" fmla="*/ 2291 h 1225136"/>
              <a:gd name="connsiteX0" fmla="*/ 0 w 4946641"/>
              <a:gd name="connsiteY0" fmla="*/ 2291 h 1196363"/>
              <a:gd name="connsiteX1" fmla="*/ 4942986 w 4946641"/>
              <a:gd name="connsiteY1" fmla="*/ 0 h 1196363"/>
              <a:gd name="connsiteX2" fmla="*/ 4946641 w 4946641"/>
              <a:gd name="connsiteY2" fmla="*/ 1093112 h 1196363"/>
              <a:gd name="connsiteX3" fmla="*/ 3648669 w 4946641"/>
              <a:gd name="connsiteY3" fmla="*/ 770710 h 1196363"/>
              <a:gd name="connsiteX4" fmla="*/ 0 w 4946641"/>
              <a:gd name="connsiteY4" fmla="*/ 2291 h 1196363"/>
              <a:gd name="connsiteX0" fmla="*/ 0 w 4946813"/>
              <a:gd name="connsiteY0" fmla="*/ 2291 h 1096359"/>
              <a:gd name="connsiteX1" fmla="*/ 4942986 w 4946813"/>
              <a:gd name="connsiteY1" fmla="*/ 0 h 1096359"/>
              <a:gd name="connsiteX2" fmla="*/ 4946641 w 4946813"/>
              <a:gd name="connsiteY2" fmla="*/ 1093112 h 1096359"/>
              <a:gd name="connsiteX3" fmla="*/ 3648669 w 4946813"/>
              <a:gd name="connsiteY3" fmla="*/ 770710 h 1096359"/>
              <a:gd name="connsiteX4" fmla="*/ 0 w 4946813"/>
              <a:gd name="connsiteY4" fmla="*/ 2291 h 1096359"/>
              <a:gd name="connsiteX0" fmla="*/ 0 w 4946641"/>
              <a:gd name="connsiteY0" fmla="*/ 2291 h 1093606"/>
              <a:gd name="connsiteX1" fmla="*/ 4942986 w 4946641"/>
              <a:gd name="connsiteY1" fmla="*/ 0 h 1093606"/>
              <a:gd name="connsiteX2" fmla="*/ 4946641 w 4946641"/>
              <a:gd name="connsiteY2" fmla="*/ 1093112 h 1093606"/>
              <a:gd name="connsiteX3" fmla="*/ 3648669 w 4946641"/>
              <a:gd name="connsiteY3" fmla="*/ 770710 h 1093606"/>
              <a:gd name="connsiteX4" fmla="*/ 0 w 4946641"/>
              <a:gd name="connsiteY4" fmla="*/ 2291 h 1093606"/>
              <a:gd name="connsiteX0" fmla="*/ 0 w 4961262"/>
              <a:gd name="connsiteY0" fmla="*/ 2291 h 1180759"/>
              <a:gd name="connsiteX1" fmla="*/ 4942986 w 4961262"/>
              <a:gd name="connsiteY1" fmla="*/ 0 h 1180759"/>
              <a:gd name="connsiteX2" fmla="*/ 4961262 w 4961262"/>
              <a:gd name="connsiteY2" fmla="*/ 1180419 h 1180759"/>
              <a:gd name="connsiteX3" fmla="*/ 3648669 w 4961262"/>
              <a:gd name="connsiteY3" fmla="*/ 770710 h 1180759"/>
              <a:gd name="connsiteX4" fmla="*/ 0 w 4961262"/>
              <a:gd name="connsiteY4" fmla="*/ 2291 h 1180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1262" h="1180759">
                <a:moveTo>
                  <a:pt x="0" y="2291"/>
                </a:moveTo>
                <a:lnTo>
                  <a:pt x="4942986" y="0"/>
                </a:lnTo>
                <a:cubicBezTo>
                  <a:pt x="4942986" y="375284"/>
                  <a:pt x="4961262" y="805135"/>
                  <a:pt x="4961262" y="1180419"/>
                </a:cubicBezTo>
                <a:cubicBezTo>
                  <a:pt x="4953653" y="1190683"/>
                  <a:pt x="4475546" y="967065"/>
                  <a:pt x="3648669" y="770710"/>
                </a:cubicBezTo>
                <a:cubicBezTo>
                  <a:pt x="2821792" y="574355"/>
                  <a:pt x="59199" y="95595"/>
                  <a:pt x="0" y="2291"/>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4" name="Group 3">
            <a:extLst>
              <a:ext uri="{FF2B5EF4-FFF2-40B4-BE49-F238E27FC236}">
                <a16:creationId xmlns:a16="http://schemas.microsoft.com/office/drawing/2014/main" id="{50146423-9FDD-46BF-908E-39E491A96068}"/>
              </a:ext>
            </a:extLst>
          </p:cNvPr>
          <p:cNvGrpSpPr/>
          <p:nvPr/>
        </p:nvGrpSpPr>
        <p:grpSpPr>
          <a:xfrm>
            <a:off x="495300" y="1377623"/>
            <a:ext cx="11478538" cy="2803059"/>
            <a:chOff x="436853" y="1671664"/>
            <a:chExt cx="11478538" cy="2803059"/>
          </a:xfrm>
        </p:grpSpPr>
        <p:sp>
          <p:nvSpPr>
            <p:cNvPr id="13" name="Rectangle 12">
              <a:extLst>
                <a:ext uri="{FF2B5EF4-FFF2-40B4-BE49-F238E27FC236}">
                  <a16:creationId xmlns:a16="http://schemas.microsoft.com/office/drawing/2014/main" id="{55946995-D1EF-4610-84D6-B797CC531F8B}"/>
                </a:ext>
              </a:extLst>
            </p:cNvPr>
            <p:cNvSpPr/>
            <p:nvPr/>
          </p:nvSpPr>
          <p:spPr>
            <a:xfrm>
              <a:off x="436853" y="1671664"/>
              <a:ext cx="11478538" cy="2803059"/>
            </a:xfrm>
            <a:prstGeom prst="rect">
              <a:avLst/>
            </a:prstGeom>
            <a:solidFill>
              <a:srgbClr val="8D19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Chart 15">
              <a:extLst>
                <a:ext uri="{FF2B5EF4-FFF2-40B4-BE49-F238E27FC236}">
                  <a16:creationId xmlns:a16="http://schemas.microsoft.com/office/drawing/2014/main" id="{BE358BCF-8B9E-4762-AD20-2DB51BE650C3}"/>
                </a:ext>
              </a:extLst>
            </p:cNvPr>
            <p:cNvGraphicFramePr/>
            <p:nvPr>
              <p:extLst>
                <p:ext uri="{D42A27DB-BD31-4B8C-83A1-F6EECF244321}">
                  <p14:modId xmlns:p14="http://schemas.microsoft.com/office/powerpoint/2010/main" val="595939886"/>
                </p:ext>
              </p:extLst>
            </p:nvPr>
          </p:nvGraphicFramePr>
          <p:xfrm>
            <a:off x="984423" y="2026676"/>
            <a:ext cx="2149474" cy="2163233"/>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a:extLst>
                <a:ext uri="{FF2B5EF4-FFF2-40B4-BE49-F238E27FC236}">
                  <a16:creationId xmlns:a16="http://schemas.microsoft.com/office/drawing/2014/main" id="{8390A144-772C-4E72-95E8-443C501A795D}"/>
                </a:ext>
              </a:extLst>
            </p:cNvPr>
            <p:cNvGrpSpPr/>
            <p:nvPr/>
          </p:nvGrpSpPr>
          <p:grpSpPr>
            <a:xfrm>
              <a:off x="1873662" y="2898052"/>
              <a:ext cx="479643" cy="420479"/>
              <a:chOff x="7718425" y="3640138"/>
              <a:chExt cx="360363" cy="315913"/>
            </a:xfrm>
            <a:solidFill>
              <a:schemeClr val="bg1"/>
            </a:solidFill>
            <a:effectLst>
              <a:outerShdw blurRad="50800" dist="38100" dir="2700000" algn="tl" rotWithShape="0">
                <a:prstClr val="black">
                  <a:alpha val="40000"/>
                </a:prstClr>
              </a:outerShdw>
            </a:effectLst>
          </p:grpSpPr>
          <p:sp>
            <p:nvSpPr>
              <p:cNvPr id="25" name="Freeform 49">
                <a:extLst>
                  <a:ext uri="{FF2B5EF4-FFF2-40B4-BE49-F238E27FC236}">
                    <a16:creationId xmlns:a16="http://schemas.microsoft.com/office/drawing/2014/main" id="{1C097164-A0F1-40CA-9AF9-0CD9CC4173BA}"/>
                  </a:ext>
                </a:extLst>
              </p:cNvPr>
              <p:cNvSpPr>
                <a:spLocks noEditPoints="1"/>
              </p:cNvSpPr>
              <p:nvPr/>
            </p:nvSpPr>
            <p:spPr bwMode="auto">
              <a:xfrm>
                <a:off x="7718425" y="3865563"/>
                <a:ext cx="360363" cy="90488"/>
              </a:xfrm>
              <a:custGeom>
                <a:avLst/>
                <a:gdLst>
                  <a:gd name="T0" fmla="*/ 0 w 96"/>
                  <a:gd name="T1" fmla="*/ 0 h 24"/>
                  <a:gd name="T2" fmla="*/ 0 w 96"/>
                  <a:gd name="T3" fmla="*/ 8 h 24"/>
                  <a:gd name="T4" fmla="*/ 8 w 96"/>
                  <a:gd name="T5" fmla="*/ 16 h 24"/>
                  <a:gd name="T6" fmla="*/ 46 w 96"/>
                  <a:gd name="T7" fmla="*/ 16 h 24"/>
                  <a:gd name="T8" fmla="*/ 46 w 96"/>
                  <a:gd name="T9" fmla="*/ 20 h 24"/>
                  <a:gd name="T10" fmla="*/ 20 w 96"/>
                  <a:gd name="T11" fmla="*/ 20 h 24"/>
                  <a:gd name="T12" fmla="*/ 18 w 96"/>
                  <a:gd name="T13" fmla="*/ 22 h 24"/>
                  <a:gd name="T14" fmla="*/ 20 w 96"/>
                  <a:gd name="T15" fmla="*/ 24 h 24"/>
                  <a:gd name="T16" fmla="*/ 76 w 96"/>
                  <a:gd name="T17" fmla="*/ 24 h 24"/>
                  <a:gd name="T18" fmla="*/ 78 w 96"/>
                  <a:gd name="T19" fmla="*/ 22 h 24"/>
                  <a:gd name="T20" fmla="*/ 76 w 96"/>
                  <a:gd name="T21" fmla="*/ 20 h 24"/>
                  <a:gd name="T22" fmla="*/ 50 w 96"/>
                  <a:gd name="T23" fmla="*/ 20 h 24"/>
                  <a:gd name="T24" fmla="*/ 50 w 96"/>
                  <a:gd name="T25" fmla="*/ 16 h 24"/>
                  <a:gd name="T26" fmla="*/ 88 w 96"/>
                  <a:gd name="T27" fmla="*/ 16 h 24"/>
                  <a:gd name="T28" fmla="*/ 96 w 96"/>
                  <a:gd name="T29" fmla="*/ 8 h 24"/>
                  <a:gd name="T30" fmla="*/ 96 w 96"/>
                  <a:gd name="T31" fmla="*/ 0 h 24"/>
                  <a:gd name="T32" fmla="*/ 0 w 96"/>
                  <a:gd name="T33" fmla="*/ 0 h 24"/>
                  <a:gd name="T34" fmla="*/ 48 w 96"/>
                  <a:gd name="T35" fmla="*/ 12 h 24"/>
                  <a:gd name="T36" fmla="*/ 44 w 96"/>
                  <a:gd name="T37" fmla="*/ 8 h 24"/>
                  <a:gd name="T38" fmla="*/ 48 w 96"/>
                  <a:gd name="T39" fmla="*/ 4 h 24"/>
                  <a:gd name="T40" fmla="*/ 52 w 96"/>
                  <a:gd name="T41" fmla="*/ 8 h 24"/>
                  <a:gd name="T42" fmla="*/ 48 w 96"/>
                  <a:gd name="T4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24">
                    <a:moveTo>
                      <a:pt x="0" y="0"/>
                    </a:moveTo>
                    <a:cubicBezTo>
                      <a:pt x="0" y="8"/>
                      <a:pt x="0" y="8"/>
                      <a:pt x="0" y="8"/>
                    </a:cubicBezTo>
                    <a:cubicBezTo>
                      <a:pt x="0" y="12"/>
                      <a:pt x="4" y="16"/>
                      <a:pt x="8" y="16"/>
                    </a:cubicBezTo>
                    <a:cubicBezTo>
                      <a:pt x="46" y="16"/>
                      <a:pt x="46" y="16"/>
                      <a:pt x="46" y="16"/>
                    </a:cubicBezTo>
                    <a:cubicBezTo>
                      <a:pt x="46" y="20"/>
                      <a:pt x="46" y="20"/>
                      <a:pt x="46" y="20"/>
                    </a:cubicBezTo>
                    <a:cubicBezTo>
                      <a:pt x="20" y="20"/>
                      <a:pt x="20" y="20"/>
                      <a:pt x="20" y="20"/>
                    </a:cubicBezTo>
                    <a:cubicBezTo>
                      <a:pt x="19" y="20"/>
                      <a:pt x="18" y="21"/>
                      <a:pt x="18" y="22"/>
                    </a:cubicBezTo>
                    <a:cubicBezTo>
                      <a:pt x="18" y="23"/>
                      <a:pt x="19" y="24"/>
                      <a:pt x="20" y="24"/>
                    </a:cubicBezTo>
                    <a:cubicBezTo>
                      <a:pt x="76" y="24"/>
                      <a:pt x="76" y="24"/>
                      <a:pt x="76" y="24"/>
                    </a:cubicBezTo>
                    <a:cubicBezTo>
                      <a:pt x="77" y="24"/>
                      <a:pt x="78" y="23"/>
                      <a:pt x="78" y="22"/>
                    </a:cubicBezTo>
                    <a:cubicBezTo>
                      <a:pt x="78" y="21"/>
                      <a:pt x="77" y="20"/>
                      <a:pt x="76" y="20"/>
                    </a:cubicBezTo>
                    <a:cubicBezTo>
                      <a:pt x="50" y="20"/>
                      <a:pt x="50" y="20"/>
                      <a:pt x="50" y="20"/>
                    </a:cubicBezTo>
                    <a:cubicBezTo>
                      <a:pt x="50" y="16"/>
                      <a:pt x="50" y="16"/>
                      <a:pt x="50" y="16"/>
                    </a:cubicBezTo>
                    <a:cubicBezTo>
                      <a:pt x="88" y="16"/>
                      <a:pt x="88" y="16"/>
                      <a:pt x="88" y="16"/>
                    </a:cubicBezTo>
                    <a:cubicBezTo>
                      <a:pt x="92" y="16"/>
                      <a:pt x="96" y="12"/>
                      <a:pt x="96" y="8"/>
                    </a:cubicBezTo>
                    <a:cubicBezTo>
                      <a:pt x="96" y="0"/>
                      <a:pt x="96" y="0"/>
                      <a:pt x="96" y="0"/>
                    </a:cubicBezTo>
                    <a:lnTo>
                      <a:pt x="0" y="0"/>
                    </a:lnTo>
                    <a:close/>
                    <a:moveTo>
                      <a:pt x="48" y="12"/>
                    </a:moveTo>
                    <a:cubicBezTo>
                      <a:pt x="46" y="12"/>
                      <a:pt x="44" y="10"/>
                      <a:pt x="44" y="8"/>
                    </a:cubicBezTo>
                    <a:cubicBezTo>
                      <a:pt x="44" y="6"/>
                      <a:pt x="46" y="4"/>
                      <a:pt x="48" y="4"/>
                    </a:cubicBezTo>
                    <a:cubicBezTo>
                      <a:pt x="50" y="4"/>
                      <a:pt x="52" y="6"/>
                      <a:pt x="52" y="8"/>
                    </a:cubicBezTo>
                    <a:cubicBezTo>
                      <a:pt x="52" y="10"/>
                      <a:pt x="50"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50">
                <a:extLst>
                  <a:ext uri="{FF2B5EF4-FFF2-40B4-BE49-F238E27FC236}">
                    <a16:creationId xmlns:a16="http://schemas.microsoft.com/office/drawing/2014/main" id="{6BBA8C92-C666-4D74-B819-6C153DF0BB28}"/>
                  </a:ext>
                </a:extLst>
              </p:cNvPr>
              <p:cNvSpPr>
                <a:spLocks noEditPoints="1"/>
              </p:cNvSpPr>
              <p:nvPr/>
            </p:nvSpPr>
            <p:spPr bwMode="auto">
              <a:xfrm>
                <a:off x="7718425" y="3640138"/>
                <a:ext cx="360363" cy="211138"/>
              </a:xfrm>
              <a:custGeom>
                <a:avLst/>
                <a:gdLst>
                  <a:gd name="T0" fmla="*/ 88 w 96"/>
                  <a:gd name="T1" fmla="*/ 0 h 56"/>
                  <a:gd name="T2" fmla="*/ 8 w 96"/>
                  <a:gd name="T3" fmla="*/ 0 h 56"/>
                  <a:gd name="T4" fmla="*/ 0 w 96"/>
                  <a:gd name="T5" fmla="*/ 8 h 56"/>
                  <a:gd name="T6" fmla="*/ 0 w 96"/>
                  <a:gd name="T7" fmla="*/ 56 h 56"/>
                  <a:gd name="T8" fmla="*/ 96 w 96"/>
                  <a:gd name="T9" fmla="*/ 56 h 56"/>
                  <a:gd name="T10" fmla="*/ 96 w 96"/>
                  <a:gd name="T11" fmla="*/ 8 h 56"/>
                  <a:gd name="T12" fmla="*/ 88 w 96"/>
                  <a:gd name="T13" fmla="*/ 0 h 56"/>
                  <a:gd name="T14" fmla="*/ 32 w 96"/>
                  <a:gd name="T15" fmla="*/ 8 h 56"/>
                  <a:gd name="T16" fmla="*/ 43 w 96"/>
                  <a:gd name="T17" fmla="*/ 11 h 56"/>
                  <a:gd name="T18" fmla="*/ 31 w 96"/>
                  <a:gd name="T19" fmla="*/ 28 h 56"/>
                  <a:gd name="T20" fmla="*/ 10 w 96"/>
                  <a:gd name="T21" fmla="*/ 28 h 56"/>
                  <a:gd name="T22" fmla="*/ 32 w 96"/>
                  <a:gd name="T23" fmla="*/ 8 h 56"/>
                  <a:gd name="T24" fmla="*/ 32 w 96"/>
                  <a:gd name="T25" fmla="*/ 52 h 56"/>
                  <a:gd name="T26" fmla="*/ 10 w 96"/>
                  <a:gd name="T27" fmla="*/ 32 h 56"/>
                  <a:gd name="T28" fmla="*/ 31 w 96"/>
                  <a:gd name="T29" fmla="*/ 32 h 56"/>
                  <a:gd name="T30" fmla="*/ 45 w 96"/>
                  <a:gd name="T31" fmla="*/ 48 h 56"/>
                  <a:gd name="T32" fmla="*/ 32 w 96"/>
                  <a:gd name="T33" fmla="*/ 52 h 56"/>
                  <a:gd name="T34" fmla="*/ 48 w 96"/>
                  <a:gd name="T35" fmla="*/ 46 h 56"/>
                  <a:gd name="T36" fmla="*/ 35 w 96"/>
                  <a:gd name="T37" fmla="*/ 30 h 56"/>
                  <a:gd name="T38" fmla="*/ 46 w 96"/>
                  <a:gd name="T39" fmla="*/ 13 h 56"/>
                  <a:gd name="T40" fmla="*/ 54 w 96"/>
                  <a:gd name="T41" fmla="*/ 30 h 56"/>
                  <a:gd name="T42" fmla="*/ 48 w 96"/>
                  <a:gd name="T43" fmla="*/ 46 h 56"/>
                  <a:gd name="T44" fmla="*/ 84 w 96"/>
                  <a:gd name="T45" fmla="*/ 40 h 56"/>
                  <a:gd name="T46" fmla="*/ 60 w 96"/>
                  <a:gd name="T47" fmla="*/ 40 h 56"/>
                  <a:gd name="T48" fmla="*/ 60 w 96"/>
                  <a:gd name="T49" fmla="*/ 36 h 56"/>
                  <a:gd name="T50" fmla="*/ 84 w 96"/>
                  <a:gd name="T51" fmla="*/ 36 h 56"/>
                  <a:gd name="T52" fmla="*/ 84 w 96"/>
                  <a:gd name="T53" fmla="*/ 40 h 56"/>
                  <a:gd name="T54" fmla="*/ 84 w 96"/>
                  <a:gd name="T55" fmla="*/ 28 h 56"/>
                  <a:gd name="T56" fmla="*/ 60 w 96"/>
                  <a:gd name="T57" fmla="*/ 28 h 56"/>
                  <a:gd name="T58" fmla="*/ 60 w 96"/>
                  <a:gd name="T59" fmla="*/ 24 h 56"/>
                  <a:gd name="T60" fmla="*/ 84 w 96"/>
                  <a:gd name="T61" fmla="*/ 24 h 56"/>
                  <a:gd name="T62" fmla="*/ 84 w 96"/>
                  <a:gd name="T63" fmla="*/ 28 h 56"/>
                  <a:gd name="T64" fmla="*/ 84 w 96"/>
                  <a:gd name="T65" fmla="*/ 16 h 56"/>
                  <a:gd name="T66" fmla="*/ 60 w 96"/>
                  <a:gd name="T67" fmla="*/ 16 h 56"/>
                  <a:gd name="T68" fmla="*/ 60 w 96"/>
                  <a:gd name="T69" fmla="*/ 12 h 56"/>
                  <a:gd name="T70" fmla="*/ 84 w 96"/>
                  <a:gd name="T71" fmla="*/ 12 h 56"/>
                  <a:gd name="T72" fmla="*/ 84 w 96"/>
                  <a:gd name="T73" fmla="*/ 1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 h="56">
                    <a:moveTo>
                      <a:pt x="88" y="0"/>
                    </a:moveTo>
                    <a:cubicBezTo>
                      <a:pt x="8" y="0"/>
                      <a:pt x="8" y="0"/>
                      <a:pt x="8" y="0"/>
                    </a:cubicBezTo>
                    <a:cubicBezTo>
                      <a:pt x="4" y="0"/>
                      <a:pt x="0" y="4"/>
                      <a:pt x="0" y="8"/>
                    </a:cubicBezTo>
                    <a:cubicBezTo>
                      <a:pt x="0" y="56"/>
                      <a:pt x="0" y="56"/>
                      <a:pt x="0" y="56"/>
                    </a:cubicBezTo>
                    <a:cubicBezTo>
                      <a:pt x="96" y="56"/>
                      <a:pt x="96" y="56"/>
                      <a:pt x="96" y="56"/>
                    </a:cubicBezTo>
                    <a:cubicBezTo>
                      <a:pt x="96" y="8"/>
                      <a:pt x="96" y="8"/>
                      <a:pt x="96" y="8"/>
                    </a:cubicBezTo>
                    <a:cubicBezTo>
                      <a:pt x="96" y="4"/>
                      <a:pt x="92" y="0"/>
                      <a:pt x="88" y="0"/>
                    </a:cubicBezTo>
                    <a:close/>
                    <a:moveTo>
                      <a:pt x="32" y="8"/>
                    </a:moveTo>
                    <a:cubicBezTo>
                      <a:pt x="36" y="8"/>
                      <a:pt x="40" y="9"/>
                      <a:pt x="43" y="11"/>
                    </a:cubicBezTo>
                    <a:cubicBezTo>
                      <a:pt x="31" y="28"/>
                      <a:pt x="31" y="28"/>
                      <a:pt x="31" y="28"/>
                    </a:cubicBezTo>
                    <a:cubicBezTo>
                      <a:pt x="10" y="28"/>
                      <a:pt x="10" y="28"/>
                      <a:pt x="10" y="28"/>
                    </a:cubicBezTo>
                    <a:cubicBezTo>
                      <a:pt x="11" y="17"/>
                      <a:pt x="21" y="8"/>
                      <a:pt x="32" y="8"/>
                    </a:cubicBezTo>
                    <a:close/>
                    <a:moveTo>
                      <a:pt x="32" y="52"/>
                    </a:moveTo>
                    <a:cubicBezTo>
                      <a:pt x="21" y="52"/>
                      <a:pt x="11" y="43"/>
                      <a:pt x="10" y="32"/>
                    </a:cubicBezTo>
                    <a:cubicBezTo>
                      <a:pt x="31" y="32"/>
                      <a:pt x="31" y="32"/>
                      <a:pt x="31" y="32"/>
                    </a:cubicBezTo>
                    <a:cubicBezTo>
                      <a:pt x="45" y="48"/>
                      <a:pt x="45" y="48"/>
                      <a:pt x="45" y="48"/>
                    </a:cubicBezTo>
                    <a:cubicBezTo>
                      <a:pt x="41" y="51"/>
                      <a:pt x="37" y="52"/>
                      <a:pt x="32" y="52"/>
                    </a:cubicBezTo>
                    <a:close/>
                    <a:moveTo>
                      <a:pt x="48" y="46"/>
                    </a:moveTo>
                    <a:cubicBezTo>
                      <a:pt x="35" y="30"/>
                      <a:pt x="35" y="30"/>
                      <a:pt x="35" y="30"/>
                    </a:cubicBezTo>
                    <a:cubicBezTo>
                      <a:pt x="46" y="13"/>
                      <a:pt x="46" y="13"/>
                      <a:pt x="46" y="13"/>
                    </a:cubicBezTo>
                    <a:cubicBezTo>
                      <a:pt x="51" y="17"/>
                      <a:pt x="54" y="23"/>
                      <a:pt x="54" y="30"/>
                    </a:cubicBezTo>
                    <a:cubicBezTo>
                      <a:pt x="54" y="36"/>
                      <a:pt x="52" y="42"/>
                      <a:pt x="48" y="46"/>
                    </a:cubicBezTo>
                    <a:close/>
                    <a:moveTo>
                      <a:pt x="84" y="40"/>
                    </a:moveTo>
                    <a:cubicBezTo>
                      <a:pt x="60" y="40"/>
                      <a:pt x="60" y="40"/>
                      <a:pt x="60" y="40"/>
                    </a:cubicBezTo>
                    <a:cubicBezTo>
                      <a:pt x="60" y="36"/>
                      <a:pt x="60" y="36"/>
                      <a:pt x="60" y="36"/>
                    </a:cubicBezTo>
                    <a:cubicBezTo>
                      <a:pt x="84" y="36"/>
                      <a:pt x="84" y="36"/>
                      <a:pt x="84" y="36"/>
                    </a:cubicBezTo>
                    <a:lnTo>
                      <a:pt x="84" y="40"/>
                    </a:lnTo>
                    <a:close/>
                    <a:moveTo>
                      <a:pt x="84" y="28"/>
                    </a:moveTo>
                    <a:cubicBezTo>
                      <a:pt x="60" y="28"/>
                      <a:pt x="60" y="28"/>
                      <a:pt x="60" y="28"/>
                    </a:cubicBezTo>
                    <a:cubicBezTo>
                      <a:pt x="60" y="24"/>
                      <a:pt x="60" y="24"/>
                      <a:pt x="60" y="24"/>
                    </a:cubicBezTo>
                    <a:cubicBezTo>
                      <a:pt x="84" y="24"/>
                      <a:pt x="84" y="24"/>
                      <a:pt x="84" y="24"/>
                    </a:cubicBezTo>
                    <a:lnTo>
                      <a:pt x="84" y="28"/>
                    </a:lnTo>
                    <a:close/>
                    <a:moveTo>
                      <a:pt x="84" y="16"/>
                    </a:moveTo>
                    <a:cubicBezTo>
                      <a:pt x="60" y="16"/>
                      <a:pt x="60" y="16"/>
                      <a:pt x="60" y="16"/>
                    </a:cubicBezTo>
                    <a:cubicBezTo>
                      <a:pt x="60" y="12"/>
                      <a:pt x="60" y="12"/>
                      <a:pt x="60" y="12"/>
                    </a:cubicBezTo>
                    <a:cubicBezTo>
                      <a:pt x="84" y="12"/>
                      <a:pt x="84" y="12"/>
                      <a:pt x="84" y="12"/>
                    </a:cubicBezTo>
                    <a:lnTo>
                      <a:pt x="8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graphicFrame>
        <p:nvGraphicFramePr>
          <p:cNvPr id="8" name="Object 7" hidden="1">
            <a:extLst>
              <a:ext uri="{FF2B5EF4-FFF2-40B4-BE49-F238E27FC236}">
                <a16:creationId xmlns:a16="http://schemas.microsoft.com/office/drawing/2014/main" id="{CB33A272-FB47-45DC-9DEE-3C89C5FD62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7" imgW="360" imgH="360" progId="">
                  <p:embed/>
                </p:oleObj>
              </mc:Choice>
              <mc:Fallback>
                <p:oleObj name="think-cell Slide" r:id="rId7" imgW="360" imgH="360" progId="">
                  <p:embed/>
                  <p:pic>
                    <p:nvPicPr>
                      <p:cNvPr id="8" name="Object 7" hidden="1">
                        <a:extLst>
                          <a:ext uri="{FF2B5EF4-FFF2-40B4-BE49-F238E27FC236}">
                            <a16:creationId xmlns:a16="http://schemas.microsoft.com/office/drawing/2014/main" id="{CB33A272-FB47-45DC-9DEE-3C89C5FD629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162CC986-AC55-4848-B234-960A3CCEB6A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26D4C02-42A3-4D9E-9C75-85839F691E78}"/>
              </a:ext>
            </a:extLst>
          </p:cNvPr>
          <p:cNvSpPr>
            <a:spLocks noGrp="1"/>
          </p:cNvSpPr>
          <p:nvPr>
            <p:ph type="title"/>
          </p:nvPr>
        </p:nvSpPr>
        <p:spPr>
          <a:xfrm>
            <a:off x="4043706" y="77943"/>
            <a:ext cx="4369526" cy="1400174"/>
          </a:xfrm>
        </p:spPr>
        <p:txBody>
          <a:bodyPr>
            <a:normAutofit/>
          </a:bodyPr>
          <a:lstStyle/>
          <a:p>
            <a:r>
              <a:rPr lang="en-US" sz="4400" b="0" i="0" dirty="0">
                <a:solidFill>
                  <a:srgbClr val="652D74"/>
                </a:solidFill>
                <a:effectLst/>
                <a:latin typeface="Baskerville Old Face" panose="02020602080505020303" pitchFamily="18" charset="0"/>
              </a:rPr>
              <a:t>Recommendations</a:t>
            </a:r>
          </a:p>
        </p:txBody>
      </p:sp>
      <p:pic>
        <p:nvPicPr>
          <p:cNvPr id="6" name="Content Placeholder 5" descr="A picture containing monitor, sitting, photo, screen&#10;&#10;Description automatically generated">
            <a:extLst>
              <a:ext uri="{FF2B5EF4-FFF2-40B4-BE49-F238E27FC236}">
                <a16:creationId xmlns:a16="http://schemas.microsoft.com/office/drawing/2014/main" id="{F8EB3205-C44E-4949-9572-AF19F127AE1E}"/>
              </a:ext>
            </a:extLst>
          </p:cNvPr>
          <p:cNvPicPr>
            <a:picLocks noGrp="1" noChangeAspect="1"/>
          </p:cNvPicPr>
          <p:nvPr>
            <p:ph idx="1"/>
          </p:nvPr>
        </p:nvPicPr>
        <p:blipFill>
          <a:blip r:embed="rId9">
            <a:extLst>
              <a:ext uri="{28A0092B-C50C-407E-A947-70E740481C1C}">
                <a14:useLocalDpi xmlns:a14="http://schemas.microsoft.com/office/drawing/2010/main"/>
              </a:ext>
            </a:extLst>
          </a:blip>
          <a:stretch>
            <a:fillRect/>
          </a:stretch>
        </p:blipFill>
        <p:spPr>
          <a:xfrm>
            <a:off x="7404100" y="373782"/>
            <a:ext cx="6205538" cy="6205538"/>
          </a:xfrm>
        </p:spPr>
      </p:pic>
      <p:sp>
        <p:nvSpPr>
          <p:cNvPr id="12" name="Rectangle 11">
            <a:extLst>
              <a:ext uri="{FF2B5EF4-FFF2-40B4-BE49-F238E27FC236}">
                <a16:creationId xmlns:a16="http://schemas.microsoft.com/office/drawing/2014/main" id="{76E15AE5-3A17-4999-8FFD-55A315F66304}"/>
              </a:ext>
            </a:extLst>
          </p:cNvPr>
          <p:cNvSpPr/>
          <p:nvPr/>
        </p:nvSpPr>
        <p:spPr>
          <a:xfrm>
            <a:off x="9331960" y="1367557"/>
            <a:ext cx="2364740" cy="4198620"/>
          </a:xfrm>
          <a:prstGeom prst="rect">
            <a:avLst/>
          </a:prstGeom>
          <a:solidFill>
            <a:srgbClr val="0007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8F3D9648-B3AF-4419-92C7-4DB2FFB093C4}"/>
              </a:ext>
            </a:extLst>
          </p:cNvPr>
          <p:cNvSpPr/>
          <p:nvPr/>
        </p:nvSpPr>
        <p:spPr>
          <a:xfrm>
            <a:off x="3402773" y="2221930"/>
            <a:ext cx="5651392" cy="1969770"/>
          </a:xfrm>
          <a:prstGeom prst="rect">
            <a:avLst/>
          </a:prstGeom>
        </p:spPr>
        <p:txBody>
          <a:bodyPr wrap="square" lIns="0" tIns="0" rIns="0" bIns="0" anchor="t">
            <a:spAutoFit/>
          </a:bodyPr>
          <a:lstStyle/>
          <a:p>
            <a:r>
              <a:rPr lang="en-US" sz="2000" b="0" i="0" dirty="0">
                <a:solidFill>
                  <a:schemeClr val="bg1"/>
                </a:solidFill>
                <a:effectLst/>
                <a:latin typeface="Book Antiqua" panose="02040602050305030304" pitchFamily="18" charset="0"/>
              </a:rPr>
              <a:t>The machine learning model: logistic regression classifier is expected to predict churn with 81% accuracy on future unseen data</a:t>
            </a:r>
            <a:r>
              <a:rPr lang="en-US" sz="2000" dirty="0">
                <a:solidFill>
                  <a:schemeClr val="bg1"/>
                </a:solidFill>
                <a:latin typeface="Book Antiqua" panose="02040602050305030304" pitchFamily="18" charset="0"/>
              </a:rPr>
              <a:t>.</a:t>
            </a:r>
          </a:p>
          <a:p>
            <a:endParaRPr lang="en-US" sz="2000" dirty="0">
              <a:solidFill>
                <a:schemeClr val="bg1"/>
              </a:solidFill>
              <a:latin typeface="Book Antiqua" panose="02040602050305030304" pitchFamily="18" charset="0"/>
            </a:endParaRPr>
          </a:p>
          <a:p>
            <a:pPr algn="ctr"/>
            <a:r>
              <a:rPr lang="en-US" sz="2800" b="1" i="0" dirty="0">
                <a:solidFill>
                  <a:schemeClr val="bg1"/>
                </a:solidFill>
                <a:effectLst/>
                <a:latin typeface="Baskerville Old Face" panose="02020602080505020303" pitchFamily="18" charset="0"/>
              </a:rPr>
              <a:t>Classification report</a:t>
            </a:r>
            <a:endParaRPr lang="en-US" sz="2800" b="0" i="0" dirty="0">
              <a:solidFill>
                <a:schemeClr val="bg1"/>
              </a:solidFill>
              <a:effectLst/>
              <a:latin typeface="Baskerville Old Face" panose="02020602080505020303" pitchFamily="18" charset="0"/>
            </a:endParaRPr>
          </a:p>
          <a:p>
            <a:endParaRPr lang="en-IL" sz="2000" dirty="0">
              <a:solidFill>
                <a:schemeClr val="bg1"/>
              </a:solidFill>
              <a:latin typeface="Book Antiqua" panose="02040602050305030304" pitchFamily="18" charset="0"/>
            </a:endParaRPr>
          </a:p>
        </p:txBody>
      </p:sp>
      <p:sp>
        <p:nvSpPr>
          <p:cNvPr id="27" name="Rectangle 26">
            <a:extLst>
              <a:ext uri="{FF2B5EF4-FFF2-40B4-BE49-F238E27FC236}">
                <a16:creationId xmlns:a16="http://schemas.microsoft.com/office/drawing/2014/main" id="{B3C4FBF9-1440-45D3-90F6-44FDD33CC905}"/>
              </a:ext>
            </a:extLst>
          </p:cNvPr>
          <p:cNvSpPr/>
          <p:nvPr/>
        </p:nvSpPr>
        <p:spPr>
          <a:xfrm>
            <a:off x="9380236" y="1069961"/>
            <a:ext cx="2405648" cy="4714676"/>
          </a:xfrm>
          <a:prstGeom prst="rect">
            <a:avLst/>
          </a:prstGeom>
        </p:spPr>
        <p:txBody>
          <a:bodyPr wrap="square" lIns="0" tIns="0" rIns="0" bIns="0" anchor="ctr" anchorCtr="0">
            <a:noAutofit/>
          </a:bodyPr>
          <a:lstStyle/>
          <a:p>
            <a:r>
              <a:rPr lang="en-US" sz="1600" b="0" i="0" dirty="0">
                <a:solidFill>
                  <a:schemeClr val="bg1"/>
                </a:solidFill>
                <a:effectLst/>
                <a:latin typeface="Book Antiqua" panose="02040602050305030304" pitchFamily="18" charset="0"/>
              </a:rPr>
              <a:t>▪️ Raise price of month-to-month contract type and offer discounts for two-year contract to lead customers towards the other two contract types</a:t>
            </a:r>
          </a:p>
          <a:p>
            <a:br>
              <a:rPr lang="en-US" sz="1600" b="0" i="0" dirty="0">
                <a:solidFill>
                  <a:schemeClr val="bg1"/>
                </a:solidFill>
                <a:effectLst/>
                <a:latin typeface="Book Antiqua" panose="02040602050305030304" pitchFamily="18" charset="0"/>
              </a:rPr>
            </a:br>
            <a:r>
              <a:rPr lang="en-US" sz="1600" b="0" i="0" dirty="0">
                <a:solidFill>
                  <a:schemeClr val="bg1"/>
                </a:solidFill>
                <a:effectLst/>
                <a:latin typeface="Book Antiqua" panose="02040602050305030304" pitchFamily="18" charset="0"/>
              </a:rPr>
              <a:t>▪️ Offer discount on device protection, streaming tv and streaming movies services</a:t>
            </a:r>
          </a:p>
          <a:p>
            <a:br>
              <a:rPr lang="en-US" sz="1600" b="0" i="0" dirty="0">
                <a:solidFill>
                  <a:schemeClr val="bg1"/>
                </a:solidFill>
                <a:effectLst/>
                <a:latin typeface="Book Antiqua" panose="02040602050305030304" pitchFamily="18" charset="0"/>
              </a:rPr>
            </a:br>
            <a:r>
              <a:rPr lang="en-US" sz="1600" b="0" i="0" dirty="0">
                <a:solidFill>
                  <a:schemeClr val="bg1"/>
                </a:solidFill>
                <a:effectLst/>
                <a:latin typeface="Book Antiqua" panose="02040602050305030304" pitchFamily="18" charset="0"/>
              </a:rPr>
              <a:t>▪️ Offer online security, online backup, tech support services for free for one-year and two-year contracts customers</a:t>
            </a:r>
            <a:endParaRPr lang="en-IL" sz="1600" dirty="0">
              <a:solidFill>
                <a:schemeClr val="bg1"/>
              </a:solidFill>
              <a:latin typeface="Book Antiqua" panose="02040602050305030304" pitchFamily="18" charset="0"/>
            </a:endParaRPr>
          </a:p>
        </p:txBody>
      </p:sp>
      <p:grpSp>
        <p:nvGrpSpPr>
          <p:cNvPr id="3" name="Group 2">
            <a:extLst>
              <a:ext uri="{FF2B5EF4-FFF2-40B4-BE49-F238E27FC236}">
                <a16:creationId xmlns:a16="http://schemas.microsoft.com/office/drawing/2014/main" id="{9492E968-1420-4F0A-9692-EF1E666E0A6B}"/>
              </a:ext>
            </a:extLst>
          </p:cNvPr>
          <p:cNvGrpSpPr/>
          <p:nvPr/>
        </p:nvGrpSpPr>
        <p:grpSpPr>
          <a:xfrm>
            <a:off x="2875496" y="461182"/>
            <a:ext cx="633696" cy="633696"/>
            <a:chOff x="818237" y="2223272"/>
            <a:chExt cx="633696" cy="633696"/>
          </a:xfrm>
        </p:grpSpPr>
        <p:grpSp>
          <p:nvGrpSpPr>
            <p:cNvPr id="30" name="Group 29">
              <a:extLst>
                <a:ext uri="{FF2B5EF4-FFF2-40B4-BE49-F238E27FC236}">
                  <a16:creationId xmlns:a16="http://schemas.microsoft.com/office/drawing/2014/main" id="{5FD79E97-A518-48DD-BD2C-BA0ABDF4C56B}"/>
                </a:ext>
              </a:extLst>
            </p:cNvPr>
            <p:cNvGrpSpPr/>
            <p:nvPr/>
          </p:nvGrpSpPr>
          <p:grpSpPr>
            <a:xfrm>
              <a:off x="818237" y="2223272"/>
              <a:ext cx="633696" cy="633696"/>
              <a:chOff x="867176" y="2968052"/>
              <a:chExt cx="1200678" cy="1200678"/>
            </a:xfrm>
          </p:grpSpPr>
          <p:sp>
            <p:nvSpPr>
              <p:cNvPr id="28" name="Oval 27">
                <a:extLst>
                  <a:ext uri="{FF2B5EF4-FFF2-40B4-BE49-F238E27FC236}">
                    <a16:creationId xmlns:a16="http://schemas.microsoft.com/office/drawing/2014/main" id="{846B2E68-615D-4FD1-9861-A609C9B587CA}"/>
                  </a:ext>
                </a:extLst>
              </p:cNvPr>
              <p:cNvSpPr/>
              <p:nvPr/>
            </p:nvSpPr>
            <p:spPr>
              <a:xfrm>
                <a:off x="867176" y="2968052"/>
                <a:ext cx="1200678" cy="1200678"/>
              </a:xfrm>
              <a:prstGeom prst="ellipse">
                <a:avLst/>
              </a:prstGeom>
              <a:solidFill>
                <a:srgbClr val="8D19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Shape 28">
                <a:extLst>
                  <a:ext uri="{FF2B5EF4-FFF2-40B4-BE49-F238E27FC236}">
                    <a16:creationId xmlns:a16="http://schemas.microsoft.com/office/drawing/2014/main" id="{26757D2F-F6B9-498A-81AC-931F205BACA8}"/>
                  </a:ext>
                </a:extLst>
              </p:cNvPr>
              <p:cNvSpPr/>
              <p:nvPr/>
            </p:nvSpPr>
            <p:spPr>
              <a:xfrm>
                <a:off x="1006478" y="2968052"/>
                <a:ext cx="1048177" cy="1048177"/>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31" name="Group 30">
              <a:extLst>
                <a:ext uri="{FF2B5EF4-FFF2-40B4-BE49-F238E27FC236}">
                  <a16:creationId xmlns:a16="http://schemas.microsoft.com/office/drawing/2014/main" id="{486D999F-BDAF-4610-8B70-295752AAF563}"/>
                </a:ext>
              </a:extLst>
            </p:cNvPr>
            <p:cNvGrpSpPr/>
            <p:nvPr/>
          </p:nvGrpSpPr>
          <p:grpSpPr>
            <a:xfrm>
              <a:off x="991257" y="2393053"/>
              <a:ext cx="287656" cy="294134"/>
              <a:chOff x="7726363" y="3609976"/>
              <a:chExt cx="352425" cy="360362"/>
            </a:xfrm>
            <a:solidFill>
              <a:schemeClr val="bg1"/>
            </a:solidFill>
            <a:effectLst>
              <a:outerShdw blurRad="50800" dist="38100" dir="2700000" algn="tl" rotWithShape="0">
                <a:prstClr val="black">
                  <a:alpha val="40000"/>
                </a:prstClr>
              </a:outerShdw>
            </a:effectLst>
          </p:grpSpPr>
          <p:sp>
            <p:nvSpPr>
              <p:cNvPr id="32" name="Oval 100">
                <a:extLst>
                  <a:ext uri="{FF2B5EF4-FFF2-40B4-BE49-F238E27FC236}">
                    <a16:creationId xmlns:a16="http://schemas.microsoft.com/office/drawing/2014/main" id="{4598EEC6-724A-4B39-B7BD-744EBB4DD87F}"/>
                  </a:ext>
                </a:extLst>
              </p:cNvPr>
              <p:cNvSpPr>
                <a:spLocks noChangeArrowheads="1"/>
              </p:cNvSpPr>
              <p:nvPr/>
            </p:nvSpPr>
            <p:spPr bwMode="auto">
              <a:xfrm>
                <a:off x="7756525" y="3609976"/>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101">
                <a:extLst>
                  <a:ext uri="{FF2B5EF4-FFF2-40B4-BE49-F238E27FC236}">
                    <a16:creationId xmlns:a16="http://schemas.microsoft.com/office/drawing/2014/main" id="{55D4E957-696C-40FD-A667-CE3B574E76F8}"/>
                  </a:ext>
                </a:extLst>
              </p:cNvPr>
              <p:cNvSpPr>
                <a:spLocks/>
              </p:cNvSpPr>
              <p:nvPr/>
            </p:nvSpPr>
            <p:spPr bwMode="auto">
              <a:xfrm>
                <a:off x="7726363" y="3744913"/>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102">
                <a:extLst>
                  <a:ext uri="{FF2B5EF4-FFF2-40B4-BE49-F238E27FC236}">
                    <a16:creationId xmlns:a16="http://schemas.microsoft.com/office/drawing/2014/main" id="{B42EC9A1-6438-4F52-878F-7CF5D1F455F5}"/>
                  </a:ext>
                </a:extLst>
              </p:cNvPr>
              <p:cNvSpPr>
                <a:spLocks noEditPoints="1"/>
              </p:cNvSpPr>
              <p:nvPr/>
            </p:nvSpPr>
            <p:spPr bwMode="auto">
              <a:xfrm>
                <a:off x="7861300" y="3624263"/>
                <a:ext cx="217488" cy="225425"/>
              </a:xfrm>
              <a:custGeom>
                <a:avLst/>
                <a:gdLst>
                  <a:gd name="T0" fmla="*/ 4 w 58"/>
                  <a:gd name="T1" fmla="*/ 0 h 60"/>
                  <a:gd name="T2" fmla="*/ 8 w 58"/>
                  <a:gd name="T3" fmla="*/ 12 h 60"/>
                  <a:gd name="T4" fmla="*/ 0 w 58"/>
                  <a:gd name="T5" fmla="*/ 28 h 60"/>
                  <a:gd name="T6" fmla="*/ 16 w 58"/>
                  <a:gd name="T7" fmla="*/ 28 h 60"/>
                  <a:gd name="T8" fmla="*/ 16 w 58"/>
                  <a:gd name="T9" fmla="*/ 34 h 60"/>
                  <a:gd name="T10" fmla="*/ 9 w 58"/>
                  <a:gd name="T11" fmla="*/ 60 h 60"/>
                  <a:gd name="T12" fmla="*/ 58 w 58"/>
                  <a:gd name="T13" fmla="*/ 60 h 60"/>
                  <a:gd name="T14" fmla="*/ 58 w 58"/>
                  <a:gd name="T15" fmla="*/ 0 h 60"/>
                  <a:gd name="T16" fmla="*/ 4 w 58"/>
                  <a:gd name="T17" fmla="*/ 0 h 60"/>
                  <a:gd name="T18" fmla="*/ 51 w 58"/>
                  <a:gd name="T19" fmla="*/ 13 h 60"/>
                  <a:gd name="T20" fmla="*/ 45 w 58"/>
                  <a:gd name="T21" fmla="*/ 31 h 60"/>
                  <a:gd name="T22" fmla="*/ 44 w 58"/>
                  <a:gd name="T23" fmla="*/ 32 h 60"/>
                  <a:gd name="T24" fmla="*/ 43 w 58"/>
                  <a:gd name="T25" fmla="*/ 32 h 60"/>
                  <a:gd name="T26" fmla="*/ 32 w 58"/>
                  <a:gd name="T27" fmla="*/ 26 h 60"/>
                  <a:gd name="T28" fmla="*/ 26 w 58"/>
                  <a:gd name="T29" fmla="*/ 44 h 60"/>
                  <a:gd name="T30" fmla="*/ 24 w 58"/>
                  <a:gd name="T31" fmla="*/ 46 h 60"/>
                  <a:gd name="T32" fmla="*/ 23 w 58"/>
                  <a:gd name="T33" fmla="*/ 46 h 60"/>
                  <a:gd name="T34" fmla="*/ 22 w 58"/>
                  <a:gd name="T35" fmla="*/ 43 h 60"/>
                  <a:gd name="T36" fmla="*/ 29 w 58"/>
                  <a:gd name="T37" fmla="*/ 23 h 60"/>
                  <a:gd name="T38" fmla="*/ 31 w 58"/>
                  <a:gd name="T39" fmla="*/ 22 h 60"/>
                  <a:gd name="T40" fmla="*/ 32 w 58"/>
                  <a:gd name="T41" fmla="*/ 22 h 60"/>
                  <a:gd name="T42" fmla="*/ 42 w 58"/>
                  <a:gd name="T43" fmla="*/ 27 h 60"/>
                  <a:gd name="T44" fmla="*/ 48 w 58"/>
                  <a:gd name="T45" fmla="*/ 11 h 60"/>
                  <a:gd name="T46" fmla="*/ 50 w 58"/>
                  <a:gd name="T47" fmla="*/ 10 h 60"/>
                  <a:gd name="T48" fmla="*/ 51 w 58"/>
                  <a:gd name="T49" fmla="*/ 1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60">
                    <a:moveTo>
                      <a:pt x="4" y="0"/>
                    </a:moveTo>
                    <a:cubicBezTo>
                      <a:pt x="7" y="3"/>
                      <a:pt x="8" y="7"/>
                      <a:pt x="8" y="12"/>
                    </a:cubicBezTo>
                    <a:cubicBezTo>
                      <a:pt x="8" y="19"/>
                      <a:pt x="5" y="24"/>
                      <a:pt x="0" y="28"/>
                    </a:cubicBezTo>
                    <a:cubicBezTo>
                      <a:pt x="16" y="28"/>
                      <a:pt x="16" y="28"/>
                      <a:pt x="16" y="28"/>
                    </a:cubicBezTo>
                    <a:cubicBezTo>
                      <a:pt x="16" y="34"/>
                      <a:pt x="16" y="34"/>
                      <a:pt x="16" y="34"/>
                    </a:cubicBezTo>
                    <a:cubicBezTo>
                      <a:pt x="16" y="44"/>
                      <a:pt x="14" y="53"/>
                      <a:pt x="9" y="60"/>
                    </a:cubicBezTo>
                    <a:cubicBezTo>
                      <a:pt x="58" y="60"/>
                      <a:pt x="58" y="60"/>
                      <a:pt x="58" y="60"/>
                    </a:cubicBezTo>
                    <a:cubicBezTo>
                      <a:pt x="58" y="0"/>
                      <a:pt x="58" y="0"/>
                      <a:pt x="58" y="0"/>
                    </a:cubicBezTo>
                    <a:lnTo>
                      <a:pt x="4" y="0"/>
                    </a:lnTo>
                    <a:close/>
                    <a:moveTo>
                      <a:pt x="51" y="13"/>
                    </a:moveTo>
                    <a:cubicBezTo>
                      <a:pt x="45" y="31"/>
                      <a:pt x="45" y="31"/>
                      <a:pt x="45" y="31"/>
                    </a:cubicBezTo>
                    <a:cubicBezTo>
                      <a:pt x="45" y="31"/>
                      <a:pt x="45" y="32"/>
                      <a:pt x="44" y="32"/>
                    </a:cubicBezTo>
                    <a:cubicBezTo>
                      <a:pt x="44" y="32"/>
                      <a:pt x="43" y="32"/>
                      <a:pt x="43" y="32"/>
                    </a:cubicBezTo>
                    <a:cubicBezTo>
                      <a:pt x="32" y="26"/>
                      <a:pt x="32" y="26"/>
                      <a:pt x="32" y="26"/>
                    </a:cubicBezTo>
                    <a:cubicBezTo>
                      <a:pt x="26" y="44"/>
                      <a:pt x="26" y="44"/>
                      <a:pt x="26" y="44"/>
                    </a:cubicBezTo>
                    <a:cubicBezTo>
                      <a:pt x="25" y="45"/>
                      <a:pt x="25" y="46"/>
                      <a:pt x="24" y="46"/>
                    </a:cubicBezTo>
                    <a:cubicBezTo>
                      <a:pt x="24" y="46"/>
                      <a:pt x="23" y="46"/>
                      <a:pt x="23" y="46"/>
                    </a:cubicBezTo>
                    <a:cubicBezTo>
                      <a:pt x="22" y="45"/>
                      <a:pt x="21" y="44"/>
                      <a:pt x="22" y="43"/>
                    </a:cubicBezTo>
                    <a:cubicBezTo>
                      <a:pt x="29" y="23"/>
                      <a:pt x="29" y="23"/>
                      <a:pt x="29" y="23"/>
                    </a:cubicBezTo>
                    <a:cubicBezTo>
                      <a:pt x="30" y="22"/>
                      <a:pt x="30" y="22"/>
                      <a:pt x="31" y="22"/>
                    </a:cubicBezTo>
                    <a:cubicBezTo>
                      <a:pt x="31" y="22"/>
                      <a:pt x="32" y="22"/>
                      <a:pt x="32" y="22"/>
                    </a:cubicBezTo>
                    <a:cubicBezTo>
                      <a:pt x="42" y="27"/>
                      <a:pt x="42" y="27"/>
                      <a:pt x="42" y="27"/>
                    </a:cubicBezTo>
                    <a:cubicBezTo>
                      <a:pt x="48" y="11"/>
                      <a:pt x="48" y="11"/>
                      <a:pt x="48" y="11"/>
                    </a:cubicBezTo>
                    <a:cubicBezTo>
                      <a:pt x="48" y="10"/>
                      <a:pt x="49" y="10"/>
                      <a:pt x="50" y="10"/>
                    </a:cubicBezTo>
                    <a:cubicBezTo>
                      <a:pt x="51" y="10"/>
                      <a:pt x="52" y="12"/>
                      <a:pt x="5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pic>
        <p:nvPicPr>
          <p:cNvPr id="10" name="Picture 9">
            <a:extLst>
              <a:ext uri="{FF2B5EF4-FFF2-40B4-BE49-F238E27FC236}">
                <a16:creationId xmlns:a16="http://schemas.microsoft.com/office/drawing/2014/main" id="{0017B476-D026-4235-95CF-A6DFFF3EED5B}"/>
              </a:ext>
            </a:extLst>
          </p:cNvPr>
          <p:cNvPicPr>
            <a:picLocks noChangeAspect="1"/>
          </p:cNvPicPr>
          <p:nvPr/>
        </p:nvPicPr>
        <p:blipFill>
          <a:blip r:embed="rId10"/>
          <a:stretch>
            <a:fillRect/>
          </a:stretch>
        </p:blipFill>
        <p:spPr>
          <a:xfrm>
            <a:off x="3216504" y="4407472"/>
            <a:ext cx="5344271" cy="2010056"/>
          </a:xfrm>
          <a:prstGeom prst="rect">
            <a:avLst/>
          </a:prstGeom>
        </p:spPr>
      </p:pic>
      <p:sp>
        <p:nvSpPr>
          <p:cNvPr id="35" name="Slide Number Placeholder 3">
            <a:extLst>
              <a:ext uri="{FF2B5EF4-FFF2-40B4-BE49-F238E27FC236}">
                <a16:creationId xmlns:a16="http://schemas.microsoft.com/office/drawing/2014/main" id="{F9057766-AF6B-4B28-8A75-963E1E140B11}"/>
              </a:ext>
            </a:extLst>
          </p:cNvPr>
          <p:cNvSpPr>
            <a:spLocks noGrp="1"/>
          </p:cNvSpPr>
          <p:nvPr>
            <p:ph type="sldNum" sz="quarter" idx="4"/>
          </p:nvPr>
        </p:nvSpPr>
        <p:spPr>
          <a:xfrm>
            <a:off x="11658612" y="6369817"/>
            <a:ext cx="367408" cy="27699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84D2E29-67F4-44D8-B0E3-F54815B4F123}"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92988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6">
            <a:extLst>
              <a:ext uri="{FF2B5EF4-FFF2-40B4-BE49-F238E27FC236}">
                <a16:creationId xmlns:a16="http://schemas.microsoft.com/office/drawing/2014/main" id="{73F466E3-4A1C-4F3C-8D41-557D758E8F2B}"/>
              </a:ext>
            </a:extLst>
          </p:cNvPr>
          <p:cNvSpPr/>
          <p:nvPr/>
        </p:nvSpPr>
        <p:spPr>
          <a:xfrm>
            <a:off x="3556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6">
            <a:extLst>
              <a:ext uri="{FF2B5EF4-FFF2-40B4-BE49-F238E27FC236}">
                <a16:creationId xmlns:a16="http://schemas.microsoft.com/office/drawing/2014/main" id="{8B55C193-579B-41F1-8950-EE0561C0E521}"/>
              </a:ext>
            </a:extLst>
          </p:cNvPr>
          <p:cNvSpPr/>
          <p:nvPr/>
        </p:nvSpPr>
        <p:spPr>
          <a:xfrm>
            <a:off x="22225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6">
            <a:extLst>
              <a:ext uri="{FF2B5EF4-FFF2-40B4-BE49-F238E27FC236}">
                <a16:creationId xmlns:a16="http://schemas.microsoft.com/office/drawing/2014/main" id="{B5C70F30-87F9-49E7-946B-AEFA22A72569}"/>
              </a:ext>
            </a:extLst>
          </p:cNvPr>
          <p:cNvSpPr/>
          <p:nvPr/>
        </p:nvSpPr>
        <p:spPr>
          <a:xfrm>
            <a:off x="889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32" descr="People in a video call">
            <a:extLst>
              <a:ext uri="{FF2B5EF4-FFF2-40B4-BE49-F238E27FC236}">
                <a16:creationId xmlns:a16="http://schemas.microsoft.com/office/drawing/2014/main" id="{6B0A5532-14D8-42B9-B21F-D0C438D5F188}"/>
              </a:ext>
            </a:extLst>
          </p:cNvPr>
          <p:cNvPicPr>
            <a:picLocks noChangeAspect="1"/>
          </p:cNvPicPr>
          <p:nvPr/>
        </p:nvPicPr>
        <p:blipFill>
          <a:blip r:embed="rId5" cstate="screen">
            <a:extLst>
              <a:ext uri="{28A0092B-C50C-407E-A947-70E740481C1C}">
                <a14:useLocalDpi xmlns:a14="http://schemas.microsoft.com/office/drawing/2010/main" val="0"/>
              </a:ext>
            </a:extLst>
          </a:blip>
          <a:srcRect/>
          <a:stretch/>
        </p:blipFill>
        <p:spPr>
          <a:xfrm>
            <a:off x="0" y="0"/>
            <a:ext cx="6539571" cy="6858000"/>
          </a:xfrm>
          <a:custGeom>
            <a:avLst/>
            <a:gdLst>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close/>
              </a:path>
            </a:pathLst>
          </a:custGeom>
        </p:spPr>
      </p:pic>
      <p:graphicFrame>
        <p:nvGraphicFramePr>
          <p:cNvPr id="4" name="Object 3" hidden="1">
            <a:extLst>
              <a:ext uri="{FF2B5EF4-FFF2-40B4-BE49-F238E27FC236}">
                <a16:creationId xmlns:a16="http://schemas.microsoft.com/office/drawing/2014/main" id="{8C8FA7AC-B37F-4E1E-AFD9-DAA70D9E71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8C8FA7AC-B37F-4E1E-AFD9-DAA70D9E71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4" name="Rectangle 6">
            <a:extLst>
              <a:ext uri="{FF2B5EF4-FFF2-40B4-BE49-F238E27FC236}">
                <a16:creationId xmlns:a16="http://schemas.microsoft.com/office/drawing/2014/main" id="{B018D872-74EC-4C12-835A-5F484647A850}"/>
              </a:ext>
            </a:extLst>
          </p:cNvPr>
          <p:cNvSpPr/>
          <p:nvPr/>
        </p:nvSpPr>
        <p:spPr>
          <a:xfrm>
            <a:off x="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3B62D48D-742F-4585-97E7-27E04C1E73AB}"/>
              </a:ext>
            </a:extLst>
          </p:cNvPr>
          <p:cNvSpPr/>
          <p:nvPr/>
        </p:nvSpPr>
        <p:spPr>
          <a:xfrm>
            <a:off x="10239552" y="0"/>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315CBA77-EC7F-4B18-98D5-C1EA7972AC80}"/>
              </a:ext>
            </a:extLst>
          </p:cNvPr>
          <p:cNvSpPr/>
          <p:nvPr/>
        </p:nvSpPr>
        <p:spPr>
          <a:xfrm>
            <a:off x="4539163" y="4851399"/>
            <a:ext cx="7486857" cy="1213153"/>
          </a:xfrm>
          <a:prstGeom prst="rect">
            <a:avLst/>
          </a:prstGeom>
          <a:solidFill>
            <a:srgbClr val="F2EA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6A810F44-2B55-464B-BB8C-B14B9A679EA9}"/>
              </a:ext>
            </a:extLst>
          </p:cNvPr>
          <p:cNvCxnSpPr>
            <a:cxnSpLocks/>
          </p:cNvCxnSpPr>
          <p:nvPr/>
        </p:nvCxnSpPr>
        <p:spPr>
          <a:xfrm>
            <a:off x="7866837" y="5840715"/>
            <a:ext cx="831508" cy="0"/>
          </a:xfrm>
          <a:prstGeom prst="line">
            <a:avLst/>
          </a:prstGeom>
          <a:ln w="127000">
            <a:gradFill flip="none" rotWithShape="1">
              <a:gsLst>
                <a:gs pos="0">
                  <a:schemeClr val="accent2">
                    <a:lumMod val="75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940B0CD-CDC3-4D1A-BED9-138021592740}"/>
              </a:ext>
            </a:extLst>
          </p:cNvPr>
          <p:cNvSpPr txBox="1"/>
          <p:nvPr/>
        </p:nvSpPr>
        <p:spPr>
          <a:xfrm>
            <a:off x="2224824" y="333069"/>
            <a:ext cx="5507836" cy="681405"/>
          </a:xfrm>
          <a:prstGeom prst="rect">
            <a:avLst/>
          </a:prstGeom>
          <a:noFill/>
        </p:spPr>
        <p:txBody>
          <a:bodyPr wrap="square" lIns="0" tIns="0" rIns="0" bIns="0" rtlCol="0">
            <a:spAutoFit/>
          </a:bodyPr>
          <a:lstStyle/>
          <a:p>
            <a:pPr>
              <a:lnSpc>
                <a:spcPct val="80000"/>
              </a:lnSpc>
            </a:pPr>
            <a:r>
              <a:rPr lang="en-US" sz="5400" b="1" dirty="0">
                <a:solidFill>
                  <a:schemeClr val="bg1"/>
                </a:solidFill>
              </a:rPr>
              <a:t>Churn</a:t>
            </a:r>
          </a:p>
        </p:txBody>
      </p:sp>
      <p:sp>
        <p:nvSpPr>
          <p:cNvPr id="28" name="TextBox 27">
            <a:extLst>
              <a:ext uri="{FF2B5EF4-FFF2-40B4-BE49-F238E27FC236}">
                <a16:creationId xmlns:a16="http://schemas.microsoft.com/office/drawing/2014/main" id="{CB7E72AE-21F9-48A1-9B62-3C22913145E4}"/>
              </a:ext>
            </a:extLst>
          </p:cNvPr>
          <p:cNvSpPr txBox="1"/>
          <p:nvPr/>
        </p:nvSpPr>
        <p:spPr>
          <a:xfrm>
            <a:off x="4978742" y="4998501"/>
            <a:ext cx="6679870" cy="738664"/>
          </a:xfrm>
          <a:prstGeom prst="rect">
            <a:avLst/>
          </a:prstGeom>
          <a:noFill/>
        </p:spPr>
        <p:txBody>
          <a:bodyPr wrap="square" lIns="0" tIns="0" rIns="0" bIns="0" rtlCol="0">
            <a:spAutoFit/>
          </a:bodyPr>
          <a:lstStyle/>
          <a:p>
            <a:r>
              <a:rPr lang="en-US" sz="1600" dirty="0">
                <a:latin typeface="Book Antiqua" panose="02040602050305030304" pitchFamily="18" charset="0"/>
              </a:rPr>
              <a:t>Each user is identified through a unique customer ID. There are 19 independent variables used to predict the target feature – customer churn.</a:t>
            </a:r>
          </a:p>
          <a:p>
            <a:r>
              <a:rPr lang="en-US" sz="1600" dirty="0">
                <a:latin typeface="Book Antiqua" panose="02040602050305030304" pitchFamily="18" charset="0"/>
              </a:rPr>
              <a:t>Let’s count the number of customers in the dataset who have churned:</a:t>
            </a:r>
          </a:p>
        </p:txBody>
      </p:sp>
      <p:sp>
        <p:nvSpPr>
          <p:cNvPr id="42" name="Slide Number Placeholder 41">
            <a:extLst>
              <a:ext uri="{FF2B5EF4-FFF2-40B4-BE49-F238E27FC236}">
                <a16:creationId xmlns:a16="http://schemas.microsoft.com/office/drawing/2014/main" id="{7681E91A-08DB-47B4-A0B7-DCF410E8C00E}"/>
              </a:ext>
            </a:extLst>
          </p:cNvPr>
          <p:cNvSpPr>
            <a:spLocks noGrp="1"/>
          </p:cNvSpPr>
          <p:nvPr>
            <p:ph type="sldNum" sz="quarter" idx="4"/>
          </p:nvPr>
        </p:nvSpPr>
        <p:spPr/>
        <p:txBody>
          <a:bodyPr/>
          <a:lstStyle/>
          <a:p>
            <a:fld id="{B84D2E29-67F4-44D8-B0E3-F54815B4F123}" type="slidenum">
              <a:rPr lang="en-US" smtClean="0"/>
              <a:pPr/>
              <a:t>3</a:t>
            </a:fld>
            <a:endParaRPr lang="en-US" dirty="0"/>
          </a:p>
        </p:txBody>
      </p:sp>
      <p:pic>
        <p:nvPicPr>
          <p:cNvPr id="3" name="Picture 2">
            <a:extLst>
              <a:ext uri="{FF2B5EF4-FFF2-40B4-BE49-F238E27FC236}">
                <a16:creationId xmlns:a16="http://schemas.microsoft.com/office/drawing/2014/main" id="{2B785E85-683F-4440-87C4-9035263BD852}"/>
              </a:ext>
            </a:extLst>
          </p:cNvPr>
          <p:cNvPicPr>
            <a:picLocks noChangeAspect="1"/>
          </p:cNvPicPr>
          <p:nvPr/>
        </p:nvPicPr>
        <p:blipFill>
          <a:blip r:embed="rId8"/>
          <a:stretch>
            <a:fillRect/>
          </a:stretch>
        </p:blipFill>
        <p:spPr>
          <a:xfrm>
            <a:off x="4539162" y="763762"/>
            <a:ext cx="7430587" cy="3721229"/>
          </a:xfrm>
          <a:prstGeom prst="rect">
            <a:avLst/>
          </a:prstGeom>
        </p:spPr>
      </p:pic>
      <p:sp>
        <p:nvSpPr>
          <p:cNvPr id="16" name="TextBox 48">
            <a:extLst>
              <a:ext uri="{FF2B5EF4-FFF2-40B4-BE49-F238E27FC236}">
                <a16:creationId xmlns:a16="http://schemas.microsoft.com/office/drawing/2014/main" id="{FB73AE3E-7F8E-4FA1-B4DC-06656B5EB3A5}"/>
              </a:ext>
            </a:extLst>
          </p:cNvPr>
          <p:cNvSpPr txBox="1"/>
          <p:nvPr/>
        </p:nvSpPr>
        <p:spPr>
          <a:xfrm>
            <a:off x="355600" y="2814354"/>
            <a:ext cx="3866670" cy="178510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ctr" defTabSz="914400" rtl="0" eaLnBrk="1" fontAlgn="auto" latinLnBrk="0" hangingPunct="1">
              <a:lnSpc>
                <a:spcPct val="100000"/>
              </a:lnSpc>
              <a:spcBef>
                <a:spcPts val="0"/>
              </a:spcBef>
              <a:spcAft>
                <a:spcPts val="0"/>
              </a:spcAft>
              <a:buClrTx/>
              <a:buSzTx/>
              <a:tabLst/>
              <a:defRPr/>
            </a:pPr>
            <a:r>
              <a:rPr lang="en-US" b="1" dirty="0">
                <a:solidFill>
                  <a:schemeClr val="bg1"/>
                </a:solidFill>
                <a:latin typeface="Book Antiqua" panose="02040602050305030304" pitchFamily="18" charset="0"/>
              </a:rPr>
              <a:t>What data is </a:t>
            </a:r>
            <a:br>
              <a:rPr lang="en-US" b="1" dirty="0">
                <a:solidFill>
                  <a:schemeClr val="bg1"/>
                </a:solidFill>
                <a:latin typeface="Book Antiqua" panose="02040602050305030304" pitchFamily="18" charset="0"/>
              </a:rPr>
            </a:br>
            <a:r>
              <a:rPr lang="en-US" b="1" dirty="0">
                <a:solidFill>
                  <a:schemeClr val="bg1"/>
                </a:solidFill>
                <a:latin typeface="Book Antiqua" panose="02040602050305030304" pitchFamily="18" charset="0"/>
              </a:rPr>
              <a:t>available for that?</a:t>
            </a:r>
            <a:endParaRPr kumimoji="0" lang="ru-RU" b="1" i="0" u="none" strike="noStrike" kern="1200" cap="none" spc="0" normalizeH="0" baseline="0" noProof="0" dirty="0">
              <a:ln>
                <a:noFill/>
              </a:ln>
              <a:solidFill>
                <a:schemeClr val="bg1"/>
              </a:solidFill>
              <a:effectLst/>
              <a:uLnTx/>
              <a:uFillTx/>
              <a:latin typeface="Book Antiqua" panose="02040602050305030304" pitchFamily="18"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Book Antiqua" panose="02040602050305030304" pitchFamily="18" charset="0"/>
              </a:rPr>
              <a:t>We will use the Customer Churn dataset for this analysis (churn.csv). </a:t>
            </a:r>
            <a:endParaRPr lang="en-US" sz="1600" dirty="0">
              <a:solidFill>
                <a:schemeClr val="bg1"/>
              </a:solidFill>
              <a:latin typeface="Book Antiqua" panose="02040602050305030304" pitchFamily="18"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Book Antiqua" panose="02040602050305030304" pitchFamily="18" charset="0"/>
              </a:rPr>
              <a:t>We will use a Jupyter Notebook to run code snippet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Book Antiqua" panose="02040602050305030304" pitchFamily="18" charset="0"/>
              </a:rPr>
              <a:t>We will create visualizations in Python.</a:t>
            </a:r>
          </a:p>
        </p:txBody>
      </p:sp>
      <p:sp>
        <p:nvSpPr>
          <p:cNvPr id="5" name="Title 4">
            <a:extLst>
              <a:ext uri="{FF2B5EF4-FFF2-40B4-BE49-F238E27FC236}">
                <a16:creationId xmlns:a16="http://schemas.microsoft.com/office/drawing/2014/main" id="{4B840787-9F4F-4193-B03A-18ABAA2B1580}"/>
              </a:ext>
            </a:extLst>
          </p:cNvPr>
          <p:cNvSpPr>
            <a:spLocks noGrp="1"/>
          </p:cNvSpPr>
          <p:nvPr>
            <p:ph type="title"/>
          </p:nvPr>
        </p:nvSpPr>
        <p:spPr/>
        <p:txBody>
          <a:bodyPr/>
          <a:lstStyle/>
          <a:p>
            <a:endParaRPr lang="en-IL"/>
          </a:p>
        </p:txBody>
      </p:sp>
      <p:sp>
        <p:nvSpPr>
          <p:cNvPr id="19" name="TextBox 48">
            <a:extLst>
              <a:ext uri="{FF2B5EF4-FFF2-40B4-BE49-F238E27FC236}">
                <a16:creationId xmlns:a16="http://schemas.microsoft.com/office/drawing/2014/main" id="{04EF99E5-9A6D-44C4-B42D-917B0686B1B1}"/>
              </a:ext>
            </a:extLst>
          </p:cNvPr>
          <p:cNvSpPr txBox="1"/>
          <p:nvPr/>
        </p:nvSpPr>
        <p:spPr>
          <a:xfrm>
            <a:off x="427424" y="4923267"/>
            <a:ext cx="3866670" cy="1815882"/>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dirty="0">
                <a:solidFill>
                  <a:schemeClr val="bg1"/>
                </a:solidFill>
                <a:latin typeface="Book Antiqua" panose="02040602050305030304" pitchFamily="18" charset="0"/>
              </a:rPr>
              <a:t>What can be motivation and applications for solving the </a:t>
            </a:r>
          </a:p>
          <a:p>
            <a:pPr algn="ctr"/>
            <a:r>
              <a:rPr lang="en-US" b="1" dirty="0">
                <a:solidFill>
                  <a:schemeClr val="bg1"/>
                </a:solidFill>
                <a:latin typeface="Book Antiqua" panose="02040602050305030304" pitchFamily="18" charset="0"/>
              </a:rPr>
              <a:t>proble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600" b="0" i="0" u="none" strike="noStrike" kern="1200" cap="none" spc="0" normalizeH="0" baseline="0" noProof="0" dirty="0">
              <a:ln>
                <a:noFill/>
              </a:ln>
              <a:solidFill>
                <a:schemeClr val="bg1"/>
              </a:solidFill>
              <a:effectLst/>
              <a:uLnTx/>
              <a:uFillTx/>
              <a:latin typeface="Book Antiqua" panose="0204060205030503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Book Antiqua" panose="02040602050305030304" pitchFamily="18" charset="0"/>
              </a:rPr>
              <a:t>We will use the following libraries - Pandas, Matplotlib, Seaborn and Scikit-Learn.</a:t>
            </a:r>
          </a:p>
        </p:txBody>
      </p:sp>
    </p:spTree>
    <p:extLst>
      <p:ext uri="{BB962C8B-B14F-4D97-AF65-F5344CB8AC3E}">
        <p14:creationId xmlns:p14="http://schemas.microsoft.com/office/powerpoint/2010/main" val="18787686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34">
            <a:extLst>
              <a:ext uri="{FF2B5EF4-FFF2-40B4-BE49-F238E27FC236}">
                <a16:creationId xmlns:a16="http://schemas.microsoft.com/office/drawing/2014/main" id="{F3BC5820-6904-4EC2-B874-86BE03B856CE}"/>
              </a:ext>
            </a:extLst>
          </p:cNvPr>
          <p:cNvSpPr>
            <a:spLocks/>
          </p:cNvSpPr>
          <p:nvPr/>
        </p:nvSpPr>
        <p:spPr>
          <a:xfrm rot="10800000" flipH="1" flipV="1">
            <a:off x="0" y="2669297"/>
            <a:ext cx="12192002" cy="4572465"/>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59199" y="93304"/>
                  <a:pt x="0" y="0"/>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5" name="Picture 4">
            <a:extLst>
              <a:ext uri="{FF2B5EF4-FFF2-40B4-BE49-F238E27FC236}">
                <a16:creationId xmlns:a16="http://schemas.microsoft.com/office/drawing/2014/main" id="{8F136F05-F159-4B6D-B5E8-BC5BA0AFC3A4}"/>
              </a:ext>
            </a:extLst>
          </p:cNvPr>
          <p:cNvPicPr>
            <a:picLocks noChangeAspect="1"/>
          </p:cNvPicPr>
          <p:nvPr/>
        </p:nvPicPr>
        <p:blipFill rotWithShape="1">
          <a:blip r:embed="rId2" cstate="screen">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r="-1"/>
          <a:stretch/>
        </p:blipFill>
        <p:spPr>
          <a:xfrm>
            <a:off x="0" y="0"/>
            <a:ext cx="12192000" cy="2669297"/>
          </a:xfrm>
          <a:prstGeom prst="rect">
            <a:avLst/>
          </a:prstGeom>
        </p:spPr>
      </p:pic>
      <p:sp>
        <p:nvSpPr>
          <p:cNvPr id="27" name="Rectangle 26">
            <a:extLst>
              <a:ext uri="{FF2B5EF4-FFF2-40B4-BE49-F238E27FC236}">
                <a16:creationId xmlns:a16="http://schemas.microsoft.com/office/drawing/2014/main" id="{17135042-9414-406A-9BA2-44CA1D4EA9B0}"/>
              </a:ext>
            </a:extLst>
          </p:cNvPr>
          <p:cNvSpPr/>
          <p:nvPr/>
        </p:nvSpPr>
        <p:spPr>
          <a:xfrm>
            <a:off x="-1" y="1"/>
            <a:ext cx="12192002" cy="2674639"/>
          </a:xfrm>
          <a:prstGeom prst="rect">
            <a:avLst/>
          </a:prstGeom>
          <a:gradFill>
            <a:gsLst>
              <a:gs pos="39000">
                <a:srgbClr val="7C3174">
                  <a:alpha val="47000"/>
                </a:srgbClr>
              </a:gs>
              <a:gs pos="21000">
                <a:schemeClr val="accent1">
                  <a:alpha val="85000"/>
                </a:schemeClr>
              </a:gs>
              <a:gs pos="86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2" name="Shape 142"/>
          <p:cNvSpPr>
            <a:spLocks noGrp="1"/>
          </p:cNvSpPr>
          <p:nvPr>
            <p:ph type="sldNum" sz="quarter" idx="2"/>
          </p:nvPr>
        </p:nvSpPr>
        <p:spPr>
          <a:xfrm>
            <a:off x="23019528" y="819533"/>
            <a:ext cx="607908" cy="846386"/>
          </a:xfrm>
          <a:prstGeom prst="rect">
            <a:avLst/>
          </a:prstGeom>
          <a:ln w="3175">
            <a:miter lim="400000"/>
          </a:ln>
          <a:extLst>
            <a:ext uri="{C572A759-6A51-4108-AA02-DFA0A04FC94B}">
              <ma14:wrappingTextBoxFlag xmlns="" xmlns:ma14="http://schemas.microsoft.com/office/mac/drawingml/2011/main" val="1"/>
            </a:ext>
          </a:extLst>
        </p:spPr>
        <p:txBody>
          <a:bodyPr lIns="38100" tIns="38100" rIns="38100" bIns="381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500" b="0" i="0" u="none" strike="noStrike" cap="all" spc="500" normalizeH="0" baseline="0">
                <a:ln>
                  <a:noFill/>
                </a:ln>
                <a:solidFill>
                  <a:srgbClr val="ABADC2"/>
                </a:solidFill>
                <a:effectLst/>
                <a:uFillTx/>
                <a:latin typeface="+mn-lt"/>
                <a:ea typeface="Avenir Next Demi Bold"/>
                <a:cs typeface="Avenir Next Demi Bold"/>
                <a:sym typeface="Avenir Next Demi Bold"/>
              </a:defRPr>
            </a:lvl1pPr>
            <a:lvl2pPr marL="0" marR="0" indent="2286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2pPr>
            <a:lvl3pPr marL="0" marR="0" indent="4572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3pPr>
            <a:lvl4pPr marL="0" marR="0" indent="6858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4pPr>
            <a:lvl5pPr marL="0" marR="0" indent="9144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5pPr>
            <a:lvl6pPr marL="0" marR="0" indent="11430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6pPr>
            <a:lvl7pPr marL="0" marR="0" indent="13716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7pPr>
            <a:lvl8pPr marL="0" marR="0" indent="16002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8pPr>
            <a:lvl9pPr marL="0" marR="0" indent="18288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9pPr>
          </a:lstStyle>
          <a:p>
            <a:fld id="{86CB4B4D-7CA3-9044-876B-883B54F8677D}" type="slidenum">
              <a:rPr lang="en-IL" smtClean="0"/>
              <a:pPr/>
              <a:t>4</a:t>
            </a:fld>
            <a:endParaRPr/>
          </a:p>
        </p:txBody>
      </p:sp>
      <p:graphicFrame>
        <p:nvGraphicFramePr>
          <p:cNvPr id="143" name="Chart 143"/>
          <p:cNvGraphicFramePr/>
          <p:nvPr/>
        </p:nvGraphicFramePr>
        <p:xfrm>
          <a:off x="1468007" y="1723340"/>
          <a:ext cx="2095960" cy="2095959"/>
        </p:xfrm>
        <a:graphic>
          <a:graphicData uri="http://schemas.openxmlformats.org/drawingml/2006/chart">
            <c:chart xmlns:c="http://schemas.openxmlformats.org/drawingml/2006/chart" xmlns:r="http://schemas.openxmlformats.org/officeDocument/2006/relationships" r:id="rId4"/>
          </a:graphicData>
        </a:graphic>
      </p:graphicFrame>
      <p:grpSp>
        <p:nvGrpSpPr>
          <p:cNvPr id="146" name="Group 146"/>
          <p:cNvGrpSpPr/>
          <p:nvPr/>
        </p:nvGrpSpPr>
        <p:grpSpPr>
          <a:xfrm>
            <a:off x="1630949" y="1886330"/>
            <a:ext cx="1770018" cy="1769970"/>
            <a:chOff x="-95" y="0"/>
            <a:chExt cx="3540034" cy="3539938"/>
          </a:xfrm>
        </p:grpSpPr>
        <p:sp>
          <p:nvSpPr>
            <p:cNvPr id="144" name="Shape 144"/>
            <p:cNvSpPr/>
            <p:nvPr/>
          </p:nvSpPr>
          <p:spPr>
            <a:xfrm>
              <a:off x="18" y="18"/>
              <a:ext cx="3539921" cy="3539921"/>
            </a:xfrm>
            <a:prstGeom prst="ellipse">
              <a:avLst/>
            </a:prstGeom>
            <a:solidFill>
              <a:srgbClr val="282A40"/>
            </a:soli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pic>
          <p:nvPicPr>
            <p:cNvPr id="145" name="bg_line-filtered.png"/>
            <p:cNvPicPr>
              <a:picLocks noChangeAspect="1"/>
            </p:cNvPicPr>
            <p:nvPr/>
          </p:nvPicPr>
          <p:blipFill>
            <a:blip r:embed="rId5">
              <a:alphaModFix amt="1000"/>
            </a:blip>
            <a:srcRect l="14213" t="32318" r="71268" b="41873"/>
            <a:stretch>
              <a:fillRect/>
            </a:stretch>
          </p:blipFill>
          <p:spPr>
            <a:xfrm>
              <a:off x="-96" y="0"/>
              <a:ext cx="3539921" cy="3539825"/>
            </a:xfrm>
            <a:custGeom>
              <a:avLst/>
              <a:gdLst/>
              <a:ahLst/>
              <a:cxnLst>
                <a:cxn ang="0">
                  <a:pos x="wd2" y="hd2"/>
                </a:cxn>
                <a:cxn ang="5400000">
                  <a:pos x="wd2" y="hd2"/>
                </a:cxn>
                <a:cxn ang="10800000">
                  <a:pos x="wd2" y="hd2"/>
                </a:cxn>
                <a:cxn ang="16200000">
                  <a:pos x="wd2" y="hd2"/>
                </a:cxn>
              </a:cxnLst>
              <a:rect l="0" t="0" r="r" b="b"/>
              <a:pathLst>
                <a:path w="19679" h="20595" extrusionOk="0">
                  <a:moveTo>
                    <a:pt x="9840" y="0"/>
                  </a:moveTo>
                  <a:cubicBezTo>
                    <a:pt x="7322" y="0"/>
                    <a:pt x="4803" y="1005"/>
                    <a:pt x="2882" y="3016"/>
                  </a:cubicBezTo>
                  <a:cubicBezTo>
                    <a:pt x="-961" y="7037"/>
                    <a:pt x="-961" y="13557"/>
                    <a:pt x="2882" y="17578"/>
                  </a:cubicBezTo>
                  <a:cubicBezTo>
                    <a:pt x="6724" y="21600"/>
                    <a:pt x="12954" y="21600"/>
                    <a:pt x="16796" y="17578"/>
                  </a:cubicBezTo>
                  <a:cubicBezTo>
                    <a:pt x="20639" y="13557"/>
                    <a:pt x="20639" y="7037"/>
                    <a:pt x="16796" y="3016"/>
                  </a:cubicBezTo>
                  <a:cubicBezTo>
                    <a:pt x="14875" y="1005"/>
                    <a:pt x="12358" y="0"/>
                    <a:pt x="9840" y="0"/>
                  </a:cubicBezTo>
                  <a:close/>
                </a:path>
              </a:pathLst>
            </a:custGeom>
            <a:ln w="3175" cap="flat">
              <a:noFill/>
              <a:miter lim="400000"/>
            </a:ln>
            <a:effectLst/>
          </p:spPr>
        </p:pic>
      </p:grpSp>
      <p:sp>
        <p:nvSpPr>
          <p:cNvPr id="147" name="Shape 147"/>
          <p:cNvSpPr/>
          <p:nvPr/>
        </p:nvSpPr>
        <p:spPr>
          <a:xfrm>
            <a:off x="1159238" y="4183360"/>
            <a:ext cx="2713497" cy="494251"/>
          </a:xfrm>
          <a:prstGeom prst="rect">
            <a:avLst/>
          </a:prstGeom>
          <a:ln w="3175">
            <a:miter lim="400000"/>
          </a:ln>
          <a:extLst>
            <a:ext uri="{C572A759-6A51-4108-AA02-DFA0A04FC94B}">
              <ma14:wrappingTextBoxFlag xmlns="" xmlns:ma14="http://schemas.microsoft.com/office/mac/drawingml/2011/main" val="1"/>
            </a:ext>
          </a:extLst>
        </p:spPr>
        <p:txBody>
          <a:bodyPr lIns="19050" tIns="19050" rIns="19050" bIns="19050">
            <a:normAutofit fontScale="70000" lnSpcReduction="20000"/>
          </a:bodyPr>
          <a:lstStyle>
            <a:lvl1pPr algn="ctr">
              <a:defRPr sz="5000" cap="all">
                <a:latin typeface="Avenir Next Demi Bold"/>
                <a:ea typeface="Avenir Next Demi Bold"/>
                <a:cs typeface="Avenir Next Demi Bold"/>
                <a:sym typeface="Avenir Next Demi Bold"/>
              </a:defRPr>
            </a:lvl1pPr>
          </a:lstStyle>
          <a:p>
            <a:r>
              <a:rPr lang="en-US" sz="2500" dirty="0">
                <a:latin typeface="Bahnschrift SemiBold" panose="020B0502040204020203" pitchFamily="34" charset="0"/>
              </a:rPr>
              <a:t>Customer account information</a:t>
            </a:r>
            <a:endParaRPr sz="2500" dirty="0">
              <a:latin typeface="Bahnschrift SemiBold" panose="020B0502040204020203" pitchFamily="34" charset="0"/>
            </a:endParaRPr>
          </a:p>
        </p:txBody>
      </p:sp>
      <p:sp>
        <p:nvSpPr>
          <p:cNvPr id="148" name="Shape 148"/>
          <p:cNvSpPr/>
          <p:nvPr/>
        </p:nvSpPr>
        <p:spPr>
          <a:xfrm>
            <a:off x="434443" y="5009921"/>
            <a:ext cx="4006063" cy="1222951"/>
          </a:xfrm>
          <a:prstGeom prst="rect">
            <a:avLst/>
          </a:prstGeom>
          <a:ln w="3175">
            <a:miter lim="400000"/>
          </a:ln>
          <a:extLst>
            <a:ext uri="{C572A759-6A51-4108-AA02-DFA0A04FC94B}">
              <ma14:wrappingTextBoxFlag xmlns="" xmlns:ma14="http://schemas.microsoft.com/office/mac/drawingml/2011/main" val="1"/>
            </a:ext>
          </a:extLst>
        </p:spPr>
        <p:txBody>
          <a:bodyPr lIns="19050" tIns="19050" rIns="19050" bIns="19050">
            <a:noAutofit/>
          </a:bodyPr>
          <a:lstStyle>
            <a:lvl1pPr algn="ctr"/>
          </a:lstStyle>
          <a:p>
            <a:r>
              <a:rPr lang="en-US" sz="1600" dirty="0">
                <a:latin typeface="Book Antiqua" panose="02040602050305030304" pitchFamily="18" charset="0"/>
              </a:rPr>
              <a:t>Tenure , Contract , PaperlessBilling , PaymentMethod , MonthlyCharges , TotalCharges</a:t>
            </a:r>
            <a:endParaRPr sz="1600" dirty="0">
              <a:latin typeface="Book Antiqua" panose="02040602050305030304" pitchFamily="18" charset="0"/>
            </a:endParaRPr>
          </a:p>
        </p:txBody>
      </p:sp>
      <p:sp>
        <p:nvSpPr>
          <p:cNvPr id="149" name="Shape 149"/>
          <p:cNvSpPr/>
          <p:nvPr/>
        </p:nvSpPr>
        <p:spPr>
          <a:xfrm>
            <a:off x="2351712" y="2595582"/>
            <a:ext cx="328549" cy="326074"/>
          </a:xfrm>
          <a:custGeom>
            <a:avLst/>
            <a:gdLst/>
            <a:ahLst/>
            <a:cxnLst>
              <a:cxn ang="0">
                <a:pos x="wd2" y="hd2"/>
              </a:cxn>
              <a:cxn ang="5400000">
                <a:pos x="wd2" y="hd2"/>
              </a:cxn>
              <a:cxn ang="10800000">
                <a:pos x="wd2" y="hd2"/>
              </a:cxn>
              <a:cxn ang="16200000">
                <a:pos x="wd2" y="hd2"/>
              </a:cxn>
            </a:cxnLst>
            <a:rect l="0" t="0" r="r" b="b"/>
            <a:pathLst>
              <a:path w="21600" h="21600" extrusionOk="0">
                <a:moveTo>
                  <a:pt x="4342" y="9406"/>
                </a:moveTo>
                <a:cubicBezTo>
                  <a:pt x="6145" y="12863"/>
                  <a:pt x="8868" y="15614"/>
                  <a:pt x="12290" y="17213"/>
                </a:cubicBezTo>
                <a:lnTo>
                  <a:pt x="14793" y="14685"/>
                </a:lnTo>
                <a:cubicBezTo>
                  <a:pt x="15234" y="14239"/>
                  <a:pt x="15712" y="14239"/>
                  <a:pt x="16154" y="14462"/>
                </a:cubicBezTo>
                <a:cubicBezTo>
                  <a:pt x="17295" y="14945"/>
                  <a:pt x="18877" y="15168"/>
                  <a:pt x="20239" y="15168"/>
                </a:cubicBezTo>
                <a:cubicBezTo>
                  <a:pt x="21158" y="15168"/>
                  <a:pt x="21600" y="15614"/>
                  <a:pt x="21600" y="16321"/>
                </a:cubicBezTo>
                <a:lnTo>
                  <a:pt x="21600" y="20448"/>
                </a:lnTo>
                <a:cubicBezTo>
                  <a:pt x="21600" y="21117"/>
                  <a:pt x="21158" y="21600"/>
                  <a:pt x="20239" y="21600"/>
                </a:cubicBezTo>
                <a:cubicBezTo>
                  <a:pt x="9089" y="21600"/>
                  <a:pt x="0" y="12640"/>
                  <a:pt x="0" y="1152"/>
                </a:cubicBezTo>
                <a:cubicBezTo>
                  <a:pt x="0" y="446"/>
                  <a:pt x="699" y="0"/>
                  <a:pt x="1361" y="0"/>
                </a:cubicBezTo>
                <a:lnTo>
                  <a:pt x="5483" y="0"/>
                </a:lnTo>
                <a:cubicBezTo>
                  <a:pt x="6145" y="0"/>
                  <a:pt x="6587" y="446"/>
                  <a:pt x="6587" y="1152"/>
                </a:cubicBezTo>
                <a:cubicBezTo>
                  <a:pt x="6587" y="2751"/>
                  <a:pt x="6844" y="4127"/>
                  <a:pt x="7286" y="5502"/>
                </a:cubicBezTo>
                <a:cubicBezTo>
                  <a:pt x="7507" y="5948"/>
                  <a:pt x="7286" y="6432"/>
                  <a:pt x="7065" y="6655"/>
                </a:cubicBezTo>
                <a:lnTo>
                  <a:pt x="4342" y="9406"/>
                </a:lnTo>
              </a:path>
            </a:pathLst>
          </a:custGeom>
          <a:solidFill>
            <a:srgbClr val="ABADC2"/>
          </a:solidFill>
          <a:ln w="3175">
            <a:miter lim="400000"/>
          </a:ln>
        </p:spPr>
        <p:txBody>
          <a:bodyPr lIns="22860" rIns="22860" anchor="ctr"/>
          <a:lstStyle/>
          <a:p>
            <a:pPr defTabSz="457200">
              <a:defRPr sz="1800">
                <a:solidFill>
                  <a:srgbClr val="000000"/>
                </a:solidFill>
                <a:latin typeface="Roboto Regular"/>
                <a:ea typeface="Roboto Regular"/>
                <a:cs typeface="Roboto Regular"/>
                <a:sym typeface="Roboto Regular"/>
              </a:defRPr>
            </a:pPr>
            <a:endParaRPr sz="900"/>
          </a:p>
        </p:txBody>
      </p:sp>
      <p:sp>
        <p:nvSpPr>
          <p:cNvPr id="150" name="Shape 150"/>
          <p:cNvSpPr/>
          <p:nvPr/>
        </p:nvSpPr>
        <p:spPr>
          <a:xfrm>
            <a:off x="2166954" y="4780266"/>
            <a:ext cx="698065" cy="1"/>
          </a:xfrm>
          <a:prstGeom prst="line">
            <a:avLst/>
          </a:prstGeom>
          <a:ln w="76200">
            <a:solidFill>
              <a:srgbClr val="343750"/>
            </a:solidFill>
            <a:miter lim="400000"/>
          </a:ln>
        </p:spPr>
        <p:txBody>
          <a:bodyPr lIns="19050" tIns="19050" rIns="19050" bIns="19050" anchor="ctr"/>
          <a:lstStyle/>
          <a:p>
            <a:pPr algn="ctr">
              <a:defRPr sz="3000">
                <a:solidFill>
                  <a:srgbClr val="000000"/>
                </a:solidFill>
                <a:latin typeface="Helvetica Light"/>
                <a:ea typeface="Helvetica Light"/>
                <a:cs typeface="Helvetica Light"/>
                <a:sym typeface="Helvetica Light"/>
              </a:defRPr>
            </a:pPr>
            <a:endParaRPr sz="1500"/>
          </a:p>
        </p:txBody>
      </p:sp>
      <p:graphicFrame>
        <p:nvGraphicFramePr>
          <p:cNvPr id="151" name="Chart 151"/>
          <p:cNvGraphicFramePr/>
          <p:nvPr/>
        </p:nvGraphicFramePr>
        <p:xfrm>
          <a:off x="5048021" y="1723340"/>
          <a:ext cx="2095959" cy="2095959"/>
        </p:xfrm>
        <a:graphic>
          <a:graphicData uri="http://schemas.openxmlformats.org/drawingml/2006/chart">
            <c:chart xmlns:c="http://schemas.openxmlformats.org/drawingml/2006/chart" xmlns:r="http://schemas.openxmlformats.org/officeDocument/2006/relationships" r:id="rId6"/>
          </a:graphicData>
        </a:graphic>
      </p:graphicFrame>
      <p:grpSp>
        <p:nvGrpSpPr>
          <p:cNvPr id="154" name="Group 154"/>
          <p:cNvGrpSpPr/>
          <p:nvPr/>
        </p:nvGrpSpPr>
        <p:grpSpPr>
          <a:xfrm>
            <a:off x="5210963" y="1886330"/>
            <a:ext cx="1770018" cy="1769970"/>
            <a:chOff x="-95" y="0"/>
            <a:chExt cx="3540034" cy="3539938"/>
          </a:xfrm>
        </p:grpSpPr>
        <p:sp>
          <p:nvSpPr>
            <p:cNvPr id="152" name="Shape 152"/>
            <p:cNvSpPr/>
            <p:nvPr/>
          </p:nvSpPr>
          <p:spPr>
            <a:xfrm>
              <a:off x="18" y="18"/>
              <a:ext cx="3539921" cy="3539921"/>
            </a:xfrm>
            <a:prstGeom prst="ellipse">
              <a:avLst/>
            </a:prstGeom>
            <a:solidFill>
              <a:srgbClr val="282A40"/>
            </a:soli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pic>
          <p:nvPicPr>
            <p:cNvPr id="153" name="bg_line-filtered.png"/>
            <p:cNvPicPr>
              <a:picLocks noChangeAspect="1"/>
            </p:cNvPicPr>
            <p:nvPr/>
          </p:nvPicPr>
          <p:blipFill>
            <a:blip r:embed="rId5">
              <a:alphaModFix amt="1000"/>
            </a:blip>
            <a:srcRect l="14213" t="32318" r="71268" b="41873"/>
            <a:stretch>
              <a:fillRect/>
            </a:stretch>
          </p:blipFill>
          <p:spPr>
            <a:xfrm>
              <a:off x="-96" y="0"/>
              <a:ext cx="3539921" cy="3539825"/>
            </a:xfrm>
            <a:custGeom>
              <a:avLst/>
              <a:gdLst/>
              <a:ahLst/>
              <a:cxnLst>
                <a:cxn ang="0">
                  <a:pos x="wd2" y="hd2"/>
                </a:cxn>
                <a:cxn ang="5400000">
                  <a:pos x="wd2" y="hd2"/>
                </a:cxn>
                <a:cxn ang="10800000">
                  <a:pos x="wd2" y="hd2"/>
                </a:cxn>
                <a:cxn ang="16200000">
                  <a:pos x="wd2" y="hd2"/>
                </a:cxn>
              </a:cxnLst>
              <a:rect l="0" t="0" r="r" b="b"/>
              <a:pathLst>
                <a:path w="19679" h="20595" extrusionOk="0">
                  <a:moveTo>
                    <a:pt x="9840" y="0"/>
                  </a:moveTo>
                  <a:cubicBezTo>
                    <a:pt x="7322" y="0"/>
                    <a:pt x="4803" y="1005"/>
                    <a:pt x="2882" y="3016"/>
                  </a:cubicBezTo>
                  <a:cubicBezTo>
                    <a:pt x="-961" y="7037"/>
                    <a:pt x="-961" y="13557"/>
                    <a:pt x="2882" y="17578"/>
                  </a:cubicBezTo>
                  <a:cubicBezTo>
                    <a:pt x="6724" y="21600"/>
                    <a:pt x="12954" y="21600"/>
                    <a:pt x="16796" y="17578"/>
                  </a:cubicBezTo>
                  <a:cubicBezTo>
                    <a:pt x="20639" y="13557"/>
                    <a:pt x="20639" y="7037"/>
                    <a:pt x="16796" y="3016"/>
                  </a:cubicBezTo>
                  <a:cubicBezTo>
                    <a:pt x="14875" y="1005"/>
                    <a:pt x="12358" y="0"/>
                    <a:pt x="9840" y="0"/>
                  </a:cubicBezTo>
                  <a:close/>
                </a:path>
              </a:pathLst>
            </a:custGeom>
            <a:ln w="3175" cap="flat">
              <a:noFill/>
              <a:miter lim="400000"/>
            </a:ln>
            <a:effectLst/>
          </p:spPr>
        </p:pic>
      </p:grpSp>
      <p:sp>
        <p:nvSpPr>
          <p:cNvPr id="155" name="Shape 155"/>
          <p:cNvSpPr/>
          <p:nvPr/>
        </p:nvSpPr>
        <p:spPr>
          <a:xfrm>
            <a:off x="4739252" y="4183360"/>
            <a:ext cx="2713496" cy="494251"/>
          </a:xfrm>
          <a:prstGeom prst="rect">
            <a:avLst/>
          </a:prstGeom>
          <a:ln w="3175">
            <a:miter lim="400000"/>
          </a:ln>
          <a:extLst>
            <a:ext uri="{C572A759-6A51-4108-AA02-DFA0A04FC94B}">
              <ma14:wrappingTextBoxFlag xmlns="" xmlns:ma14="http://schemas.microsoft.com/office/mac/drawingml/2011/main" val="1"/>
            </a:ext>
          </a:extLst>
        </p:spPr>
        <p:txBody>
          <a:bodyPr lIns="19050" tIns="19050" rIns="19050" bIns="19050">
            <a:normAutofit fontScale="70000" lnSpcReduction="20000"/>
          </a:bodyPr>
          <a:lstStyle>
            <a:lvl1pPr algn="ctr">
              <a:defRPr sz="5000" cap="all">
                <a:latin typeface="Avenir Next Demi Bold"/>
                <a:ea typeface="Avenir Next Demi Bold"/>
                <a:cs typeface="Avenir Next Demi Bold"/>
                <a:sym typeface="Avenir Next Demi Bold"/>
              </a:defRPr>
            </a:lvl1pPr>
          </a:lstStyle>
          <a:p>
            <a:r>
              <a:rPr lang="en-US" sz="2500" dirty="0">
                <a:latin typeface="Bahnschrift SemiBold" panose="020B0502040204020203" pitchFamily="34" charset="0"/>
              </a:rPr>
              <a:t>Demographic customer information</a:t>
            </a:r>
            <a:endParaRPr sz="2500" dirty="0">
              <a:latin typeface="Bahnschrift SemiBold" panose="020B0502040204020203" pitchFamily="34" charset="0"/>
            </a:endParaRPr>
          </a:p>
        </p:txBody>
      </p:sp>
      <p:sp>
        <p:nvSpPr>
          <p:cNvPr id="156" name="Shape 156"/>
          <p:cNvSpPr/>
          <p:nvPr/>
        </p:nvSpPr>
        <p:spPr>
          <a:xfrm>
            <a:off x="4866791" y="5009921"/>
            <a:ext cx="2458418" cy="1222951"/>
          </a:xfrm>
          <a:prstGeom prst="rect">
            <a:avLst/>
          </a:prstGeom>
          <a:ln w="3175">
            <a:miter lim="400000"/>
          </a:ln>
          <a:extLst>
            <a:ext uri="{C572A759-6A51-4108-AA02-DFA0A04FC94B}">
              <ma14:wrappingTextBoxFlag xmlns="" xmlns:ma14="http://schemas.microsoft.com/office/mac/drawingml/2011/main" val="1"/>
            </a:ext>
          </a:extLst>
        </p:spPr>
        <p:txBody>
          <a:bodyPr lIns="19050" tIns="19050" rIns="19050" bIns="19050">
            <a:normAutofit/>
          </a:bodyPr>
          <a:lstStyle>
            <a:lvl1pPr algn="ctr"/>
          </a:lstStyle>
          <a:p>
            <a:r>
              <a:rPr lang="en-US" sz="1600" dirty="0">
                <a:latin typeface="Book Antiqua" panose="02040602050305030304" pitchFamily="18" charset="0"/>
              </a:rPr>
              <a:t> Gender , SeniorCitizen , Partner , Dependents</a:t>
            </a:r>
            <a:endParaRPr sz="1600" dirty="0">
              <a:latin typeface="Book Antiqua" panose="02040602050305030304" pitchFamily="18" charset="0"/>
            </a:endParaRPr>
          </a:p>
        </p:txBody>
      </p:sp>
      <p:sp>
        <p:nvSpPr>
          <p:cNvPr id="157" name="Shape 157"/>
          <p:cNvSpPr/>
          <p:nvPr/>
        </p:nvSpPr>
        <p:spPr>
          <a:xfrm>
            <a:off x="5746968" y="4780266"/>
            <a:ext cx="698065" cy="1"/>
          </a:xfrm>
          <a:prstGeom prst="line">
            <a:avLst/>
          </a:prstGeom>
          <a:ln w="76200">
            <a:solidFill>
              <a:srgbClr val="343750"/>
            </a:solidFill>
            <a:miter lim="400000"/>
          </a:ln>
        </p:spPr>
        <p:txBody>
          <a:bodyPr lIns="19050" tIns="19050" rIns="19050" bIns="19050" anchor="ctr"/>
          <a:lstStyle/>
          <a:p>
            <a:pPr algn="ctr">
              <a:defRPr sz="3000">
                <a:solidFill>
                  <a:srgbClr val="000000"/>
                </a:solidFill>
                <a:latin typeface="Helvetica Light"/>
                <a:ea typeface="Helvetica Light"/>
                <a:cs typeface="Helvetica Light"/>
                <a:sym typeface="Helvetica Light"/>
              </a:defRPr>
            </a:pPr>
            <a:endParaRPr sz="1500"/>
          </a:p>
        </p:txBody>
      </p:sp>
      <p:graphicFrame>
        <p:nvGraphicFramePr>
          <p:cNvPr id="158" name="Chart 158"/>
          <p:cNvGraphicFramePr/>
          <p:nvPr/>
        </p:nvGraphicFramePr>
        <p:xfrm>
          <a:off x="8628035" y="1723340"/>
          <a:ext cx="2095959" cy="2095959"/>
        </p:xfrm>
        <a:graphic>
          <a:graphicData uri="http://schemas.openxmlformats.org/drawingml/2006/chart">
            <c:chart xmlns:c="http://schemas.openxmlformats.org/drawingml/2006/chart" xmlns:r="http://schemas.openxmlformats.org/officeDocument/2006/relationships" r:id="rId7"/>
          </a:graphicData>
        </a:graphic>
      </p:graphicFrame>
      <p:grpSp>
        <p:nvGrpSpPr>
          <p:cNvPr id="161" name="Group 161"/>
          <p:cNvGrpSpPr/>
          <p:nvPr/>
        </p:nvGrpSpPr>
        <p:grpSpPr>
          <a:xfrm>
            <a:off x="8790977" y="1886330"/>
            <a:ext cx="1770018" cy="1769970"/>
            <a:chOff x="-95" y="0"/>
            <a:chExt cx="3540034" cy="3539938"/>
          </a:xfrm>
        </p:grpSpPr>
        <p:sp>
          <p:nvSpPr>
            <p:cNvPr id="159" name="Shape 159"/>
            <p:cNvSpPr/>
            <p:nvPr/>
          </p:nvSpPr>
          <p:spPr>
            <a:xfrm>
              <a:off x="18" y="18"/>
              <a:ext cx="3539921" cy="3539921"/>
            </a:xfrm>
            <a:prstGeom prst="ellipse">
              <a:avLst/>
            </a:prstGeom>
            <a:solidFill>
              <a:srgbClr val="282A40"/>
            </a:solidFill>
            <a:ln w="3175" cap="flat">
              <a:noFill/>
              <a:miter lim="400000"/>
            </a:ln>
            <a:effectLst/>
          </p:spPr>
          <p:txBody>
            <a:bodyPr wrap="square" lIns="19050" tIns="19050" rIns="19050" bIns="19050" numCol="1" anchor="ctr">
              <a:noAutofit/>
            </a:bodyPr>
            <a:lstStyle/>
            <a:p>
              <a:pPr algn="ctr">
                <a:defRPr sz="3000">
                  <a:solidFill>
                    <a:srgbClr val="FFFFFF"/>
                  </a:solidFill>
                  <a:latin typeface="Helvetica Light"/>
                  <a:ea typeface="Helvetica Light"/>
                  <a:cs typeface="Helvetica Light"/>
                  <a:sym typeface="Helvetica Light"/>
                </a:defRPr>
              </a:pPr>
              <a:endParaRPr sz="1500"/>
            </a:p>
          </p:txBody>
        </p:sp>
        <p:pic>
          <p:nvPicPr>
            <p:cNvPr id="160" name="bg_line-filtered.png"/>
            <p:cNvPicPr>
              <a:picLocks noChangeAspect="1"/>
            </p:cNvPicPr>
            <p:nvPr/>
          </p:nvPicPr>
          <p:blipFill>
            <a:blip r:embed="rId5">
              <a:alphaModFix amt="1000"/>
            </a:blip>
            <a:srcRect l="14213" t="32318" r="71268" b="41873"/>
            <a:stretch>
              <a:fillRect/>
            </a:stretch>
          </p:blipFill>
          <p:spPr>
            <a:xfrm>
              <a:off x="-96" y="0"/>
              <a:ext cx="3539921" cy="3539825"/>
            </a:xfrm>
            <a:custGeom>
              <a:avLst/>
              <a:gdLst/>
              <a:ahLst/>
              <a:cxnLst>
                <a:cxn ang="0">
                  <a:pos x="wd2" y="hd2"/>
                </a:cxn>
                <a:cxn ang="5400000">
                  <a:pos x="wd2" y="hd2"/>
                </a:cxn>
                <a:cxn ang="10800000">
                  <a:pos x="wd2" y="hd2"/>
                </a:cxn>
                <a:cxn ang="16200000">
                  <a:pos x="wd2" y="hd2"/>
                </a:cxn>
              </a:cxnLst>
              <a:rect l="0" t="0" r="r" b="b"/>
              <a:pathLst>
                <a:path w="19679" h="20595" extrusionOk="0">
                  <a:moveTo>
                    <a:pt x="9840" y="0"/>
                  </a:moveTo>
                  <a:cubicBezTo>
                    <a:pt x="7322" y="0"/>
                    <a:pt x="4803" y="1005"/>
                    <a:pt x="2882" y="3016"/>
                  </a:cubicBezTo>
                  <a:cubicBezTo>
                    <a:pt x="-961" y="7037"/>
                    <a:pt x="-961" y="13557"/>
                    <a:pt x="2882" y="17578"/>
                  </a:cubicBezTo>
                  <a:cubicBezTo>
                    <a:pt x="6724" y="21600"/>
                    <a:pt x="12954" y="21600"/>
                    <a:pt x="16796" y="17578"/>
                  </a:cubicBezTo>
                  <a:cubicBezTo>
                    <a:pt x="20639" y="13557"/>
                    <a:pt x="20639" y="7037"/>
                    <a:pt x="16796" y="3016"/>
                  </a:cubicBezTo>
                  <a:cubicBezTo>
                    <a:pt x="14875" y="1005"/>
                    <a:pt x="12358" y="0"/>
                    <a:pt x="9840" y="0"/>
                  </a:cubicBezTo>
                  <a:close/>
                </a:path>
              </a:pathLst>
            </a:custGeom>
            <a:ln w="3175" cap="flat">
              <a:noFill/>
              <a:miter lim="400000"/>
            </a:ln>
            <a:effectLst/>
          </p:spPr>
        </p:pic>
      </p:grpSp>
      <p:sp>
        <p:nvSpPr>
          <p:cNvPr id="162" name="Shape 162"/>
          <p:cNvSpPr/>
          <p:nvPr/>
        </p:nvSpPr>
        <p:spPr>
          <a:xfrm>
            <a:off x="7893334" y="4079250"/>
            <a:ext cx="3438173" cy="494251"/>
          </a:xfrm>
          <a:prstGeom prst="rect">
            <a:avLst/>
          </a:prstGeom>
          <a:ln w="3175">
            <a:miter lim="400000"/>
          </a:ln>
          <a:extLst>
            <a:ext uri="{C572A759-6A51-4108-AA02-DFA0A04FC94B}">
              <ma14:wrappingTextBoxFlag xmlns="" xmlns:ma14="http://schemas.microsoft.com/office/mac/drawingml/2011/main" val="1"/>
            </a:ext>
          </a:extLst>
        </p:spPr>
        <p:txBody>
          <a:bodyPr lIns="19050" tIns="19050" rIns="19050" bIns="19050">
            <a:noAutofit/>
          </a:bodyPr>
          <a:lstStyle>
            <a:lvl1pPr algn="ctr">
              <a:defRPr sz="5000" cap="all">
                <a:latin typeface="Avenir Next Demi Bold"/>
                <a:ea typeface="Avenir Next Demi Bold"/>
                <a:cs typeface="Avenir Next Demi Bold"/>
                <a:sym typeface="Avenir Next Demi Bold"/>
              </a:defRPr>
            </a:lvl1pPr>
          </a:lstStyle>
          <a:p>
            <a:r>
              <a:rPr lang="en-US" sz="1800" dirty="0">
                <a:latin typeface="Bahnschrift SemiBold" panose="020B0502040204020203" pitchFamily="34" charset="0"/>
              </a:rPr>
              <a:t>Services that each customer has signed up for</a:t>
            </a:r>
            <a:endParaRPr sz="1800" dirty="0">
              <a:latin typeface="Bahnschrift SemiBold" panose="020B0502040204020203" pitchFamily="34" charset="0"/>
            </a:endParaRPr>
          </a:p>
        </p:txBody>
      </p:sp>
      <p:sp>
        <p:nvSpPr>
          <p:cNvPr id="163" name="Shape 163"/>
          <p:cNvSpPr/>
          <p:nvPr/>
        </p:nvSpPr>
        <p:spPr>
          <a:xfrm>
            <a:off x="7626485" y="5009921"/>
            <a:ext cx="4130954" cy="1222951"/>
          </a:xfrm>
          <a:prstGeom prst="rect">
            <a:avLst/>
          </a:prstGeom>
          <a:ln w="3175">
            <a:miter lim="400000"/>
          </a:ln>
          <a:extLst>
            <a:ext uri="{C572A759-6A51-4108-AA02-DFA0A04FC94B}">
              <ma14:wrappingTextBoxFlag xmlns="" xmlns:ma14="http://schemas.microsoft.com/office/mac/drawingml/2011/main" val="1"/>
            </a:ext>
          </a:extLst>
        </p:spPr>
        <p:txBody>
          <a:bodyPr lIns="19050" tIns="19050" rIns="19050" bIns="19050">
            <a:noAutofit/>
          </a:bodyPr>
          <a:lstStyle>
            <a:lvl1pPr algn="ctr"/>
          </a:lstStyle>
          <a:p>
            <a:r>
              <a:rPr lang="en-US" sz="1600" dirty="0">
                <a:latin typeface="Book Antiqua" panose="02040602050305030304" pitchFamily="18" charset="0"/>
              </a:rPr>
              <a:t>PhoneService , MultipleLines , InternetService , OnlineSecurity , OnlineBackup , DeviceProtection , TechSupport , StreamingTV , StreamingMovies</a:t>
            </a:r>
            <a:endParaRPr sz="1600" dirty="0">
              <a:latin typeface="Book Antiqua" panose="02040602050305030304" pitchFamily="18" charset="0"/>
            </a:endParaRPr>
          </a:p>
        </p:txBody>
      </p:sp>
      <p:sp>
        <p:nvSpPr>
          <p:cNvPr id="164" name="Shape 164"/>
          <p:cNvSpPr/>
          <p:nvPr/>
        </p:nvSpPr>
        <p:spPr>
          <a:xfrm>
            <a:off x="9326982" y="4780266"/>
            <a:ext cx="698065" cy="1"/>
          </a:xfrm>
          <a:prstGeom prst="line">
            <a:avLst/>
          </a:prstGeom>
          <a:ln w="76200">
            <a:solidFill>
              <a:srgbClr val="343750"/>
            </a:solidFill>
            <a:miter lim="400000"/>
          </a:ln>
        </p:spPr>
        <p:txBody>
          <a:bodyPr lIns="19050" tIns="19050" rIns="19050" bIns="19050" anchor="ctr"/>
          <a:lstStyle/>
          <a:p>
            <a:pPr algn="ctr">
              <a:defRPr sz="3000">
                <a:solidFill>
                  <a:srgbClr val="000000"/>
                </a:solidFill>
                <a:latin typeface="Helvetica Light"/>
                <a:ea typeface="Helvetica Light"/>
                <a:cs typeface="Helvetica Light"/>
                <a:sym typeface="Helvetica Light"/>
              </a:defRPr>
            </a:pPr>
            <a:endParaRPr sz="1500"/>
          </a:p>
        </p:txBody>
      </p:sp>
      <p:sp>
        <p:nvSpPr>
          <p:cNvPr id="165" name="Shape 165"/>
          <p:cNvSpPr/>
          <p:nvPr/>
        </p:nvSpPr>
        <p:spPr>
          <a:xfrm>
            <a:off x="9518090" y="2590061"/>
            <a:ext cx="334820" cy="337118"/>
          </a:xfrm>
          <a:custGeom>
            <a:avLst/>
            <a:gdLst/>
            <a:ahLst/>
            <a:cxnLst>
              <a:cxn ang="0">
                <a:pos x="wd2" y="hd2"/>
              </a:cxn>
              <a:cxn ang="5400000">
                <a:pos x="wd2" y="hd2"/>
              </a:cxn>
              <a:cxn ang="10800000">
                <a:pos x="wd2" y="hd2"/>
              </a:cxn>
              <a:cxn ang="16200000">
                <a:pos x="wd2" y="hd2"/>
              </a:cxn>
            </a:cxnLst>
            <a:rect l="0" t="0" r="r" b="b"/>
            <a:pathLst>
              <a:path w="21600" h="21600" extrusionOk="0">
                <a:moveTo>
                  <a:pt x="20559" y="4327"/>
                </a:moveTo>
                <a:lnTo>
                  <a:pt x="18476" y="4327"/>
                </a:lnTo>
                <a:lnTo>
                  <a:pt x="18476" y="13978"/>
                </a:lnTo>
                <a:lnTo>
                  <a:pt x="4333" y="13978"/>
                </a:lnTo>
                <a:lnTo>
                  <a:pt x="4333" y="16242"/>
                </a:lnTo>
                <a:cubicBezTo>
                  <a:pt x="4333" y="16874"/>
                  <a:pt x="4770" y="17273"/>
                  <a:pt x="5375" y="17273"/>
                </a:cubicBezTo>
                <a:lnTo>
                  <a:pt x="17435" y="17273"/>
                </a:lnTo>
                <a:lnTo>
                  <a:pt x="21600" y="21600"/>
                </a:lnTo>
                <a:lnTo>
                  <a:pt x="21600" y="5358"/>
                </a:lnTo>
                <a:cubicBezTo>
                  <a:pt x="21600" y="4726"/>
                  <a:pt x="21163" y="4327"/>
                  <a:pt x="20559" y="4327"/>
                </a:cubicBezTo>
                <a:close/>
                <a:moveTo>
                  <a:pt x="16192" y="10684"/>
                </a:moveTo>
                <a:lnTo>
                  <a:pt x="16192" y="1032"/>
                </a:lnTo>
                <a:cubicBezTo>
                  <a:pt x="16192" y="399"/>
                  <a:pt x="15755" y="0"/>
                  <a:pt x="15150" y="0"/>
                </a:cubicBezTo>
                <a:lnTo>
                  <a:pt x="1041" y="0"/>
                </a:lnTo>
                <a:cubicBezTo>
                  <a:pt x="403" y="0"/>
                  <a:pt x="0" y="399"/>
                  <a:pt x="0" y="1032"/>
                </a:cubicBezTo>
                <a:lnTo>
                  <a:pt x="0" y="16242"/>
                </a:lnTo>
                <a:lnTo>
                  <a:pt x="4333" y="11948"/>
                </a:lnTo>
                <a:lnTo>
                  <a:pt x="15150" y="11948"/>
                </a:lnTo>
                <a:cubicBezTo>
                  <a:pt x="15755" y="11948"/>
                  <a:pt x="16192" y="11516"/>
                  <a:pt x="16192" y="10684"/>
                </a:cubicBezTo>
                <a:close/>
              </a:path>
            </a:pathLst>
          </a:custGeom>
          <a:solidFill>
            <a:srgbClr val="ABADC2"/>
          </a:solidFill>
          <a:ln w="3175">
            <a:miter lim="400000"/>
          </a:ln>
        </p:spPr>
        <p:txBody>
          <a:bodyPr lIns="22860" rIns="22860" anchor="ctr"/>
          <a:lstStyle/>
          <a:p>
            <a:pPr defTabSz="457200">
              <a:defRPr sz="1800">
                <a:solidFill>
                  <a:srgbClr val="000000"/>
                </a:solidFill>
                <a:latin typeface="Roboto Regular"/>
                <a:ea typeface="Roboto Regular"/>
                <a:cs typeface="Roboto Regular"/>
                <a:sym typeface="Roboto Regular"/>
              </a:defRPr>
            </a:pPr>
            <a:endParaRPr sz="900"/>
          </a:p>
        </p:txBody>
      </p:sp>
      <p:sp>
        <p:nvSpPr>
          <p:cNvPr id="166" name="Shape 166"/>
          <p:cNvSpPr/>
          <p:nvPr/>
        </p:nvSpPr>
        <p:spPr>
          <a:xfrm>
            <a:off x="5955678" y="2624487"/>
            <a:ext cx="280645" cy="293665"/>
          </a:xfrm>
          <a:custGeom>
            <a:avLst/>
            <a:gdLst/>
            <a:ahLst/>
            <a:cxnLst>
              <a:cxn ang="0">
                <a:pos x="wd2" y="hd2"/>
              </a:cxn>
              <a:cxn ang="5400000">
                <a:pos x="wd2" y="hd2"/>
              </a:cxn>
              <a:cxn ang="10800000">
                <a:pos x="wd2" y="hd2"/>
              </a:cxn>
              <a:cxn ang="16200000">
                <a:pos x="wd2" y="hd2"/>
              </a:cxn>
            </a:cxnLst>
            <a:rect l="0" t="0" r="r" b="b"/>
            <a:pathLst>
              <a:path w="21600" h="21600" extrusionOk="0">
                <a:moveTo>
                  <a:pt x="21600" y="15020"/>
                </a:moveTo>
                <a:lnTo>
                  <a:pt x="21600" y="12986"/>
                </a:lnTo>
                <a:lnTo>
                  <a:pt x="12524" y="7618"/>
                </a:lnTo>
                <a:lnTo>
                  <a:pt x="12524" y="1645"/>
                </a:lnTo>
                <a:cubicBezTo>
                  <a:pt x="12524" y="822"/>
                  <a:pt x="11662" y="0"/>
                  <a:pt x="10800" y="0"/>
                </a:cubicBezTo>
                <a:cubicBezTo>
                  <a:pt x="9938" y="0"/>
                  <a:pt x="9076" y="822"/>
                  <a:pt x="9076" y="1645"/>
                </a:cubicBezTo>
                <a:lnTo>
                  <a:pt x="9076" y="7618"/>
                </a:lnTo>
                <a:lnTo>
                  <a:pt x="0" y="12986"/>
                </a:lnTo>
                <a:lnTo>
                  <a:pt x="0" y="15020"/>
                </a:lnTo>
                <a:lnTo>
                  <a:pt x="9076" y="12337"/>
                </a:lnTo>
                <a:lnTo>
                  <a:pt x="9076" y="18310"/>
                </a:lnTo>
                <a:lnTo>
                  <a:pt x="6897" y="19955"/>
                </a:lnTo>
                <a:lnTo>
                  <a:pt x="6897" y="21600"/>
                </a:lnTo>
                <a:lnTo>
                  <a:pt x="10800" y="20604"/>
                </a:lnTo>
                <a:lnTo>
                  <a:pt x="14657" y="21600"/>
                </a:lnTo>
                <a:lnTo>
                  <a:pt x="14657" y="19955"/>
                </a:lnTo>
                <a:lnTo>
                  <a:pt x="12524" y="18310"/>
                </a:lnTo>
                <a:lnTo>
                  <a:pt x="12524" y="12337"/>
                </a:lnTo>
                <a:lnTo>
                  <a:pt x="21600" y="15020"/>
                </a:lnTo>
              </a:path>
            </a:pathLst>
          </a:custGeom>
          <a:solidFill>
            <a:srgbClr val="ABADC2"/>
          </a:solidFill>
          <a:ln w="3175">
            <a:miter lim="400000"/>
          </a:ln>
        </p:spPr>
        <p:txBody>
          <a:bodyPr lIns="22860" rIns="22860" anchor="ctr"/>
          <a:lstStyle/>
          <a:p>
            <a:pPr defTabSz="457200">
              <a:defRPr sz="1800">
                <a:solidFill>
                  <a:srgbClr val="000000"/>
                </a:solidFill>
                <a:latin typeface="Roboto Regular"/>
                <a:ea typeface="Roboto Regular"/>
                <a:cs typeface="Roboto Regular"/>
                <a:sym typeface="Roboto Regular"/>
              </a:defRPr>
            </a:pPr>
            <a:endParaRPr sz="900"/>
          </a:p>
        </p:txBody>
      </p:sp>
      <p:sp>
        <p:nvSpPr>
          <p:cNvPr id="29" name="Title 7">
            <a:extLst>
              <a:ext uri="{FF2B5EF4-FFF2-40B4-BE49-F238E27FC236}">
                <a16:creationId xmlns:a16="http://schemas.microsoft.com/office/drawing/2014/main" id="{486BD6FB-75B7-4C4E-A5E1-0B4960456850}"/>
              </a:ext>
            </a:extLst>
          </p:cNvPr>
          <p:cNvSpPr txBox="1">
            <a:spLocks/>
          </p:cNvSpPr>
          <p:nvPr/>
        </p:nvSpPr>
        <p:spPr>
          <a:xfrm>
            <a:off x="443729" y="199385"/>
            <a:ext cx="11322995" cy="1468735"/>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b="1" kern="1200">
                <a:solidFill>
                  <a:schemeClr val="tx1"/>
                </a:solidFill>
                <a:latin typeface="+mj-lt"/>
                <a:ea typeface="+mj-ea"/>
                <a:cs typeface="+mj-cs"/>
              </a:defRPr>
            </a:lvl1pPr>
          </a:lstStyle>
          <a:p>
            <a:r>
              <a:rPr lang="en-US" sz="4400" dirty="0">
                <a:solidFill>
                  <a:schemeClr val="bg1"/>
                </a:solidFill>
                <a:latin typeface="Baskerville Old Face" panose="02020602080505020303" pitchFamily="18" charset="0"/>
              </a:rPr>
              <a:t>Data Descriptions</a:t>
            </a:r>
          </a:p>
          <a:p>
            <a:r>
              <a:rPr lang="en-US" sz="800" dirty="0">
                <a:solidFill>
                  <a:schemeClr val="bg1"/>
                </a:solidFill>
                <a:latin typeface="Baskerville Old Face" panose="02020602080505020303" pitchFamily="18" charset="0"/>
              </a:rPr>
              <a:t>______________________________________________________________________________________________________________________________________________________________________</a:t>
            </a:r>
          </a:p>
          <a:p>
            <a:r>
              <a:rPr lang="en-US" sz="1800" dirty="0">
                <a:solidFill>
                  <a:schemeClr val="bg1"/>
                </a:solidFill>
                <a:latin typeface="Baskerville Old Face" panose="02020602080505020303" pitchFamily="18" charset="0"/>
              </a:rPr>
              <a:t>Churn: Whether the customer churned or not (Yes or No).</a:t>
            </a:r>
          </a:p>
          <a:p>
            <a:r>
              <a:rPr lang="en-US" sz="1800" dirty="0">
                <a:solidFill>
                  <a:schemeClr val="bg1"/>
                </a:solidFill>
                <a:latin typeface="Baskerville Old Face" panose="02020602080505020303" pitchFamily="18" charset="0"/>
              </a:rPr>
              <a:t> Number of features in the data set: 21.</a:t>
            </a:r>
            <a:br>
              <a:rPr lang="en-US" sz="1800" dirty="0">
                <a:solidFill>
                  <a:schemeClr val="bg1"/>
                </a:solidFill>
                <a:latin typeface="Baskerville Old Face" panose="02020602080505020303" pitchFamily="18" charset="0"/>
              </a:rPr>
            </a:br>
            <a:r>
              <a:rPr lang="en-US" sz="1800" dirty="0">
                <a:solidFill>
                  <a:schemeClr val="bg1"/>
                </a:solidFill>
                <a:latin typeface="Baskerville Old Face" panose="02020602080505020303" pitchFamily="18" charset="0"/>
              </a:rPr>
              <a:t>       These features can also be sub-divided into:</a:t>
            </a:r>
          </a:p>
        </p:txBody>
      </p:sp>
      <p:sp>
        <p:nvSpPr>
          <p:cNvPr id="31" name="Slide Number Placeholder 3">
            <a:extLst>
              <a:ext uri="{FF2B5EF4-FFF2-40B4-BE49-F238E27FC236}">
                <a16:creationId xmlns:a16="http://schemas.microsoft.com/office/drawing/2014/main" id="{70100323-D7F9-43BD-9378-CDB77004D804}"/>
              </a:ext>
            </a:extLst>
          </p:cNvPr>
          <p:cNvSpPr txBox="1">
            <a:spLocks/>
          </p:cNvSpPr>
          <p:nvPr/>
        </p:nvSpPr>
        <p:spPr>
          <a:xfrm>
            <a:off x="11658612" y="6369817"/>
            <a:ext cx="367408" cy="27699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B84D2E29-67F4-44D8-B0E3-F54815B4F123}" type="slidenum">
              <a:rPr lang="en-US" sz="1200" smtClean="0">
                <a:solidFill>
                  <a:prstClr val="white"/>
                </a:solidFill>
                <a:latin typeface="Calibri" panose="020F0502020204030204"/>
              </a:rPr>
              <a:pPr algn="ctr"/>
              <a:t>4</a:t>
            </a:fld>
            <a:endParaRPr lang="en-US" sz="1200" dirty="0">
              <a:solidFill>
                <a:prstClr val="white"/>
              </a:solidFill>
              <a:latin typeface="Calibri" panose="020F0502020204030204"/>
            </a:endParaRPr>
          </a:p>
        </p:txBody>
      </p:sp>
    </p:spTree>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3" name="Picture 432">
            <a:extLst>
              <a:ext uri="{FF2B5EF4-FFF2-40B4-BE49-F238E27FC236}">
                <a16:creationId xmlns:a16="http://schemas.microsoft.com/office/drawing/2014/main" id="{A49C9C79-B182-4370-8292-EBEF148EA056}"/>
              </a:ext>
            </a:extLst>
          </p:cNvPr>
          <p:cNvPicPr>
            <a:picLocks noChangeAspect="1"/>
          </p:cNvPicPr>
          <p:nvPr/>
        </p:nvPicPr>
        <p:blipFill>
          <a:blip r:embed="rId3" cstate="screen">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p:blipFill>
        <p:spPr>
          <a:xfrm>
            <a:off x="7064661" y="0"/>
            <a:ext cx="5127339" cy="2884128"/>
          </a:xfrm>
          <a:custGeom>
            <a:avLst/>
            <a:gdLst>
              <a:gd name="connsiteX0" fmla="*/ 145680 w 4381094"/>
              <a:gd name="connsiteY0" fmla="*/ 0 h 4168731"/>
              <a:gd name="connsiteX1" fmla="*/ 4381094 w 4381094"/>
              <a:gd name="connsiteY1" fmla="*/ 0 h 4168731"/>
              <a:gd name="connsiteX2" fmla="*/ 4381094 w 4381094"/>
              <a:gd name="connsiteY2" fmla="*/ 3945327 h 4168731"/>
              <a:gd name="connsiteX3" fmla="*/ 4165051 w 4381094"/>
              <a:gd name="connsiteY3" fmla="*/ 4024399 h 4168731"/>
              <a:gd name="connsiteX4" fmla="*/ 3210382 w 4381094"/>
              <a:gd name="connsiteY4" fmla="*/ 4168731 h 4168731"/>
              <a:gd name="connsiteX5" fmla="*/ 0 w 4381094"/>
              <a:gd name="connsiteY5" fmla="*/ 958349 h 4168731"/>
              <a:gd name="connsiteX6" fmla="*/ 144333 w 4381094"/>
              <a:gd name="connsiteY6" fmla="*/ 3680 h 4168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094" h="4168731">
                <a:moveTo>
                  <a:pt x="145680" y="0"/>
                </a:moveTo>
                <a:lnTo>
                  <a:pt x="4381094" y="0"/>
                </a:lnTo>
                <a:lnTo>
                  <a:pt x="4381094" y="3945327"/>
                </a:lnTo>
                <a:lnTo>
                  <a:pt x="4165051" y="4024399"/>
                </a:lnTo>
                <a:cubicBezTo>
                  <a:pt x="3863472" y="4118200"/>
                  <a:pt x="3542828" y="4168731"/>
                  <a:pt x="3210382" y="4168731"/>
                </a:cubicBezTo>
                <a:cubicBezTo>
                  <a:pt x="1437337" y="4168731"/>
                  <a:pt x="0" y="2731394"/>
                  <a:pt x="0" y="958349"/>
                </a:cubicBezTo>
                <a:cubicBezTo>
                  <a:pt x="0" y="625903"/>
                  <a:pt x="50532" y="305259"/>
                  <a:pt x="144333" y="3680"/>
                </a:cubicBezTo>
                <a:close/>
              </a:path>
            </a:pathLst>
          </a:custGeom>
        </p:spPr>
      </p:pic>
      <p:sp>
        <p:nvSpPr>
          <p:cNvPr id="5" name="Title 4">
            <a:extLst>
              <a:ext uri="{FF2B5EF4-FFF2-40B4-BE49-F238E27FC236}">
                <a16:creationId xmlns:a16="http://schemas.microsoft.com/office/drawing/2014/main" id="{A3E492A7-4C5A-440B-8EAA-19B798FBF8ED}"/>
              </a:ext>
            </a:extLst>
          </p:cNvPr>
          <p:cNvSpPr>
            <a:spLocks noGrp="1"/>
          </p:cNvSpPr>
          <p:nvPr>
            <p:ph type="title"/>
          </p:nvPr>
        </p:nvSpPr>
        <p:spPr>
          <a:xfrm>
            <a:off x="106160" y="175135"/>
            <a:ext cx="6958500" cy="775612"/>
          </a:xfrm>
        </p:spPr>
        <p:txBody>
          <a:bodyPr>
            <a:normAutofit fontScale="90000"/>
          </a:bodyPr>
          <a:lstStyle/>
          <a:p>
            <a:pPr algn="ctr"/>
            <a:r>
              <a:rPr lang="en-IL" sz="4000" dirty="0">
                <a:solidFill>
                  <a:srgbClr val="652D74"/>
                </a:solidFill>
                <a:latin typeface="Baskerville Old Face" panose="02020602080505020303" pitchFamily="18" charset="0"/>
              </a:rPr>
              <a:t>What is the distribution of the labels?</a:t>
            </a:r>
            <a:br>
              <a:rPr lang="en-US" sz="4000" dirty="0">
                <a:solidFill>
                  <a:srgbClr val="652D74"/>
                </a:solidFill>
                <a:latin typeface="Baskerville Old Face" panose="02020602080505020303" pitchFamily="18" charset="0"/>
              </a:rPr>
            </a:br>
            <a:r>
              <a:rPr lang="en-US" sz="1100" dirty="0">
                <a:solidFill>
                  <a:srgbClr val="652D74"/>
                </a:solidFill>
                <a:latin typeface="Baskerville Old Face" panose="02020602080505020303" pitchFamily="18" charset="0"/>
              </a:rPr>
              <a:t>_________________________________________________________________________________________________</a:t>
            </a:r>
            <a:br>
              <a:rPr lang="en-US" sz="1100" dirty="0">
                <a:solidFill>
                  <a:srgbClr val="652D74"/>
                </a:solidFill>
                <a:latin typeface="Baskerville Old Face" panose="02020602080505020303" pitchFamily="18" charset="0"/>
              </a:rPr>
            </a:br>
            <a:endParaRPr lang="ru-RU" sz="1100" dirty="0">
              <a:solidFill>
                <a:srgbClr val="652D74"/>
              </a:solidFill>
            </a:endParaRPr>
          </a:p>
        </p:txBody>
      </p:sp>
      <p:sp>
        <p:nvSpPr>
          <p:cNvPr id="4" name="Slide Number Placeholder 3">
            <a:extLst>
              <a:ext uri="{FF2B5EF4-FFF2-40B4-BE49-F238E27FC236}">
                <a16:creationId xmlns:a16="http://schemas.microsoft.com/office/drawing/2014/main" id="{93FCD812-9A69-4271-B1D2-147C08454199}"/>
              </a:ext>
            </a:extLst>
          </p:cNvPr>
          <p:cNvSpPr>
            <a:spLocks noGrp="1"/>
          </p:cNvSpPr>
          <p:nvPr>
            <p:ph type="sldNum" sz="quarter" idx="4"/>
          </p:nvPr>
        </p:nvSpPr>
        <p:spPr/>
        <p:txBody>
          <a:bodyPr/>
          <a:lstStyle/>
          <a:p>
            <a:fld id="{B84D2E29-67F4-44D8-B0E3-F54815B4F123}" type="slidenum">
              <a:rPr lang="en-US" smtClean="0"/>
              <a:t>5</a:t>
            </a:fld>
            <a:endParaRPr lang="en-US"/>
          </a:p>
        </p:txBody>
      </p:sp>
      <p:sp>
        <p:nvSpPr>
          <p:cNvPr id="434" name="Rectangle 34">
            <a:extLst>
              <a:ext uri="{FF2B5EF4-FFF2-40B4-BE49-F238E27FC236}">
                <a16:creationId xmlns:a16="http://schemas.microsoft.com/office/drawing/2014/main" id="{504030A9-3979-4CAA-8672-19297E7D91DA}"/>
              </a:ext>
            </a:extLst>
          </p:cNvPr>
          <p:cNvSpPr/>
          <p:nvPr/>
        </p:nvSpPr>
        <p:spPr>
          <a:xfrm rot="5400000" flipV="1">
            <a:off x="3770757" y="-504314"/>
            <a:ext cx="3603283" cy="11144797"/>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 name="connsiteX0" fmla="*/ 0 w 3479810"/>
              <a:gd name="connsiteY0" fmla="*/ 0 h 4128009"/>
              <a:gd name="connsiteX1" fmla="*/ 3479810 w 3479810"/>
              <a:gd name="connsiteY1" fmla="*/ 4553 h 4128009"/>
              <a:gd name="connsiteX2" fmla="*/ 3479810 w 3479810"/>
              <a:gd name="connsiteY2" fmla="*/ 4106198 h 4128009"/>
              <a:gd name="connsiteX3" fmla="*/ 2185493 w 3479810"/>
              <a:gd name="connsiteY3" fmla="*/ 775263 h 4128009"/>
              <a:gd name="connsiteX4" fmla="*/ 0 w 3479810"/>
              <a:gd name="connsiteY4" fmla="*/ 0 h 4128009"/>
              <a:gd name="connsiteX0" fmla="*/ 0 w 3479810"/>
              <a:gd name="connsiteY0" fmla="*/ 0 h 4440979"/>
              <a:gd name="connsiteX1" fmla="*/ 3479810 w 3479810"/>
              <a:gd name="connsiteY1" fmla="*/ 4553 h 4440979"/>
              <a:gd name="connsiteX2" fmla="*/ 3479810 w 3479810"/>
              <a:gd name="connsiteY2" fmla="*/ 4106198 h 4440979"/>
              <a:gd name="connsiteX3" fmla="*/ 1977641 w 3479810"/>
              <a:gd name="connsiteY3" fmla="*/ 4063117 h 4440979"/>
              <a:gd name="connsiteX4" fmla="*/ 2185493 w 3479810"/>
              <a:gd name="connsiteY4" fmla="*/ 775263 h 4440979"/>
              <a:gd name="connsiteX5" fmla="*/ 0 w 3479810"/>
              <a:gd name="connsiteY5" fmla="*/ 0 h 4440979"/>
              <a:gd name="connsiteX0" fmla="*/ 0 w 3586039"/>
              <a:gd name="connsiteY0" fmla="*/ 0 h 4444270"/>
              <a:gd name="connsiteX1" fmla="*/ 3586039 w 3586039"/>
              <a:gd name="connsiteY1" fmla="*/ 7844 h 4444270"/>
              <a:gd name="connsiteX2" fmla="*/ 3586039 w 3586039"/>
              <a:gd name="connsiteY2" fmla="*/ 4109489 h 4444270"/>
              <a:gd name="connsiteX3" fmla="*/ 2083870 w 3586039"/>
              <a:gd name="connsiteY3" fmla="*/ 4066408 h 4444270"/>
              <a:gd name="connsiteX4" fmla="*/ 2291722 w 3586039"/>
              <a:gd name="connsiteY4" fmla="*/ 778554 h 4444270"/>
              <a:gd name="connsiteX5" fmla="*/ 0 w 3586039"/>
              <a:gd name="connsiteY5" fmla="*/ 0 h 4444270"/>
              <a:gd name="connsiteX0" fmla="*/ 0 w 2364395"/>
              <a:gd name="connsiteY0" fmla="*/ 0 h 4444270"/>
              <a:gd name="connsiteX1" fmla="*/ 2364395 w 2364395"/>
              <a:gd name="connsiteY1" fmla="*/ 7844 h 4444270"/>
              <a:gd name="connsiteX2" fmla="*/ 2364395 w 2364395"/>
              <a:gd name="connsiteY2" fmla="*/ 4109489 h 4444270"/>
              <a:gd name="connsiteX3" fmla="*/ 862226 w 2364395"/>
              <a:gd name="connsiteY3" fmla="*/ 4066408 h 4444270"/>
              <a:gd name="connsiteX4" fmla="*/ 1070078 w 2364395"/>
              <a:gd name="connsiteY4" fmla="*/ 778554 h 4444270"/>
              <a:gd name="connsiteX5" fmla="*/ 0 w 2364395"/>
              <a:gd name="connsiteY5" fmla="*/ 0 h 4444270"/>
              <a:gd name="connsiteX0" fmla="*/ 0 w 2364395"/>
              <a:gd name="connsiteY0" fmla="*/ 0 h 4444270"/>
              <a:gd name="connsiteX1" fmla="*/ 2364395 w 2364395"/>
              <a:gd name="connsiteY1" fmla="*/ 7844 h 4444270"/>
              <a:gd name="connsiteX2" fmla="*/ 2364395 w 2364395"/>
              <a:gd name="connsiteY2" fmla="*/ 4109489 h 4444270"/>
              <a:gd name="connsiteX3" fmla="*/ 862226 w 2364395"/>
              <a:gd name="connsiteY3" fmla="*/ 4066408 h 4444270"/>
              <a:gd name="connsiteX4" fmla="*/ 786518 w 2364395"/>
              <a:gd name="connsiteY4" fmla="*/ 2559965 h 4444270"/>
              <a:gd name="connsiteX5" fmla="*/ 1070078 w 2364395"/>
              <a:gd name="connsiteY5" fmla="*/ 778554 h 4444270"/>
              <a:gd name="connsiteX6" fmla="*/ 0 w 2364395"/>
              <a:gd name="connsiteY6" fmla="*/ 0 h 4444270"/>
              <a:gd name="connsiteX0" fmla="*/ 0 w 2364395"/>
              <a:gd name="connsiteY0" fmla="*/ 0 h 4456672"/>
              <a:gd name="connsiteX1" fmla="*/ 2364395 w 2364395"/>
              <a:gd name="connsiteY1" fmla="*/ 7844 h 4456672"/>
              <a:gd name="connsiteX2" fmla="*/ 2364395 w 2364395"/>
              <a:gd name="connsiteY2" fmla="*/ 4109489 h 4456672"/>
              <a:gd name="connsiteX3" fmla="*/ 567144 w 2364395"/>
              <a:gd name="connsiteY3" fmla="*/ 4089441 h 4456672"/>
              <a:gd name="connsiteX4" fmla="*/ 786518 w 2364395"/>
              <a:gd name="connsiteY4" fmla="*/ 2559965 h 4456672"/>
              <a:gd name="connsiteX5" fmla="*/ 1070078 w 2364395"/>
              <a:gd name="connsiteY5" fmla="*/ 778554 h 4456672"/>
              <a:gd name="connsiteX6" fmla="*/ 0 w 2364395"/>
              <a:gd name="connsiteY6" fmla="*/ 0 h 4456672"/>
              <a:gd name="connsiteX0" fmla="*/ 0 w 2364395"/>
              <a:gd name="connsiteY0" fmla="*/ 0 h 4456672"/>
              <a:gd name="connsiteX1" fmla="*/ 2364395 w 2364395"/>
              <a:gd name="connsiteY1" fmla="*/ 7844 h 4456672"/>
              <a:gd name="connsiteX2" fmla="*/ 2364395 w 2364395"/>
              <a:gd name="connsiteY2" fmla="*/ 4109489 h 4456672"/>
              <a:gd name="connsiteX3" fmla="*/ 567144 w 2364395"/>
              <a:gd name="connsiteY3" fmla="*/ 4089441 h 4456672"/>
              <a:gd name="connsiteX4" fmla="*/ 491437 w 2364395"/>
              <a:gd name="connsiteY4" fmla="*/ 2582999 h 4456672"/>
              <a:gd name="connsiteX5" fmla="*/ 1070078 w 2364395"/>
              <a:gd name="connsiteY5" fmla="*/ 778554 h 4456672"/>
              <a:gd name="connsiteX6" fmla="*/ 0 w 2364395"/>
              <a:gd name="connsiteY6" fmla="*/ 0 h 4456672"/>
              <a:gd name="connsiteX0" fmla="*/ 0 w 2364395"/>
              <a:gd name="connsiteY0" fmla="*/ 0 h 4456672"/>
              <a:gd name="connsiteX1" fmla="*/ 2364395 w 2364395"/>
              <a:gd name="connsiteY1" fmla="*/ 7844 h 4456672"/>
              <a:gd name="connsiteX2" fmla="*/ 2364395 w 2364395"/>
              <a:gd name="connsiteY2" fmla="*/ 4109489 h 4456672"/>
              <a:gd name="connsiteX3" fmla="*/ 567144 w 2364395"/>
              <a:gd name="connsiteY3" fmla="*/ 4089441 h 4456672"/>
              <a:gd name="connsiteX4" fmla="*/ 1633633 w 2364395"/>
              <a:gd name="connsiteY4" fmla="*/ 2930190 h 4456672"/>
              <a:gd name="connsiteX5" fmla="*/ 1070078 w 2364395"/>
              <a:gd name="connsiteY5" fmla="*/ 778554 h 4456672"/>
              <a:gd name="connsiteX6" fmla="*/ 0 w 2364395"/>
              <a:gd name="connsiteY6" fmla="*/ 0 h 4456672"/>
              <a:gd name="connsiteX0" fmla="*/ 0 w 2364395"/>
              <a:gd name="connsiteY0" fmla="*/ 0 h 4719986"/>
              <a:gd name="connsiteX1" fmla="*/ 2364395 w 2364395"/>
              <a:gd name="connsiteY1" fmla="*/ 7844 h 4719986"/>
              <a:gd name="connsiteX2" fmla="*/ 2364395 w 2364395"/>
              <a:gd name="connsiteY2" fmla="*/ 4109489 h 4719986"/>
              <a:gd name="connsiteX3" fmla="*/ 1717058 w 2364395"/>
              <a:gd name="connsiteY3" fmla="*/ 4480820 h 4719986"/>
              <a:gd name="connsiteX4" fmla="*/ 1633633 w 2364395"/>
              <a:gd name="connsiteY4" fmla="*/ 2930190 h 4719986"/>
              <a:gd name="connsiteX5" fmla="*/ 1070078 w 2364395"/>
              <a:gd name="connsiteY5" fmla="*/ 778554 h 4719986"/>
              <a:gd name="connsiteX6" fmla="*/ 0 w 2364395"/>
              <a:gd name="connsiteY6" fmla="*/ 0 h 4719986"/>
              <a:gd name="connsiteX0" fmla="*/ 0 w 2372114"/>
              <a:gd name="connsiteY0" fmla="*/ 0 h 6001178"/>
              <a:gd name="connsiteX1" fmla="*/ 2364395 w 2372114"/>
              <a:gd name="connsiteY1" fmla="*/ 7844 h 6001178"/>
              <a:gd name="connsiteX2" fmla="*/ 2372114 w 2372114"/>
              <a:gd name="connsiteY2" fmla="*/ 5927509 h 6001178"/>
              <a:gd name="connsiteX3" fmla="*/ 1717058 w 2372114"/>
              <a:gd name="connsiteY3" fmla="*/ 4480820 h 6001178"/>
              <a:gd name="connsiteX4" fmla="*/ 1633633 w 2372114"/>
              <a:gd name="connsiteY4" fmla="*/ 2930190 h 6001178"/>
              <a:gd name="connsiteX5" fmla="*/ 1070078 w 2372114"/>
              <a:gd name="connsiteY5" fmla="*/ 778554 h 6001178"/>
              <a:gd name="connsiteX6" fmla="*/ 0 w 2372114"/>
              <a:gd name="connsiteY6" fmla="*/ 0 h 600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2114" h="6001178">
                <a:moveTo>
                  <a:pt x="0" y="0"/>
                </a:moveTo>
                <a:lnTo>
                  <a:pt x="2364395" y="7844"/>
                </a:lnTo>
                <a:lnTo>
                  <a:pt x="2372114" y="5927509"/>
                </a:lnTo>
                <a:cubicBezTo>
                  <a:pt x="2275625" y="6321052"/>
                  <a:pt x="1932777" y="5035976"/>
                  <a:pt x="1717058" y="4480820"/>
                </a:cubicBezTo>
                <a:cubicBezTo>
                  <a:pt x="1478669" y="4218179"/>
                  <a:pt x="1598991" y="3478166"/>
                  <a:pt x="1633633" y="2930190"/>
                </a:cubicBezTo>
                <a:cubicBezTo>
                  <a:pt x="1668275" y="2382214"/>
                  <a:pt x="1342350" y="1266919"/>
                  <a:pt x="1070078" y="778554"/>
                </a:cubicBezTo>
                <a:cubicBezTo>
                  <a:pt x="797806" y="290189"/>
                  <a:pt x="59199" y="93304"/>
                  <a:pt x="0" y="0"/>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aphicFrame>
        <p:nvGraphicFramePr>
          <p:cNvPr id="3" name="Diagram 2">
            <a:extLst>
              <a:ext uri="{FF2B5EF4-FFF2-40B4-BE49-F238E27FC236}">
                <a16:creationId xmlns:a16="http://schemas.microsoft.com/office/drawing/2014/main" id="{586EA8CD-B939-47A8-8A7D-A1CF2ABB1F50}"/>
              </a:ext>
            </a:extLst>
          </p:cNvPr>
          <p:cNvGraphicFramePr/>
          <p:nvPr>
            <p:extLst>
              <p:ext uri="{D42A27DB-BD31-4B8C-83A1-F6EECF244321}">
                <p14:modId xmlns:p14="http://schemas.microsoft.com/office/powerpoint/2010/main" val="3982154867"/>
              </p:ext>
            </p:extLst>
          </p:nvPr>
        </p:nvGraphicFramePr>
        <p:xfrm>
          <a:off x="330200" y="823931"/>
          <a:ext cx="8128000" cy="585893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7660064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Father and son bonding">
            <a:extLst>
              <a:ext uri="{FF2B5EF4-FFF2-40B4-BE49-F238E27FC236}">
                <a16:creationId xmlns:a16="http://schemas.microsoft.com/office/drawing/2014/main" id="{549725CA-6A81-485E-AAE4-AC37F7F2DC2B}"/>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7529759" y="0"/>
            <a:ext cx="4052641" cy="5994401"/>
          </a:xfrm>
          <a:prstGeom prst="rect">
            <a:avLst/>
          </a:prstGeom>
        </p:spPr>
      </p:pic>
      <p:sp>
        <p:nvSpPr>
          <p:cNvPr id="4" name="Slide Number Placeholder 3">
            <a:extLst>
              <a:ext uri="{FF2B5EF4-FFF2-40B4-BE49-F238E27FC236}">
                <a16:creationId xmlns:a16="http://schemas.microsoft.com/office/drawing/2014/main" id="{BBA3E0C1-2193-468B-9D0E-F3697EDB27C8}"/>
              </a:ext>
            </a:extLst>
          </p:cNvPr>
          <p:cNvSpPr>
            <a:spLocks noGrp="1"/>
          </p:cNvSpPr>
          <p:nvPr>
            <p:ph type="sldNum" sz="quarter" idx="4"/>
          </p:nvPr>
        </p:nvSpPr>
        <p:spPr/>
        <p:txBody>
          <a:bodyPr/>
          <a:lstStyle/>
          <a:p>
            <a:fld id="{B84D2E29-67F4-44D8-B0E3-F54815B4F123}" type="slidenum">
              <a:rPr lang="en-US" smtClean="0"/>
              <a:pPr/>
              <a:t>6</a:t>
            </a:fld>
            <a:endParaRPr lang="en-US" dirty="0"/>
          </a:p>
        </p:txBody>
      </p:sp>
      <p:sp>
        <p:nvSpPr>
          <p:cNvPr id="5" name="Rectangle 4">
            <a:extLst>
              <a:ext uri="{FF2B5EF4-FFF2-40B4-BE49-F238E27FC236}">
                <a16:creationId xmlns:a16="http://schemas.microsoft.com/office/drawing/2014/main" id="{3F52CF61-077A-4E0F-9A15-475A68F79712}"/>
              </a:ext>
            </a:extLst>
          </p:cNvPr>
          <p:cNvSpPr/>
          <p:nvPr/>
        </p:nvSpPr>
        <p:spPr>
          <a:xfrm>
            <a:off x="7518707" y="11680"/>
            <a:ext cx="4052641" cy="5994400"/>
          </a:xfrm>
          <a:prstGeom prst="rect">
            <a:avLst/>
          </a:pr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34">
            <a:extLst>
              <a:ext uri="{FF2B5EF4-FFF2-40B4-BE49-F238E27FC236}">
                <a16:creationId xmlns:a16="http://schemas.microsoft.com/office/drawing/2014/main" id="{A322540C-0C4C-4027-9F35-788FABE150D7}"/>
              </a:ext>
            </a:extLst>
          </p:cNvPr>
          <p:cNvSpPr/>
          <p:nvPr/>
        </p:nvSpPr>
        <p:spPr>
          <a:xfrm flipH="1" flipV="1">
            <a:off x="-2" y="5630572"/>
            <a:ext cx="11289323" cy="1227428"/>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5693BCE-BAC8-4F1C-9CE9-ABE2B81506E0}"/>
              </a:ext>
            </a:extLst>
          </p:cNvPr>
          <p:cNvSpPr/>
          <p:nvPr/>
        </p:nvSpPr>
        <p:spPr>
          <a:xfrm>
            <a:off x="1" y="1880885"/>
            <a:ext cx="7947274" cy="35771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sz="1800" dirty="0"/>
          </a:p>
        </p:txBody>
      </p:sp>
      <p:sp>
        <p:nvSpPr>
          <p:cNvPr id="42" name="TextBox 48">
            <a:extLst>
              <a:ext uri="{FF2B5EF4-FFF2-40B4-BE49-F238E27FC236}">
                <a16:creationId xmlns:a16="http://schemas.microsoft.com/office/drawing/2014/main" id="{A6F99CD6-019B-405E-8495-0A2DE544C2F1}"/>
              </a:ext>
            </a:extLst>
          </p:cNvPr>
          <p:cNvSpPr txBox="1"/>
          <p:nvPr/>
        </p:nvSpPr>
        <p:spPr>
          <a:xfrm>
            <a:off x="1575108" y="747456"/>
            <a:ext cx="2412129" cy="830997"/>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L" dirty="0">
                <a:solidFill>
                  <a:srgbClr val="652D74"/>
                </a:solidFill>
                <a:latin typeface="Book Antiqua" panose="02040602050305030304" pitchFamily="18" charset="0"/>
              </a:rPr>
              <a:t>How many examples are in the dataset? (train/test) </a:t>
            </a:r>
            <a:endParaRPr lang="ru-RU" dirty="0">
              <a:solidFill>
                <a:srgbClr val="652D74"/>
              </a:solidFill>
              <a:latin typeface="Book Antiqua" panose="02040602050305030304" pitchFamily="18" charset="0"/>
            </a:endParaRPr>
          </a:p>
        </p:txBody>
      </p:sp>
      <p:sp>
        <p:nvSpPr>
          <p:cNvPr id="51" name="TextBox 48">
            <a:extLst>
              <a:ext uri="{FF2B5EF4-FFF2-40B4-BE49-F238E27FC236}">
                <a16:creationId xmlns:a16="http://schemas.microsoft.com/office/drawing/2014/main" id="{471A743F-E4D7-4BA5-80F3-DC972868531D}"/>
              </a:ext>
            </a:extLst>
          </p:cNvPr>
          <p:cNvSpPr txBox="1"/>
          <p:nvPr/>
        </p:nvSpPr>
        <p:spPr>
          <a:xfrm>
            <a:off x="5117630" y="747456"/>
            <a:ext cx="2412129" cy="769441"/>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L" dirty="0">
                <a:solidFill>
                  <a:srgbClr val="652D74"/>
                </a:solidFill>
                <a:latin typeface="Book Antiqua" panose="02040602050305030304" pitchFamily="18" charset="0"/>
              </a:rPr>
              <a:t>Are there any </a:t>
            </a:r>
            <a:endParaRPr lang="en-US" dirty="0">
              <a:solidFill>
                <a:srgbClr val="652D74"/>
              </a:solidFill>
              <a:latin typeface="Book Antiqua" panose="02040602050305030304" pitchFamily="18" charset="0"/>
            </a:endParaRPr>
          </a:p>
          <a:p>
            <a:r>
              <a:rPr lang="en-IL" dirty="0">
                <a:solidFill>
                  <a:srgbClr val="652D74"/>
                </a:solidFill>
                <a:latin typeface="Book Antiqua" panose="02040602050305030304" pitchFamily="18" charset="0"/>
              </a:rPr>
              <a:t>missing values?</a:t>
            </a:r>
            <a:endParaRPr lang="ru-RU" dirty="0">
              <a:solidFill>
                <a:srgbClr val="652D74"/>
              </a:solidFill>
              <a:latin typeface="Book Antiqua" panose="02040602050305030304" pitchFamily="18" charset="0"/>
            </a:endParaRPr>
          </a:p>
          <a:p>
            <a:endParaRPr lang="en-US" sz="1400" dirty="0"/>
          </a:p>
        </p:txBody>
      </p:sp>
      <p:sp>
        <p:nvSpPr>
          <p:cNvPr id="54" name="Isosceles Triangle 53">
            <a:extLst>
              <a:ext uri="{FF2B5EF4-FFF2-40B4-BE49-F238E27FC236}">
                <a16:creationId xmlns:a16="http://schemas.microsoft.com/office/drawing/2014/main" id="{8952F3DF-411E-4994-B7A6-F24CDDE92036}"/>
              </a:ext>
            </a:extLst>
          </p:cNvPr>
          <p:cNvSpPr/>
          <p:nvPr/>
        </p:nvSpPr>
        <p:spPr>
          <a:xfrm rot="10800000">
            <a:off x="1379706" y="1891740"/>
            <a:ext cx="312420" cy="155028"/>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Isosceles Triangle 55">
            <a:extLst>
              <a:ext uri="{FF2B5EF4-FFF2-40B4-BE49-F238E27FC236}">
                <a16:creationId xmlns:a16="http://schemas.microsoft.com/office/drawing/2014/main" id="{0F270C2C-2BB3-432F-9EA3-2D2E1558DAA0}"/>
              </a:ext>
            </a:extLst>
          </p:cNvPr>
          <p:cNvSpPr/>
          <p:nvPr/>
        </p:nvSpPr>
        <p:spPr>
          <a:xfrm rot="10800000">
            <a:off x="5810917" y="1891740"/>
            <a:ext cx="312420" cy="155028"/>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 name="Group 30">
            <a:extLst>
              <a:ext uri="{FF2B5EF4-FFF2-40B4-BE49-F238E27FC236}">
                <a16:creationId xmlns:a16="http://schemas.microsoft.com/office/drawing/2014/main" id="{E98AD36E-0145-4067-B6D9-B8B1A9814B83}"/>
              </a:ext>
            </a:extLst>
          </p:cNvPr>
          <p:cNvGrpSpPr/>
          <p:nvPr/>
        </p:nvGrpSpPr>
        <p:grpSpPr>
          <a:xfrm>
            <a:off x="11017827" y="211184"/>
            <a:ext cx="866776" cy="866776"/>
            <a:chOff x="6468857" y="4976205"/>
            <a:chExt cx="866776" cy="866776"/>
          </a:xfrm>
        </p:grpSpPr>
        <p:grpSp>
          <p:nvGrpSpPr>
            <p:cNvPr id="32" name="Group 31">
              <a:extLst>
                <a:ext uri="{FF2B5EF4-FFF2-40B4-BE49-F238E27FC236}">
                  <a16:creationId xmlns:a16="http://schemas.microsoft.com/office/drawing/2014/main" id="{6FD61CE7-282A-481D-80B3-C94F95E2AD9E}"/>
                </a:ext>
              </a:extLst>
            </p:cNvPr>
            <p:cNvGrpSpPr/>
            <p:nvPr/>
          </p:nvGrpSpPr>
          <p:grpSpPr>
            <a:xfrm>
              <a:off x="6468857" y="4976205"/>
              <a:ext cx="866776" cy="866776"/>
              <a:chOff x="6705600" y="1238250"/>
              <a:chExt cx="866776" cy="866776"/>
            </a:xfrm>
          </p:grpSpPr>
          <p:sp>
            <p:nvSpPr>
              <p:cNvPr id="39" name="Oval 38">
                <a:extLst>
                  <a:ext uri="{FF2B5EF4-FFF2-40B4-BE49-F238E27FC236}">
                    <a16:creationId xmlns:a16="http://schemas.microsoft.com/office/drawing/2014/main" id="{F8147E64-CD2D-45AF-B2E5-3ADAEC0EDBC8}"/>
                  </a:ext>
                </a:extLst>
              </p:cNvPr>
              <p:cNvSpPr/>
              <p:nvPr/>
            </p:nvSpPr>
            <p:spPr>
              <a:xfrm>
                <a:off x="6705600" y="1238250"/>
                <a:ext cx="866776" cy="866776"/>
              </a:xfrm>
              <a:prstGeom prst="ellipse">
                <a:avLst/>
              </a:prstGeom>
              <a:gradFill>
                <a:gsLst>
                  <a:gs pos="2100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0" name="Oval 39">
                <a:extLst>
                  <a:ext uri="{FF2B5EF4-FFF2-40B4-BE49-F238E27FC236}">
                    <a16:creationId xmlns:a16="http://schemas.microsoft.com/office/drawing/2014/main" id="{8FF25152-8FE4-444A-851E-96B628C07D48}"/>
                  </a:ext>
                </a:extLst>
              </p:cNvPr>
              <p:cNvSpPr/>
              <p:nvPr/>
            </p:nvSpPr>
            <p:spPr>
              <a:xfrm>
                <a:off x="6800851" y="1333501"/>
                <a:ext cx="676275" cy="676275"/>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a:extLst>
                <a:ext uri="{FF2B5EF4-FFF2-40B4-BE49-F238E27FC236}">
                  <a16:creationId xmlns:a16="http://schemas.microsoft.com/office/drawing/2014/main" id="{5B9D4C64-9220-4394-B863-81BF2454B2C2}"/>
                </a:ext>
              </a:extLst>
            </p:cNvPr>
            <p:cNvGrpSpPr/>
            <p:nvPr/>
          </p:nvGrpSpPr>
          <p:grpSpPr>
            <a:xfrm>
              <a:off x="6722064" y="5233381"/>
              <a:ext cx="360363" cy="352425"/>
              <a:chOff x="2676526" y="4681538"/>
              <a:chExt cx="360363" cy="352425"/>
            </a:xfrm>
            <a:solidFill>
              <a:schemeClr val="accent1"/>
            </a:solidFill>
          </p:grpSpPr>
          <p:sp>
            <p:nvSpPr>
              <p:cNvPr id="34" name="Freeform 26">
                <a:extLst>
                  <a:ext uri="{FF2B5EF4-FFF2-40B4-BE49-F238E27FC236}">
                    <a16:creationId xmlns:a16="http://schemas.microsoft.com/office/drawing/2014/main" id="{55A6CB08-4EA3-47BE-88B7-5FB9683979DB}"/>
                  </a:ext>
                </a:extLst>
              </p:cNvPr>
              <p:cNvSpPr>
                <a:spLocks/>
              </p:cNvSpPr>
              <p:nvPr/>
            </p:nvSpPr>
            <p:spPr bwMode="auto">
              <a:xfrm>
                <a:off x="2676526" y="4794250"/>
                <a:ext cx="360363" cy="239713"/>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18 h 64"/>
                  <a:gd name="T18" fmla="*/ 66 w 96"/>
                  <a:gd name="T19" fmla="*/ 16 h 64"/>
                  <a:gd name="T20" fmla="*/ 54 w 96"/>
                  <a:gd name="T21" fmla="*/ 16 h 64"/>
                  <a:gd name="T22" fmla="*/ 52 w 96"/>
                  <a:gd name="T23" fmla="*/ 18 h 64"/>
                  <a:gd name="T24" fmla="*/ 52 w 96"/>
                  <a:gd name="T25" fmla="*/ 60 h 64"/>
                  <a:gd name="T26" fmla="*/ 44 w 96"/>
                  <a:gd name="T27" fmla="*/ 60 h 64"/>
                  <a:gd name="T28" fmla="*/ 44 w 96"/>
                  <a:gd name="T29" fmla="*/ 34 h 64"/>
                  <a:gd name="T30" fmla="*/ 42 w 96"/>
                  <a:gd name="T31" fmla="*/ 32 h 64"/>
                  <a:gd name="T32" fmla="*/ 30 w 96"/>
                  <a:gd name="T33" fmla="*/ 32 h 64"/>
                  <a:gd name="T34" fmla="*/ 28 w 96"/>
                  <a:gd name="T35" fmla="*/ 34 h 64"/>
                  <a:gd name="T36" fmla="*/ 28 w 96"/>
                  <a:gd name="T37" fmla="*/ 60 h 64"/>
                  <a:gd name="T38" fmla="*/ 20 w 96"/>
                  <a:gd name="T39" fmla="*/ 60 h 64"/>
                  <a:gd name="T40" fmla="*/ 20 w 96"/>
                  <a:gd name="T41" fmla="*/ 50 h 64"/>
                  <a:gd name="T42" fmla="*/ 18 w 96"/>
                  <a:gd name="T43" fmla="*/ 48 h 64"/>
                  <a:gd name="T44" fmla="*/ 6 w 96"/>
                  <a:gd name="T45" fmla="*/ 48 h 64"/>
                  <a:gd name="T46" fmla="*/ 4 w 96"/>
                  <a:gd name="T47" fmla="*/ 50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18"/>
                      <a:pt x="68" y="18"/>
                      <a:pt x="68" y="18"/>
                    </a:cubicBezTo>
                    <a:cubicBezTo>
                      <a:pt x="68" y="17"/>
                      <a:pt x="67" y="16"/>
                      <a:pt x="66" y="16"/>
                    </a:cubicBezTo>
                    <a:cubicBezTo>
                      <a:pt x="54" y="16"/>
                      <a:pt x="54" y="16"/>
                      <a:pt x="54" y="16"/>
                    </a:cubicBezTo>
                    <a:cubicBezTo>
                      <a:pt x="53" y="16"/>
                      <a:pt x="52" y="17"/>
                      <a:pt x="52" y="18"/>
                    </a:cubicBezTo>
                    <a:cubicBezTo>
                      <a:pt x="52" y="60"/>
                      <a:pt x="52" y="60"/>
                      <a:pt x="52" y="60"/>
                    </a:cubicBezTo>
                    <a:cubicBezTo>
                      <a:pt x="44" y="60"/>
                      <a:pt x="44" y="60"/>
                      <a:pt x="44" y="60"/>
                    </a:cubicBezTo>
                    <a:cubicBezTo>
                      <a:pt x="44" y="34"/>
                      <a:pt x="44" y="34"/>
                      <a:pt x="44" y="34"/>
                    </a:cubicBezTo>
                    <a:cubicBezTo>
                      <a:pt x="44" y="33"/>
                      <a:pt x="43" y="32"/>
                      <a:pt x="42" y="32"/>
                    </a:cubicBezTo>
                    <a:cubicBezTo>
                      <a:pt x="30" y="32"/>
                      <a:pt x="30" y="32"/>
                      <a:pt x="30" y="32"/>
                    </a:cubicBezTo>
                    <a:cubicBezTo>
                      <a:pt x="29" y="32"/>
                      <a:pt x="28" y="33"/>
                      <a:pt x="28" y="34"/>
                    </a:cubicBezTo>
                    <a:cubicBezTo>
                      <a:pt x="28" y="60"/>
                      <a:pt x="28" y="60"/>
                      <a:pt x="28" y="60"/>
                    </a:cubicBezTo>
                    <a:cubicBezTo>
                      <a:pt x="20" y="60"/>
                      <a:pt x="20" y="60"/>
                      <a:pt x="20" y="60"/>
                    </a:cubicBezTo>
                    <a:cubicBezTo>
                      <a:pt x="20" y="50"/>
                      <a:pt x="20" y="50"/>
                      <a:pt x="20" y="50"/>
                    </a:cubicBezTo>
                    <a:cubicBezTo>
                      <a:pt x="20" y="49"/>
                      <a:pt x="19" y="48"/>
                      <a:pt x="18" y="48"/>
                    </a:cubicBezTo>
                    <a:cubicBezTo>
                      <a:pt x="6" y="48"/>
                      <a:pt x="6" y="48"/>
                      <a:pt x="6" y="48"/>
                    </a:cubicBezTo>
                    <a:cubicBezTo>
                      <a:pt x="5" y="48"/>
                      <a:pt x="4" y="49"/>
                      <a:pt x="4" y="50"/>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27">
                <a:extLst>
                  <a:ext uri="{FF2B5EF4-FFF2-40B4-BE49-F238E27FC236}">
                    <a16:creationId xmlns:a16="http://schemas.microsoft.com/office/drawing/2014/main" id="{A325B633-F4AE-47E5-A721-4325E2BFB781}"/>
                  </a:ext>
                </a:extLst>
              </p:cNvPr>
              <p:cNvSpPr>
                <a:spLocks/>
              </p:cNvSpPr>
              <p:nvPr/>
            </p:nvSpPr>
            <p:spPr bwMode="auto">
              <a:xfrm>
                <a:off x="2714626" y="4681538"/>
                <a:ext cx="285750" cy="203200"/>
              </a:xfrm>
              <a:custGeom>
                <a:avLst/>
                <a:gdLst>
                  <a:gd name="T0" fmla="*/ 2 w 76"/>
                  <a:gd name="T1" fmla="*/ 54 h 54"/>
                  <a:gd name="T2" fmla="*/ 3 w 76"/>
                  <a:gd name="T3" fmla="*/ 54 h 54"/>
                  <a:gd name="T4" fmla="*/ 71 w 76"/>
                  <a:gd name="T5" fmla="*/ 8 h 54"/>
                  <a:gd name="T6" fmla="*/ 70 w 76"/>
                  <a:gd name="T7" fmla="*/ 20 h 54"/>
                  <a:gd name="T8" fmla="*/ 72 w 76"/>
                  <a:gd name="T9" fmla="*/ 22 h 54"/>
                  <a:gd name="T10" fmla="*/ 72 w 76"/>
                  <a:gd name="T11" fmla="*/ 22 h 54"/>
                  <a:gd name="T12" fmla="*/ 74 w 76"/>
                  <a:gd name="T13" fmla="*/ 20 h 54"/>
                  <a:gd name="T14" fmla="*/ 76 w 76"/>
                  <a:gd name="T15" fmla="*/ 4 h 54"/>
                  <a:gd name="T16" fmla="*/ 74 w 76"/>
                  <a:gd name="T17" fmla="*/ 2 h 54"/>
                  <a:gd name="T18" fmla="*/ 58 w 76"/>
                  <a:gd name="T19" fmla="*/ 0 h 54"/>
                  <a:gd name="T20" fmla="*/ 56 w 76"/>
                  <a:gd name="T21" fmla="*/ 2 h 54"/>
                  <a:gd name="T22" fmla="*/ 58 w 76"/>
                  <a:gd name="T23" fmla="*/ 4 h 54"/>
                  <a:gd name="T24" fmla="*/ 68 w 76"/>
                  <a:gd name="T25" fmla="*/ 5 h 54"/>
                  <a:gd name="T26" fmla="*/ 1 w 76"/>
                  <a:gd name="T27" fmla="*/ 50 h 54"/>
                  <a:gd name="T28" fmla="*/ 0 w 76"/>
                  <a:gd name="T29" fmla="*/ 53 h 54"/>
                  <a:gd name="T30" fmla="*/ 2 w 76"/>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54">
                    <a:moveTo>
                      <a:pt x="2" y="54"/>
                    </a:moveTo>
                    <a:cubicBezTo>
                      <a:pt x="2" y="54"/>
                      <a:pt x="3" y="54"/>
                      <a:pt x="3" y="54"/>
                    </a:cubicBezTo>
                    <a:cubicBezTo>
                      <a:pt x="71" y="8"/>
                      <a:pt x="71" y="8"/>
                      <a:pt x="71" y="8"/>
                    </a:cubicBezTo>
                    <a:cubicBezTo>
                      <a:pt x="70" y="20"/>
                      <a:pt x="70" y="20"/>
                      <a:pt x="70" y="20"/>
                    </a:cubicBezTo>
                    <a:cubicBezTo>
                      <a:pt x="70" y="21"/>
                      <a:pt x="71" y="22"/>
                      <a:pt x="72" y="22"/>
                    </a:cubicBezTo>
                    <a:cubicBezTo>
                      <a:pt x="72" y="22"/>
                      <a:pt x="72" y="22"/>
                      <a:pt x="72" y="22"/>
                    </a:cubicBezTo>
                    <a:cubicBezTo>
                      <a:pt x="73" y="22"/>
                      <a:pt x="74" y="21"/>
                      <a:pt x="74" y="20"/>
                    </a:cubicBezTo>
                    <a:cubicBezTo>
                      <a:pt x="76" y="4"/>
                      <a:pt x="76" y="4"/>
                      <a:pt x="76" y="4"/>
                    </a:cubicBezTo>
                    <a:cubicBezTo>
                      <a:pt x="76" y="3"/>
                      <a:pt x="75" y="2"/>
                      <a:pt x="74" y="2"/>
                    </a:cubicBezTo>
                    <a:cubicBezTo>
                      <a:pt x="74" y="2"/>
                      <a:pt x="58" y="0"/>
                      <a:pt x="58" y="0"/>
                    </a:cubicBezTo>
                    <a:cubicBezTo>
                      <a:pt x="57" y="0"/>
                      <a:pt x="56" y="1"/>
                      <a:pt x="56" y="2"/>
                    </a:cubicBezTo>
                    <a:cubicBezTo>
                      <a:pt x="56" y="3"/>
                      <a:pt x="57" y="4"/>
                      <a:pt x="58" y="4"/>
                    </a:cubicBezTo>
                    <a:cubicBezTo>
                      <a:pt x="68" y="5"/>
                      <a:pt x="68" y="5"/>
                      <a:pt x="68" y="5"/>
                    </a:cubicBezTo>
                    <a:cubicBezTo>
                      <a:pt x="1" y="50"/>
                      <a:pt x="1" y="50"/>
                      <a:pt x="1" y="50"/>
                    </a:cubicBezTo>
                    <a:cubicBezTo>
                      <a:pt x="0" y="51"/>
                      <a:pt x="0" y="52"/>
                      <a:pt x="0" y="53"/>
                    </a:cubicBezTo>
                    <a:cubicBezTo>
                      <a:pt x="1" y="54"/>
                      <a:pt x="1" y="54"/>
                      <a:pt x="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
        <p:nvSpPr>
          <p:cNvPr id="3" name="TextBox 2">
            <a:extLst>
              <a:ext uri="{FF2B5EF4-FFF2-40B4-BE49-F238E27FC236}">
                <a16:creationId xmlns:a16="http://schemas.microsoft.com/office/drawing/2014/main" id="{A9A57763-1FC4-405F-8E5A-01CBD2312238}"/>
              </a:ext>
            </a:extLst>
          </p:cNvPr>
          <p:cNvSpPr txBox="1"/>
          <p:nvPr/>
        </p:nvSpPr>
        <p:spPr>
          <a:xfrm>
            <a:off x="214641" y="2219353"/>
            <a:ext cx="3625097" cy="3293209"/>
          </a:xfrm>
          <a:prstGeom prst="rect">
            <a:avLst/>
          </a:prstGeom>
          <a:noFill/>
        </p:spPr>
        <p:txBody>
          <a:bodyPr wrap="square" rtlCol="0">
            <a:spAutoFit/>
          </a:bodyPr>
          <a:lstStyle/>
          <a:p>
            <a:r>
              <a:rPr lang="en-US" sz="1600" dirty="0">
                <a:solidFill>
                  <a:srgbClr val="652D74"/>
                </a:solidFill>
                <a:latin typeface="Book Antiqua" panose="02040602050305030304" pitchFamily="18" charset="0"/>
              </a:rPr>
              <a:t>Shape of Training Data :  </a:t>
            </a:r>
          </a:p>
          <a:p>
            <a:r>
              <a:rPr lang="en-US" sz="1600" dirty="0">
                <a:solidFill>
                  <a:srgbClr val="652D74"/>
                </a:solidFill>
                <a:latin typeface="Book Antiqua" panose="02040602050305030304" pitchFamily="18" charset="0"/>
              </a:rPr>
              <a:t>features: (5634, 45) , target: (5634,)</a:t>
            </a:r>
          </a:p>
          <a:p>
            <a:r>
              <a:rPr lang="en-US" sz="1600" dirty="0">
                <a:solidFill>
                  <a:srgbClr val="652D74"/>
                </a:solidFill>
                <a:latin typeface="Book Antiqua" panose="02040602050305030304" pitchFamily="18" charset="0"/>
              </a:rPr>
              <a:t>Target Label Distribution in train set :  </a:t>
            </a:r>
          </a:p>
          <a:p>
            <a:r>
              <a:rPr lang="en-US" sz="1600" dirty="0">
                <a:solidFill>
                  <a:srgbClr val="652D74"/>
                </a:solidFill>
                <a:latin typeface="Book Antiqua" panose="02040602050305030304" pitchFamily="18" charset="0"/>
              </a:rPr>
              <a:t>Churn: 1501.0 Not Churn 4133.0</a:t>
            </a:r>
          </a:p>
          <a:p>
            <a:r>
              <a:rPr lang="en-US" sz="1600" dirty="0">
                <a:solidFill>
                  <a:srgbClr val="652D74"/>
                </a:solidFill>
                <a:latin typeface="Book Antiqua" panose="02040602050305030304" pitchFamily="18" charset="0"/>
              </a:rPr>
              <a:t>Percentage of Churn: 26.641817536386224</a:t>
            </a:r>
          </a:p>
          <a:p>
            <a:endParaRPr lang="en-US" sz="1600" dirty="0">
              <a:solidFill>
                <a:srgbClr val="652D74"/>
              </a:solidFill>
              <a:latin typeface="Book Antiqua" panose="02040602050305030304" pitchFamily="18" charset="0"/>
            </a:endParaRPr>
          </a:p>
          <a:p>
            <a:r>
              <a:rPr lang="en-US" sz="1600" dirty="0">
                <a:solidFill>
                  <a:srgbClr val="652D74"/>
                </a:solidFill>
                <a:latin typeface="Book Antiqua" panose="02040602050305030304" pitchFamily="18" charset="0"/>
              </a:rPr>
              <a:t>Shape of Test Data :  </a:t>
            </a:r>
          </a:p>
          <a:p>
            <a:r>
              <a:rPr lang="en-US" sz="1600" dirty="0">
                <a:solidFill>
                  <a:srgbClr val="652D74"/>
                </a:solidFill>
                <a:latin typeface="Book Antiqua" panose="02040602050305030304" pitchFamily="18" charset="0"/>
              </a:rPr>
              <a:t>features: (1409, 45) , target: (1409,)</a:t>
            </a:r>
          </a:p>
          <a:p>
            <a:r>
              <a:rPr lang="en-US" sz="1600" dirty="0">
                <a:solidFill>
                  <a:srgbClr val="652D74"/>
                </a:solidFill>
                <a:latin typeface="Book Antiqua" panose="02040602050305030304" pitchFamily="18" charset="0"/>
              </a:rPr>
              <a:t>Target Label Distribution in test set :  </a:t>
            </a:r>
          </a:p>
          <a:p>
            <a:r>
              <a:rPr lang="en-US" sz="1600" dirty="0">
                <a:solidFill>
                  <a:srgbClr val="652D74"/>
                </a:solidFill>
                <a:latin typeface="Book Antiqua" panose="02040602050305030304" pitchFamily="18" charset="0"/>
              </a:rPr>
              <a:t>Churn: 368.0 Not Churn 1041.0</a:t>
            </a:r>
          </a:p>
          <a:p>
            <a:r>
              <a:rPr lang="en-US" sz="1600" dirty="0">
                <a:solidFill>
                  <a:srgbClr val="652D74"/>
                </a:solidFill>
                <a:latin typeface="Book Antiqua" panose="02040602050305030304" pitchFamily="18" charset="0"/>
              </a:rPr>
              <a:t>Percentage of Churn: 26.117814052519517</a:t>
            </a:r>
            <a:endParaRPr lang="en-IL" sz="1600" dirty="0">
              <a:solidFill>
                <a:srgbClr val="652D74"/>
              </a:solidFill>
              <a:latin typeface="Book Antiqua" panose="02040602050305030304" pitchFamily="18" charset="0"/>
            </a:endParaRPr>
          </a:p>
        </p:txBody>
      </p:sp>
      <p:sp>
        <p:nvSpPr>
          <p:cNvPr id="41" name="TextBox 40">
            <a:extLst>
              <a:ext uri="{FF2B5EF4-FFF2-40B4-BE49-F238E27FC236}">
                <a16:creationId xmlns:a16="http://schemas.microsoft.com/office/drawing/2014/main" id="{3CB71741-A969-405E-86B0-5A75B28044B0}"/>
              </a:ext>
            </a:extLst>
          </p:cNvPr>
          <p:cNvSpPr txBox="1"/>
          <p:nvPr/>
        </p:nvSpPr>
        <p:spPr>
          <a:xfrm>
            <a:off x="4280704" y="2219353"/>
            <a:ext cx="3372847" cy="3046988"/>
          </a:xfrm>
          <a:prstGeom prst="rect">
            <a:avLst/>
          </a:prstGeom>
          <a:noFill/>
        </p:spPr>
        <p:txBody>
          <a:bodyPr wrap="square" rtlCol="0">
            <a:spAutoFit/>
          </a:bodyPr>
          <a:lstStyle/>
          <a:p>
            <a:r>
              <a:rPr lang="en-US" sz="1600" b="0" dirty="0">
                <a:solidFill>
                  <a:srgbClr val="652D74"/>
                </a:solidFill>
                <a:effectLst/>
                <a:latin typeface="Book Antiqua" panose="02040602050305030304" pitchFamily="18" charset="0"/>
              </a:rPr>
              <a:t>11 missing values were found in the 'TotalCharges' column and were imputed by 0 value, because “tenure”=0 .</a:t>
            </a:r>
          </a:p>
          <a:p>
            <a:endParaRPr lang="en-US" sz="1600" dirty="0">
              <a:solidFill>
                <a:srgbClr val="652D74"/>
              </a:solidFill>
              <a:latin typeface="Book Antiqua" panose="02040602050305030304" pitchFamily="18" charset="0"/>
            </a:endParaRPr>
          </a:p>
          <a:p>
            <a:r>
              <a:rPr lang="en-US" sz="1600" b="0" dirty="0">
                <a:solidFill>
                  <a:srgbClr val="652D74"/>
                </a:solidFill>
                <a:effectLst/>
                <a:latin typeface="Book Antiqua" panose="02040602050305030304" pitchFamily="18" charset="0"/>
              </a:rPr>
              <a:t>Convert 'TotalCharges' column which is of object type to float type using pd.to_numeric() with errors parameter set to 'coerce' to parse invalid data to NaN.</a:t>
            </a:r>
          </a:p>
          <a:p>
            <a:endParaRPr lang="en-US" sz="1600" b="0" dirty="0">
              <a:solidFill>
                <a:srgbClr val="652D74"/>
              </a:solidFill>
              <a:effectLst/>
              <a:latin typeface="Book Antiqua" panose="02040602050305030304" pitchFamily="18" charset="0"/>
            </a:endParaRPr>
          </a:p>
          <a:p>
            <a:r>
              <a:rPr lang="en-US" sz="1600" b="0" dirty="0">
                <a:solidFill>
                  <a:srgbClr val="652D74"/>
                </a:solidFill>
                <a:effectLst/>
                <a:latin typeface="Book Antiqua" panose="02040602050305030304" pitchFamily="18" charset="0"/>
              </a:rPr>
              <a:t> Data has no duplicates.</a:t>
            </a:r>
          </a:p>
        </p:txBody>
      </p:sp>
      <p:sp>
        <p:nvSpPr>
          <p:cNvPr id="2" name="Title 1">
            <a:extLst>
              <a:ext uri="{FF2B5EF4-FFF2-40B4-BE49-F238E27FC236}">
                <a16:creationId xmlns:a16="http://schemas.microsoft.com/office/drawing/2014/main" id="{6FFE696D-E3D3-4C12-958D-9FA7D03266E3}"/>
              </a:ext>
            </a:extLst>
          </p:cNvPr>
          <p:cNvSpPr>
            <a:spLocks noGrp="1"/>
          </p:cNvSpPr>
          <p:nvPr>
            <p:ph type="title"/>
          </p:nvPr>
        </p:nvSpPr>
        <p:spPr>
          <a:xfrm>
            <a:off x="7653551" y="278236"/>
            <a:ext cx="4319440" cy="1302146"/>
          </a:xfrm>
        </p:spPr>
        <p:txBody>
          <a:bodyPr>
            <a:noAutofit/>
          </a:bodyPr>
          <a:lstStyle/>
          <a:p>
            <a:pPr algn="ctr"/>
            <a:r>
              <a:rPr lang="en-IL" sz="4400" dirty="0">
                <a:solidFill>
                  <a:schemeClr val="bg1"/>
                </a:solidFill>
                <a:latin typeface="Baskerville Old Face" panose="02020602080505020303" pitchFamily="18" charset="0"/>
              </a:rPr>
              <a:t>Data</a:t>
            </a:r>
            <a:br>
              <a:rPr lang="en-US" sz="4400" dirty="0">
                <a:solidFill>
                  <a:schemeClr val="bg1"/>
                </a:solidFill>
                <a:latin typeface="Baskerville Old Face" panose="02020602080505020303" pitchFamily="18" charset="0"/>
              </a:rPr>
            </a:br>
            <a:r>
              <a:rPr lang="en-IL" sz="4400" dirty="0">
                <a:solidFill>
                  <a:schemeClr val="bg1"/>
                </a:solidFill>
                <a:latin typeface="Baskerville Old Face" panose="02020602080505020303" pitchFamily="18" charset="0"/>
              </a:rPr>
              <a:t> description:</a:t>
            </a:r>
            <a:endParaRPr lang="ru-RU" sz="4400" dirty="0">
              <a:solidFill>
                <a:schemeClr val="bg1"/>
              </a:solidFill>
            </a:endParaRPr>
          </a:p>
        </p:txBody>
      </p:sp>
      <p:grpSp>
        <p:nvGrpSpPr>
          <p:cNvPr id="14" name="Group 13">
            <a:extLst>
              <a:ext uri="{FF2B5EF4-FFF2-40B4-BE49-F238E27FC236}">
                <a16:creationId xmlns:a16="http://schemas.microsoft.com/office/drawing/2014/main" id="{1244B51D-006B-4C5B-87F4-0DE690D7C949}"/>
              </a:ext>
            </a:extLst>
          </p:cNvPr>
          <p:cNvGrpSpPr/>
          <p:nvPr/>
        </p:nvGrpSpPr>
        <p:grpSpPr>
          <a:xfrm>
            <a:off x="331929" y="562197"/>
            <a:ext cx="1203986" cy="1200678"/>
            <a:chOff x="6309203" y="2968052"/>
            <a:chExt cx="1203986" cy="1200678"/>
          </a:xfrm>
        </p:grpSpPr>
        <p:sp>
          <p:nvSpPr>
            <p:cNvPr id="43" name="Oval 42">
              <a:extLst>
                <a:ext uri="{FF2B5EF4-FFF2-40B4-BE49-F238E27FC236}">
                  <a16:creationId xmlns:a16="http://schemas.microsoft.com/office/drawing/2014/main" id="{A2584A5C-A7BE-4C70-AF79-8B806D22652A}"/>
                </a:ext>
              </a:extLst>
            </p:cNvPr>
            <p:cNvSpPr/>
            <p:nvPr/>
          </p:nvSpPr>
          <p:spPr>
            <a:xfrm>
              <a:off x="6309203" y="2968052"/>
              <a:ext cx="1200678" cy="1200678"/>
            </a:xfrm>
            <a:prstGeom prst="ellipse">
              <a:avLst/>
            </a:prstGeom>
            <a:solidFill>
              <a:srgbClr val="8D19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Freeform: Shape 43">
              <a:extLst>
                <a:ext uri="{FF2B5EF4-FFF2-40B4-BE49-F238E27FC236}">
                  <a16:creationId xmlns:a16="http://schemas.microsoft.com/office/drawing/2014/main" id="{7490E290-07BE-4208-A89C-80CB082F816F}"/>
                </a:ext>
              </a:extLst>
            </p:cNvPr>
            <p:cNvSpPr/>
            <p:nvPr/>
          </p:nvSpPr>
          <p:spPr>
            <a:xfrm>
              <a:off x="6465012" y="2968052"/>
              <a:ext cx="1048177" cy="1048177"/>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7" name="Freeform 104">
              <a:extLst>
                <a:ext uri="{FF2B5EF4-FFF2-40B4-BE49-F238E27FC236}">
                  <a16:creationId xmlns:a16="http://schemas.microsoft.com/office/drawing/2014/main" id="{8C913651-AB86-435D-B82A-1AFEE02A92F8}"/>
                </a:ext>
              </a:extLst>
            </p:cNvPr>
            <p:cNvSpPr>
              <a:spLocks noEditPoints="1"/>
            </p:cNvSpPr>
            <p:nvPr/>
          </p:nvSpPr>
          <p:spPr bwMode="auto">
            <a:xfrm>
              <a:off x="6711343" y="3369319"/>
              <a:ext cx="396399" cy="398145"/>
            </a:xfrm>
            <a:custGeom>
              <a:avLst/>
              <a:gdLst>
                <a:gd name="T0" fmla="*/ 36 w 96"/>
                <a:gd name="T1" fmla="*/ 72 h 96"/>
                <a:gd name="T2" fmla="*/ 59 w 96"/>
                <a:gd name="T3" fmla="*/ 64 h 96"/>
                <a:gd name="T4" fmla="*/ 89 w 96"/>
                <a:gd name="T5" fmla="*/ 95 h 96"/>
                <a:gd name="T6" fmla="*/ 95 w 96"/>
                <a:gd name="T7" fmla="*/ 95 h 96"/>
                <a:gd name="T8" fmla="*/ 95 w 96"/>
                <a:gd name="T9" fmla="*/ 89 h 96"/>
                <a:gd name="T10" fmla="*/ 64 w 96"/>
                <a:gd name="T11" fmla="*/ 58 h 96"/>
                <a:gd name="T12" fmla="*/ 72 w 96"/>
                <a:gd name="T13" fmla="*/ 36 h 96"/>
                <a:gd name="T14" fmla="*/ 36 w 96"/>
                <a:gd name="T15" fmla="*/ 0 h 96"/>
                <a:gd name="T16" fmla="*/ 0 w 96"/>
                <a:gd name="T17" fmla="*/ 36 h 96"/>
                <a:gd name="T18" fmla="*/ 36 w 96"/>
                <a:gd name="T19" fmla="*/ 72 h 96"/>
                <a:gd name="T20" fmla="*/ 36 w 96"/>
                <a:gd name="T21" fmla="*/ 8 h 96"/>
                <a:gd name="T22" fmla="*/ 64 w 96"/>
                <a:gd name="T23" fmla="*/ 36 h 96"/>
                <a:gd name="T24" fmla="*/ 36 w 96"/>
                <a:gd name="T25" fmla="*/ 64 h 96"/>
                <a:gd name="T26" fmla="*/ 8 w 96"/>
                <a:gd name="T27" fmla="*/ 36 h 96"/>
                <a:gd name="T28" fmla="*/ 36 w 96"/>
                <a:gd name="T2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36" y="72"/>
                  </a:moveTo>
                  <a:cubicBezTo>
                    <a:pt x="45" y="72"/>
                    <a:pt x="52" y="69"/>
                    <a:pt x="59" y="64"/>
                  </a:cubicBezTo>
                  <a:cubicBezTo>
                    <a:pt x="89" y="95"/>
                    <a:pt x="89" y="95"/>
                    <a:pt x="89" y="95"/>
                  </a:cubicBezTo>
                  <a:cubicBezTo>
                    <a:pt x="91" y="96"/>
                    <a:pt x="93" y="96"/>
                    <a:pt x="95" y="95"/>
                  </a:cubicBezTo>
                  <a:cubicBezTo>
                    <a:pt x="96" y="93"/>
                    <a:pt x="96" y="91"/>
                    <a:pt x="95" y="89"/>
                  </a:cubicBezTo>
                  <a:cubicBezTo>
                    <a:pt x="64" y="58"/>
                    <a:pt x="64" y="58"/>
                    <a:pt x="64" y="58"/>
                  </a:cubicBezTo>
                  <a:cubicBezTo>
                    <a:pt x="69" y="52"/>
                    <a:pt x="72" y="44"/>
                    <a:pt x="72" y="36"/>
                  </a:cubicBezTo>
                  <a:cubicBezTo>
                    <a:pt x="72" y="16"/>
                    <a:pt x="56" y="0"/>
                    <a:pt x="36" y="0"/>
                  </a:cubicBezTo>
                  <a:cubicBezTo>
                    <a:pt x="16" y="0"/>
                    <a:pt x="0" y="16"/>
                    <a:pt x="0" y="36"/>
                  </a:cubicBezTo>
                  <a:cubicBezTo>
                    <a:pt x="0" y="56"/>
                    <a:pt x="16" y="72"/>
                    <a:pt x="36" y="72"/>
                  </a:cubicBezTo>
                  <a:close/>
                  <a:moveTo>
                    <a:pt x="36" y="8"/>
                  </a:moveTo>
                  <a:cubicBezTo>
                    <a:pt x="51" y="8"/>
                    <a:pt x="64" y="21"/>
                    <a:pt x="64" y="36"/>
                  </a:cubicBezTo>
                  <a:cubicBezTo>
                    <a:pt x="64" y="51"/>
                    <a:pt x="51" y="64"/>
                    <a:pt x="36" y="64"/>
                  </a:cubicBezTo>
                  <a:cubicBezTo>
                    <a:pt x="21" y="64"/>
                    <a:pt x="8" y="51"/>
                    <a:pt x="8" y="36"/>
                  </a:cubicBezTo>
                  <a:cubicBezTo>
                    <a:pt x="8" y="21"/>
                    <a:pt x="21" y="8"/>
                    <a:pt x="36" y="8"/>
                  </a:cubicBezTo>
                  <a:close/>
                </a:path>
              </a:pathLst>
            </a:custGeom>
            <a:solidFill>
              <a:schemeClr val="bg1"/>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id-ID"/>
            </a:p>
          </p:txBody>
        </p:sp>
      </p:grpSp>
      <p:grpSp>
        <p:nvGrpSpPr>
          <p:cNvPr id="21" name="Group 20">
            <a:extLst>
              <a:ext uri="{FF2B5EF4-FFF2-40B4-BE49-F238E27FC236}">
                <a16:creationId xmlns:a16="http://schemas.microsoft.com/office/drawing/2014/main" id="{7B09263F-6C4F-4485-B760-2D69C3B599DD}"/>
              </a:ext>
            </a:extLst>
          </p:cNvPr>
          <p:cNvGrpSpPr/>
          <p:nvPr/>
        </p:nvGrpSpPr>
        <p:grpSpPr>
          <a:xfrm>
            <a:off x="3839738" y="562197"/>
            <a:ext cx="1201395" cy="1200678"/>
            <a:chOff x="3583760" y="2968052"/>
            <a:chExt cx="1201395" cy="1200678"/>
          </a:xfrm>
        </p:grpSpPr>
        <p:sp>
          <p:nvSpPr>
            <p:cNvPr id="48" name="Oval 47">
              <a:extLst>
                <a:ext uri="{FF2B5EF4-FFF2-40B4-BE49-F238E27FC236}">
                  <a16:creationId xmlns:a16="http://schemas.microsoft.com/office/drawing/2014/main" id="{1B6252A5-6E82-41B3-B61A-6C9118D620ED}"/>
                </a:ext>
              </a:extLst>
            </p:cNvPr>
            <p:cNvSpPr/>
            <p:nvPr/>
          </p:nvSpPr>
          <p:spPr>
            <a:xfrm>
              <a:off x="3583760" y="2968052"/>
              <a:ext cx="1200678" cy="1200678"/>
            </a:xfrm>
            <a:prstGeom prst="ellipse">
              <a:avLst/>
            </a:prstGeom>
            <a:solidFill>
              <a:srgbClr val="8D19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Freeform: Shape 48">
              <a:extLst>
                <a:ext uri="{FF2B5EF4-FFF2-40B4-BE49-F238E27FC236}">
                  <a16:creationId xmlns:a16="http://schemas.microsoft.com/office/drawing/2014/main" id="{159A7EF5-8795-40FA-B280-9C56809D3946}"/>
                </a:ext>
              </a:extLst>
            </p:cNvPr>
            <p:cNvSpPr/>
            <p:nvPr/>
          </p:nvSpPr>
          <p:spPr>
            <a:xfrm>
              <a:off x="3736978" y="2968052"/>
              <a:ext cx="1048177" cy="1048177"/>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50" name="Group 49">
              <a:extLst>
                <a:ext uri="{FF2B5EF4-FFF2-40B4-BE49-F238E27FC236}">
                  <a16:creationId xmlns:a16="http://schemas.microsoft.com/office/drawing/2014/main" id="{E7958EFA-25ED-4FF9-B32F-F6AA13A761D0}"/>
                </a:ext>
              </a:extLst>
            </p:cNvPr>
            <p:cNvGrpSpPr/>
            <p:nvPr/>
          </p:nvGrpSpPr>
          <p:grpSpPr>
            <a:xfrm>
              <a:off x="3966080" y="3440653"/>
              <a:ext cx="436039" cy="255477"/>
              <a:chOff x="4113213" y="4046538"/>
              <a:chExt cx="360363" cy="211138"/>
            </a:xfrm>
            <a:solidFill>
              <a:schemeClr val="bg1"/>
            </a:solidFill>
            <a:effectLst>
              <a:outerShdw blurRad="50800" dist="38100" dir="2700000" algn="tl" rotWithShape="0">
                <a:prstClr val="black">
                  <a:alpha val="40000"/>
                </a:prstClr>
              </a:outerShdw>
            </a:effectLst>
          </p:grpSpPr>
          <p:sp>
            <p:nvSpPr>
              <p:cNvPr id="52" name="Freeform 84">
                <a:extLst>
                  <a:ext uri="{FF2B5EF4-FFF2-40B4-BE49-F238E27FC236}">
                    <a16:creationId xmlns:a16="http://schemas.microsoft.com/office/drawing/2014/main" id="{1EFAA2E8-1642-4851-AE9F-4F1FD88ADF3B}"/>
                  </a:ext>
                </a:extLst>
              </p:cNvPr>
              <p:cNvSpPr>
                <a:spLocks noEditPoints="1"/>
              </p:cNvSpPr>
              <p:nvPr/>
            </p:nvSpPr>
            <p:spPr bwMode="auto">
              <a:xfrm>
                <a:off x="4240213" y="4098925"/>
                <a:ext cx="104775" cy="104775"/>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6 w 28"/>
                  <a:gd name="T11" fmla="*/ 12 h 28"/>
                  <a:gd name="T12" fmla="*/ 8 w 28"/>
                  <a:gd name="T13" fmla="*/ 14 h 28"/>
                  <a:gd name="T14" fmla="*/ 14 w 28"/>
                  <a:gd name="T15" fmla="*/ 20 h 28"/>
                  <a:gd name="T16" fmla="*/ 20 w 28"/>
                  <a:gd name="T17" fmla="*/ 14 h 28"/>
                  <a:gd name="T18" fmla="*/ 14 w 28"/>
                  <a:gd name="T19" fmla="*/ 8 h 28"/>
                  <a:gd name="T20" fmla="*/ 12 w 28"/>
                  <a:gd name="T21" fmla="*/ 6 h 28"/>
                  <a:gd name="T22" fmla="*/ 14 w 28"/>
                  <a:gd name="T23" fmla="*/ 4 h 28"/>
                  <a:gd name="T24" fmla="*/ 24 w 28"/>
                  <a:gd name="T25" fmla="*/ 14 h 28"/>
                  <a:gd name="T26" fmla="*/ 14 w 28"/>
                  <a:gd name="T27" fmla="*/ 24 h 28"/>
                  <a:gd name="T28" fmla="*/ 4 w 28"/>
                  <a:gd name="T29" fmla="*/ 14 h 28"/>
                  <a:gd name="T30" fmla="*/ 6 w 28"/>
                  <a:gd name="T31"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6" y="12"/>
                    </a:moveTo>
                    <a:cubicBezTo>
                      <a:pt x="7" y="12"/>
                      <a:pt x="8" y="13"/>
                      <a:pt x="8" y="14"/>
                    </a:cubicBezTo>
                    <a:cubicBezTo>
                      <a:pt x="8" y="17"/>
                      <a:pt x="11" y="20"/>
                      <a:pt x="14" y="20"/>
                    </a:cubicBezTo>
                    <a:cubicBezTo>
                      <a:pt x="17" y="20"/>
                      <a:pt x="20" y="17"/>
                      <a:pt x="20" y="14"/>
                    </a:cubicBezTo>
                    <a:cubicBezTo>
                      <a:pt x="20" y="11"/>
                      <a:pt x="17" y="8"/>
                      <a:pt x="14" y="8"/>
                    </a:cubicBezTo>
                    <a:cubicBezTo>
                      <a:pt x="13" y="8"/>
                      <a:pt x="12" y="7"/>
                      <a:pt x="12" y="6"/>
                    </a:cubicBezTo>
                    <a:cubicBezTo>
                      <a:pt x="12" y="5"/>
                      <a:pt x="13" y="4"/>
                      <a:pt x="14" y="4"/>
                    </a:cubicBezTo>
                    <a:cubicBezTo>
                      <a:pt x="20" y="4"/>
                      <a:pt x="24" y="8"/>
                      <a:pt x="24" y="14"/>
                    </a:cubicBezTo>
                    <a:cubicBezTo>
                      <a:pt x="24" y="20"/>
                      <a:pt x="20" y="24"/>
                      <a:pt x="14" y="24"/>
                    </a:cubicBezTo>
                    <a:cubicBezTo>
                      <a:pt x="8" y="24"/>
                      <a:pt x="4" y="20"/>
                      <a:pt x="4" y="14"/>
                    </a:cubicBezTo>
                    <a:cubicBezTo>
                      <a:pt x="4" y="13"/>
                      <a:pt x="5"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Freeform 85">
                <a:extLst>
                  <a:ext uri="{FF2B5EF4-FFF2-40B4-BE49-F238E27FC236}">
                    <a16:creationId xmlns:a16="http://schemas.microsoft.com/office/drawing/2014/main" id="{C7DAC1AE-7191-4EE6-8857-C0E97207FA71}"/>
                  </a:ext>
                </a:extLst>
              </p:cNvPr>
              <p:cNvSpPr>
                <a:spLocks noEditPoints="1"/>
              </p:cNvSpPr>
              <p:nvPr/>
            </p:nvSpPr>
            <p:spPr bwMode="auto">
              <a:xfrm>
                <a:off x="4113213" y="4046538"/>
                <a:ext cx="360363" cy="211138"/>
              </a:xfrm>
              <a:custGeom>
                <a:avLst/>
                <a:gdLst>
                  <a:gd name="T0" fmla="*/ 0 w 96"/>
                  <a:gd name="T1" fmla="*/ 29 h 56"/>
                  <a:gd name="T2" fmla="*/ 48 w 96"/>
                  <a:gd name="T3" fmla="*/ 56 h 56"/>
                  <a:gd name="T4" fmla="*/ 96 w 96"/>
                  <a:gd name="T5" fmla="*/ 29 h 56"/>
                  <a:gd name="T6" fmla="*/ 96 w 96"/>
                  <a:gd name="T7" fmla="*/ 27 h 56"/>
                  <a:gd name="T8" fmla="*/ 48 w 96"/>
                  <a:gd name="T9" fmla="*/ 0 h 56"/>
                  <a:gd name="T10" fmla="*/ 0 w 96"/>
                  <a:gd name="T11" fmla="*/ 27 h 56"/>
                  <a:gd name="T12" fmla="*/ 0 w 96"/>
                  <a:gd name="T13" fmla="*/ 29 h 56"/>
                  <a:gd name="T14" fmla="*/ 48 w 96"/>
                  <a:gd name="T15" fmla="*/ 10 h 56"/>
                  <a:gd name="T16" fmla="*/ 66 w 96"/>
                  <a:gd name="T17" fmla="*/ 28 h 56"/>
                  <a:gd name="T18" fmla="*/ 48 w 96"/>
                  <a:gd name="T19" fmla="*/ 46 h 56"/>
                  <a:gd name="T20" fmla="*/ 30 w 96"/>
                  <a:gd name="T21" fmla="*/ 28 h 56"/>
                  <a:gd name="T22" fmla="*/ 48 w 96"/>
                  <a:gd name="T23"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56">
                    <a:moveTo>
                      <a:pt x="0" y="29"/>
                    </a:moveTo>
                    <a:cubicBezTo>
                      <a:pt x="1" y="30"/>
                      <a:pt x="22" y="56"/>
                      <a:pt x="48" y="56"/>
                    </a:cubicBezTo>
                    <a:cubicBezTo>
                      <a:pt x="74" y="56"/>
                      <a:pt x="95" y="30"/>
                      <a:pt x="96" y="29"/>
                    </a:cubicBezTo>
                    <a:cubicBezTo>
                      <a:pt x="96" y="29"/>
                      <a:pt x="96" y="27"/>
                      <a:pt x="96" y="27"/>
                    </a:cubicBezTo>
                    <a:cubicBezTo>
                      <a:pt x="95" y="26"/>
                      <a:pt x="74" y="0"/>
                      <a:pt x="48" y="0"/>
                    </a:cubicBezTo>
                    <a:cubicBezTo>
                      <a:pt x="22" y="0"/>
                      <a:pt x="1" y="26"/>
                      <a:pt x="0" y="27"/>
                    </a:cubicBezTo>
                    <a:cubicBezTo>
                      <a:pt x="0" y="27"/>
                      <a:pt x="0" y="29"/>
                      <a:pt x="0" y="29"/>
                    </a:cubicBezTo>
                    <a:close/>
                    <a:moveTo>
                      <a:pt x="48" y="10"/>
                    </a:moveTo>
                    <a:cubicBezTo>
                      <a:pt x="58" y="10"/>
                      <a:pt x="66" y="18"/>
                      <a:pt x="66" y="28"/>
                    </a:cubicBezTo>
                    <a:cubicBezTo>
                      <a:pt x="66" y="38"/>
                      <a:pt x="58" y="46"/>
                      <a:pt x="48" y="46"/>
                    </a:cubicBezTo>
                    <a:cubicBezTo>
                      <a:pt x="38" y="46"/>
                      <a:pt x="30" y="38"/>
                      <a:pt x="30" y="28"/>
                    </a:cubicBezTo>
                    <a:cubicBezTo>
                      <a:pt x="30" y="18"/>
                      <a:pt x="38" y="10"/>
                      <a:pt x="4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Tree>
    <p:extLst>
      <p:ext uri="{BB962C8B-B14F-4D97-AF65-F5344CB8AC3E}">
        <p14:creationId xmlns:p14="http://schemas.microsoft.com/office/powerpoint/2010/main" val="26498701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Shape 421"/>
        <p:cNvGrpSpPr/>
        <p:nvPr/>
      </p:nvGrpSpPr>
      <p:grpSpPr>
        <a:xfrm>
          <a:off x="0" y="0"/>
          <a:ext cx="0" cy="0"/>
          <a:chOff x="0" y="0"/>
          <a:chExt cx="0" cy="0"/>
        </a:xfrm>
      </p:grpSpPr>
      <p:sp>
        <p:nvSpPr>
          <p:cNvPr id="162" name="Rectangle 4">
            <a:extLst>
              <a:ext uri="{FF2B5EF4-FFF2-40B4-BE49-F238E27FC236}">
                <a16:creationId xmlns:a16="http://schemas.microsoft.com/office/drawing/2014/main" id="{FD496F63-E428-4597-A14F-96EE31341119}"/>
              </a:ext>
            </a:extLst>
          </p:cNvPr>
          <p:cNvSpPr/>
          <p:nvPr/>
        </p:nvSpPr>
        <p:spPr>
          <a:xfrm>
            <a:off x="0" y="1"/>
            <a:ext cx="8790761" cy="7460360"/>
          </a:xfrm>
          <a:custGeom>
            <a:avLst/>
            <a:gdLst>
              <a:gd name="connsiteX0" fmla="*/ 0 w 5880100"/>
              <a:gd name="connsiteY0" fmla="*/ 0 h 5880100"/>
              <a:gd name="connsiteX1" fmla="*/ 5880100 w 5880100"/>
              <a:gd name="connsiteY1" fmla="*/ 0 h 5880100"/>
              <a:gd name="connsiteX2" fmla="*/ 5880100 w 5880100"/>
              <a:gd name="connsiteY2" fmla="*/ 5880100 h 5880100"/>
              <a:gd name="connsiteX3" fmla="*/ 0 w 5880100"/>
              <a:gd name="connsiteY3" fmla="*/ 5880100 h 5880100"/>
              <a:gd name="connsiteX4" fmla="*/ 0 w 5880100"/>
              <a:gd name="connsiteY4" fmla="*/ 0 h 5880100"/>
              <a:gd name="connsiteX0" fmla="*/ 0 w 6615112"/>
              <a:gd name="connsiteY0" fmla="*/ 0 h 6615112"/>
              <a:gd name="connsiteX1" fmla="*/ 5880100 w 6615112"/>
              <a:gd name="connsiteY1" fmla="*/ 0 h 6615112"/>
              <a:gd name="connsiteX2" fmla="*/ 5880100 w 6615112"/>
              <a:gd name="connsiteY2" fmla="*/ 5880100 h 6615112"/>
              <a:gd name="connsiteX3" fmla="*/ 0 w 6615112"/>
              <a:gd name="connsiteY3" fmla="*/ 5880100 h 6615112"/>
              <a:gd name="connsiteX4" fmla="*/ 0 w 6615112"/>
              <a:gd name="connsiteY4" fmla="*/ 0 h 6615112"/>
              <a:gd name="connsiteX0" fmla="*/ 0 w 6145189"/>
              <a:gd name="connsiteY0" fmla="*/ 0 h 6082525"/>
              <a:gd name="connsiteX1" fmla="*/ 5880100 w 6145189"/>
              <a:gd name="connsiteY1" fmla="*/ 0 h 6082525"/>
              <a:gd name="connsiteX2" fmla="*/ 3898900 w 6145189"/>
              <a:gd name="connsiteY2" fmla="*/ 3035300 h 6082525"/>
              <a:gd name="connsiteX3" fmla="*/ 0 w 6145189"/>
              <a:gd name="connsiteY3" fmla="*/ 5880100 h 6082525"/>
              <a:gd name="connsiteX4" fmla="*/ 0 w 6145189"/>
              <a:gd name="connsiteY4" fmla="*/ 0 h 6082525"/>
              <a:gd name="connsiteX0" fmla="*/ 0 w 6085854"/>
              <a:gd name="connsiteY0" fmla="*/ 0 h 6135502"/>
              <a:gd name="connsiteX1" fmla="*/ 5880100 w 6085854"/>
              <a:gd name="connsiteY1" fmla="*/ 0 h 6135502"/>
              <a:gd name="connsiteX2" fmla="*/ 3898900 w 6085854"/>
              <a:gd name="connsiteY2" fmla="*/ 3035300 h 6135502"/>
              <a:gd name="connsiteX3" fmla="*/ 0 w 6085854"/>
              <a:gd name="connsiteY3" fmla="*/ 5880100 h 6135502"/>
              <a:gd name="connsiteX4" fmla="*/ 0 w 6085854"/>
              <a:gd name="connsiteY4" fmla="*/ 0 h 6135502"/>
              <a:gd name="connsiteX0" fmla="*/ 0 w 6113652"/>
              <a:gd name="connsiteY0" fmla="*/ 0 h 6259192"/>
              <a:gd name="connsiteX1" fmla="*/ 5880100 w 6113652"/>
              <a:gd name="connsiteY1" fmla="*/ 0 h 6259192"/>
              <a:gd name="connsiteX2" fmla="*/ 4318000 w 6113652"/>
              <a:gd name="connsiteY2" fmla="*/ 4038600 h 6259192"/>
              <a:gd name="connsiteX3" fmla="*/ 0 w 6113652"/>
              <a:gd name="connsiteY3" fmla="*/ 5880100 h 6259192"/>
              <a:gd name="connsiteX4" fmla="*/ 0 w 6113652"/>
              <a:gd name="connsiteY4" fmla="*/ 0 h 6259192"/>
              <a:gd name="connsiteX0" fmla="*/ 0 w 6124861"/>
              <a:gd name="connsiteY0" fmla="*/ 0 h 6340446"/>
              <a:gd name="connsiteX1" fmla="*/ 5880100 w 6124861"/>
              <a:gd name="connsiteY1" fmla="*/ 0 h 6340446"/>
              <a:gd name="connsiteX2" fmla="*/ 4318000 w 6124861"/>
              <a:gd name="connsiteY2" fmla="*/ 4038600 h 6340446"/>
              <a:gd name="connsiteX3" fmla="*/ 0 w 6124861"/>
              <a:gd name="connsiteY3" fmla="*/ 5880100 h 6340446"/>
              <a:gd name="connsiteX4" fmla="*/ 0 w 6124861"/>
              <a:gd name="connsiteY4" fmla="*/ 0 h 6340446"/>
              <a:gd name="connsiteX0" fmla="*/ 0 w 6124861"/>
              <a:gd name="connsiteY0" fmla="*/ 0 h 6419004"/>
              <a:gd name="connsiteX1" fmla="*/ 5880100 w 6124861"/>
              <a:gd name="connsiteY1" fmla="*/ 0 h 6419004"/>
              <a:gd name="connsiteX2" fmla="*/ 4318000 w 6124861"/>
              <a:gd name="connsiteY2" fmla="*/ 4038600 h 6419004"/>
              <a:gd name="connsiteX3" fmla="*/ 0 w 6124861"/>
              <a:gd name="connsiteY3" fmla="*/ 5981143 h 6419004"/>
              <a:gd name="connsiteX4" fmla="*/ 0 w 6124861"/>
              <a:gd name="connsiteY4" fmla="*/ 0 h 6419004"/>
              <a:gd name="connsiteX0" fmla="*/ 0 w 6124861"/>
              <a:gd name="connsiteY0" fmla="*/ 0 h 6288307"/>
              <a:gd name="connsiteX1" fmla="*/ 5880100 w 6124861"/>
              <a:gd name="connsiteY1" fmla="*/ 0 h 6288307"/>
              <a:gd name="connsiteX2" fmla="*/ 4318000 w 6124861"/>
              <a:gd name="connsiteY2" fmla="*/ 4038600 h 6288307"/>
              <a:gd name="connsiteX3" fmla="*/ 1877438 w 6124861"/>
              <a:gd name="connsiteY3" fmla="*/ 4875323 h 6288307"/>
              <a:gd name="connsiteX4" fmla="*/ 0 w 6124861"/>
              <a:gd name="connsiteY4" fmla="*/ 5981143 h 6288307"/>
              <a:gd name="connsiteX5" fmla="*/ 0 w 6124861"/>
              <a:gd name="connsiteY5" fmla="*/ 0 h 6288307"/>
              <a:gd name="connsiteX0" fmla="*/ 0 w 6124861"/>
              <a:gd name="connsiteY0" fmla="*/ 0 h 6296591"/>
              <a:gd name="connsiteX1" fmla="*/ 5880100 w 6124861"/>
              <a:gd name="connsiteY1" fmla="*/ 0 h 6296591"/>
              <a:gd name="connsiteX2" fmla="*/ 4318000 w 6124861"/>
              <a:gd name="connsiteY2" fmla="*/ 4038600 h 6296591"/>
              <a:gd name="connsiteX3" fmla="*/ 1186774 w 6124861"/>
              <a:gd name="connsiteY3" fmla="*/ 4942685 h 6296591"/>
              <a:gd name="connsiteX4" fmla="*/ 0 w 6124861"/>
              <a:gd name="connsiteY4" fmla="*/ 5981143 h 6296591"/>
              <a:gd name="connsiteX5" fmla="*/ 0 w 6124861"/>
              <a:gd name="connsiteY5" fmla="*/ 0 h 6296591"/>
              <a:gd name="connsiteX0" fmla="*/ 0 w 6063529"/>
              <a:gd name="connsiteY0" fmla="*/ 0 h 6296591"/>
              <a:gd name="connsiteX1" fmla="*/ 5880100 w 6063529"/>
              <a:gd name="connsiteY1" fmla="*/ 0 h 6296591"/>
              <a:gd name="connsiteX2" fmla="*/ 3325778 w 6063529"/>
              <a:gd name="connsiteY2" fmla="*/ 3449184 h 6296591"/>
              <a:gd name="connsiteX3" fmla="*/ 1186774 w 6063529"/>
              <a:gd name="connsiteY3" fmla="*/ 4942685 h 6296591"/>
              <a:gd name="connsiteX4" fmla="*/ 0 w 6063529"/>
              <a:gd name="connsiteY4" fmla="*/ 5981143 h 6296591"/>
              <a:gd name="connsiteX5" fmla="*/ 0 w 6063529"/>
              <a:gd name="connsiteY5" fmla="*/ 0 h 6296591"/>
              <a:gd name="connsiteX0" fmla="*/ 0 w 6063529"/>
              <a:gd name="connsiteY0" fmla="*/ 0 h 6447106"/>
              <a:gd name="connsiteX1" fmla="*/ 5880100 w 6063529"/>
              <a:gd name="connsiteY1" fmla="*/ 0 h 6447106"/>
              <a:gd name="connsiteX2" fmla="*/ 3325778 w 6063529"/>
              <a:gd name="connsiteY2" fmla="*/ 3449184 h 6447106"/>
              <a:gd name="connsiteX3" fmla="*/ 1186774 w 6063529"/>
              <a:gd name="connsiteY3" fmla="*/ 4942685 h 6447106"/>
              <a:gd name="connsiteX4" fmla="*/ 291830 w 6063529"/>
              <a:gd name="connsiteY4" fmla="*/ 5835231 h 6447106"/>
              <a:gd name="connsiteX5" fmla="*/ 0 w 6063529"/>
              <a:gd name="connsiteY5" fmla="*/ 5981143 h 6447106"/>
              <a:gd name="connsiteX6" fmla="*/ 0 w 6063529"/>
              <a:gd name="connsiteY6" fmla="*/ 0 h 6447106"/>
              <a:gd name="connsiteX0" fmla="*/ 0 w 6063529"/>
              <a:gd name="connsiteY0" fmla="*/ 0 h 6458929"/>
              <a:gd name="connsiteX1" fmla="*/ 5880100 w 6063529"/>
              <a:gd name="connsiteY1" fmla="*/ 0 h 6458929"/>
              <a:gd name="connsiteX2" fmla="*/ 3325778 w 6063529"/>
              <a:gd name="connsiteY2" fmla="*/ 3449184 h 6458929"/>
              <a:gd name="connsiteX3" fmla="*/ 1186774 w 6063529"/>
              <a:gd name="connsiteY3" fmla="*/ 4942685 h 6458929"/>
              <a:gd name="connsiteX4" fmla="*/ 291830 w 6063529"/>
              <a:gd name="connsiteY4" fmla="*/ 5835231 h 6458929"/>
              <a:gd name="connsiteX5" fmla="*/ 87549 w 6063529"/>
              <a:gd name="connsiteY5" fmla="*/ 5969955 h 6458929"/>
              <a:gd name="connsiteX6" fmla="*/ 0 w 6063529"/>
              <a:gd name="connsiteY6" fmla="*/ 5981143 h 6458929"/>
              <a:gd name="connsiteX7" fmla="*/ 0 w 6063529"/>
              <a:gd name="connsiteY7" fmla="*/ 0 h 6458929"/>
              <a:gd name="connsiteX0" fmla="*/ 0 w 6063529"/>
              <a:gd name="connsiteY0" fmla="*/ 0 h 6465239"/>
              <a:gd name="connsiteX1" fmla="*/ 5880100 w 6063529"/>
              <a:gd name="connsiteY1" fmla="*/ 0 h 6465239"/>
              <a:gd name="connsiteX2" fmla="*/ 3325778 w 6063529"/>
              <a:gd name="connsiteY2" fmla="*/ 3449184 h 6465239"/>
              <a:gd name="connsiteX3" fmla="*/ 1186774 w 6063529"/>
              <a:gd name="connsiteY3" fmla="*/ 4942685 h 6465239"/>
              <a:gd name="connsiteX4" fmla="*/ 291830 w 6063529"/>
              <a:gd name="connsiteY4" fmla="*/ 5835231 h 6465239"/>
              <a:gd name="connsiteX5" fmla="*/ 87549 w 6063529"/>
              <a:gd name="connsiteY5" fmla="*/ 5969955 h 6465239"/>
              <a:gd name="connsiteX6" fmla="*/ 29183 w 6063529"/>
              <a:gd name="connsiteY6" fmla="*/ 6003635 h 6465239"/>
              <a:gd name="connsiteX7" fmla="*/ 0 w 6063529"/>
              <a:gd name="connsiteY7" fmla="*/ 5981143 h 6465239"/>
              <a:gd name="connsiteX8" fmla="*/ 0 w 6063529"/>
              <a:gd name="connsiteY8" fmla="*/ 0 h 6465239"/>
              <a:gd name="connsiteX0" fmla="*/ 0 w 6063529"/>
              <a:gd name="connsiteY0" fmla="*/ 0 h 6457675"/>
              <a:gd name="connsiteX1" fmla="*/ 5880100 w 6063529"/>
              <a:gd name="connsiteY1" fmla="*/ 0 h 6457675"/>
              <a:gd name="connsiteX2" fmla="*/ 3325778 w 6063529"/>
              <a:gd name="connsiteY2" fmla="*/ 3449184 h 6457675"/>
              <a:gd name="connsiteX3" fmla="*/ 1186774 w 6063529"/>
              <a:gd name="connsiteY3" fmla="*/ 4942685 h 6457675"/>
              <a:gd name="connsiteX4" fmla="*/ 291830 w 6063529"/>
              <a:gd name="connsiteY4" fmla="*/ 5835231 h 6457675"/>
              <a:gd name="connsiteX5" fmla="*/ 87549 w 6063529"/>
              <a:gd name="connsiteY5" fmla="*/ 5969955 h 6457675"/>
              <a:gd name="connsiteX6" fmla="*/ 29183 w 6063529"/>
              <a:gd name="connsiteY6" fmla="*/ 6003635 h 6457675"/>
              <a:gd name="connsiteX7" fmla="*/ 9728 w 6063529"/>
              <a:gd name="connsiteY7" fmla="*/ 5986794 h 6457675"/>
              <a:gd name="connsiteX8" fmla="*/ 0 w 6063529"/>
              <a:gd name="connsiteY8" fmla="*/ 5981143 h 6457675"/>
              <a:gd name="connsiteX9" fmla="*/ 0 w 6063529"/>
              <a:gd name="connsiteY9" fmla="*/ 0 h 6457675"/>
              <a:gd name="connsiteX0" fmla="*/ 0 w 8790761"/>
              <a:gd name="connsiteY0" fmla="*/ 0 h 6457675"/>
              <a:gd name="connsiteX1" fmla="*/ 8683590 w 8790761"/>
              <a:gd name="connsiteY1" fmla="*/ 8698 h 6457675"/>
              <a:gd name="connsiteX2" fmla="*/ 3325778 w 8790761"/>
              <a:gd name="connsiteY2" fmla="*/ 3449184 h 6457675"/>
              <a:gd name="connsiteX3" fmla="*/ 1186774 w 8790761"/>
              <a:gd name="connsiteY3" fmla="*/ 4942685 h 6457675"/>
              <a:gd name="connsiteX4" fmla="*/ 291830 w 8790761"/>
              <a:gd name="connsiteY4" fmla="*/ 5835231 h 6457675"/>
              <a:gd name="connsiteX5" fmla="*/ 87549 w 8790761"/>
              <a:gd name="connsiteY5" fmla="*/ 5969955 h 6457675"/>
              <a:gd name="connsiteX6" fmla="*/ 29183 w 8790761"/>
              <a:gd name="connsiteY6" fmla="*/ 6003635 h 6457675"/>
              <a:gd name="connsiteX7" fmla="*/ 9728 w 8790761"/>
              <a:gd name="connsiteY7" fmla="*/ 5986794 h 6457675"/>
              <a:gd name="connsiteX8" fmla="*/ 0 w 8790761"/>
              <a:gd name="connsiteY8" fmla="*/ 5981143 h 6457675"/>
              <a:gd name="connsiteX9" fmla="*/ 0 w 8790761"/>
              <a:gd name="connsiteY9" fmla="*/ 0 h 645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90761" h="6457675">
                <a:moveTo>
                  <a:pt x="0" y="0"/>
                </a:moveTo>
                <a:lnTo>
                  <a:pt x="8683590" y="8698"/>
                </a:lnTo>
                <a:cubicBezTo>
                  <a:pt x="9663607" y="988715"/>
                  <a:pt x="3607295" y="1199167"/>
                  <a:pt x="3325778" y="3449184"/>
                </a:cubicBezTo>
                <a:cubicBezTo>
                  <a:pt x="2806204" y="4463824"/>
                  <a:pt x="1906440" y="4618928"/>
                  <a:pt x="1186774" y="4942685"/>
                </a:cubicBezTo>
                <a:cubicBezTo>
                  <a:pt x="674631" y="5414738"/>
                  <a:pt x="489626" y="5662155"/>
                  <a:pt x="291830" y="5835231"/>
                </a:cubicBezTo>
                <a:cubicBezTo>
                  <a:pt x="103762" y="6080822"/>
                  <a:pt x="136187" y="5945636"/>
                  <a:pt x="87549" y="5969955"/>
                </a:cubicBezTo>
                <a:cubicBezTo>
                  <a:pt x="38911" y="6072401"/>
                  <a:pt x="43774" y="6001770"/>
                  <a:pt x="29183" y="6003635"/>
                </a:cubicBezTo>
                <a:cubicBezTo>
                  <a:pt x="14592" y="6079417"/>
                  <a:pt x="14592" y="5990543"/>
                  <a:pt x="9728" y="5986794"/>
                </a:cubicBezTo>
                <a:cubicBezTo>
                  <a:pt x="4864" y="5983045"/>
                  <a:pt x="0" y="7051917"/>
                  <a:pt x="0" y="5981143"/>
                </a:cubicBezTo>
                <a:lnTo>
                  <a:pt x="0" y="0"/>
                </a:lnTo>
                <a:close/>
              </a:path>
            </a:pathLst>
          </a:custGeom>
          <a:solidFill>
            <a:srgbClr val="F2EAF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5" name="Group 4">
            <a:extLst>
              <a:ext uri="{FF2B5EF4-FFF2-40B4-BE49-F238E27FC236}">
                <a16:creationId xmlns:a16="http://schemas.microsoft.com/office/drawing/2014/main" id="{CB90967C-0EE6-484F-B4BE-4429801B7458}"/>
              </a:ext>
            </a:extLst>
          </p:cNvPr>
          <p:cNvGrpSpPr/>
          <p:nvPr/>
        </p:nvGrpSpPr>
        <p:grpSpPr>
          <a:xfrm>
            <a:off x="1188017" y="1940226"/>
            <a:ext cx="6330908" cy="1884002"/>
            <a:chOff x="1183198" y="1219201"/>
            <a:chExt cx="6330908" cy="1884002"/>
          </a:xfrm>
        </p:grpSpPr>
        <p:grpSp>
          <p:nvGrpSpPr>
            <p:cNvPr id="423" name="Google Shape;423;p30"/>
            <p:cNvGrpSpPr/>
            <p:nvPr/>
          </p:nvGrpSpPr>
          <p:grpSpPr>
            <a:xfrm>
              <a:off x="2730516" y="1429684"/>
              <a:ext cx="435139" cy="913057"/>
              <a:chOff x="4880775" y="1837550"/>
              <a:chExt cx="146775" cy="299350"/>
            </a:xfrm>
          </p:grpSpPr>
          <p:sp>
            <p:nvSpPr>
              <p:cNvPr id="424" name="Google Shape;424;p30"/>
              <p:cNvSpPr/>
              <p:nvPr/>
            </p:nvSpPr>
            <p:spPr>
              <a:xfrm>
                <a:off x="4927600" y="1837550"/>
                <a:ext cx="53125" cy="53125"/>
              </a:xfrm>
              <a:custGeom>
                <a:avLst/>
                <a:gdLst/>
                <a:ahLst/>
                <a:cxnLst/>
                <a:rect l="l" t="t" r="r" b="b"/>
                <a:pathLst>
                  <a:path w="2125" h="2125" extrusionOk="0">
                    <a:moveTo>
                      <a:pt x="1053" y="1"/>
                    </a:moveTo>
                    <a:cubicBezTo>
                      <a:pt x="483" y="1"/>
                      <a:pt x="1" y="483"/>
                      <a:pt x="1" y="1071"/>
                    </a:cubicBezTo>
                    <a:cubicBezTo>
                      <a:pt x="1" y="1660"/>
                      <a:pt x="483" y="2124"/>
                      <a:pt x="1053" y="2124"/>
                    </a:cubicBezTo>
                    <a:cubicBezTo>
                      <a:pt x="1660" y="2124"/>
                      <a:pt x="2124" y="1660"/>
                      <a:pt x="2124" y="1071"/>
                    </a:cubicBezTo>
                    <a:cubicBezTo>
                      <a:pt x="2124" y="483"/>
                      <a:pt x="1660" y="1"/>
                      <a:pt x="1053" y="1"/>
                    </a:cubicBezTo>
                    <a:close/>
                  </a:path>
                </a:pathLst>
              </a:custGeom>
              <a:solidFill>
                <a:schemeClr val="accent1"/>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425" name="Google Shape;425;p30"/>
              <p:cNvSpPr/>
              <p:nvPr/>
            </p:nvSpPr>
            <p:spPr>
              <a:xfrm>
                <a:off x="4880775" y="1897325"/>
                <a:ext cx="146775" cy="239575"/>
              </a:xfrm>
              <a:custGeom>
                <a:avLst/>
                <a:gdLst/>
                <a:ahLst/>
                <a:cxnLst/>
                <a:rect l="l" t="t" r="r" b="b"/>
                <a:pathLst>
                  <a:path w="5871" h="9583" extrusionOk="0">
                    <a:moveTo>
                      <a:pt x="2926" y="1"/>
                    </a:moveTo>
                    <a:cubicBezTo>
                      <a:pt x="2641" y="1"/>
                      <a:pt x="2356" y="72"/>
                      <a:pt x="2052" y="143"/>
                    </a:cubicBezTo>
                    <a:cubicBezTo>
                      <a:pt x="1642" y="251"/>
                      <a:pt x="1267" y="465"/>
                      <a:pt x="928" y="732"/>
                    </a:cubicBezTo>
                    <a:cubicBezTo>
                      <a:pt x="857" y="804"/>
                      <a:pt x="803" y="911"/>
                      <a:pt x="785" y="1018"/>
                    </a:cubicBezTo>
                    <a:lnTo>
                      <a:pt x="36" y="4194"/>
                    </a:lnTo>
                    <a:cubicBezTo>
                      <a:pt x="36" y="4212"/>
                      <a:pt x="0" y="4265"/>
                      <a:pt x="0" y="4319"/>
                    </a:cubicBezTo>
                    <a:cubicBezTo>
                      <a:pt x="0" y="4622"/>
                      <a:pt x="250" y="4854"/>
                      <a:pt x="536" y="4854"/>
                    </a:cubicBezTo>
                    <a:cubicBezTo>
                      <a:pt x="785" y="4854"/>
                      <a:pt x="999" y="4658"/>
                      <a:pt x="1053" y="4461"/>
                    </a:cubicBezTo>
                    <a:lnTo>
                      <a:pt x="1606" y="2142"/>
                    </a:lnTo>
                    <a:lnTo>
                      <a:pt x="1606" y="9582"/>
                    </a:lnTo>
                    <a:lnTo>
                      <a:pt x="2659" y="9582"/>
                    </a:lnTo>
                    <a:lnTo>
                      <a:pt x="2659" y="4800"/>
                    </a:lnTo>
                    <a:lnTo>
                      <a:pt x="3194" y="4800"/>
                    </a:lnTo>
                    <a:lnTo>
                      <a:pt x="3194" y="9582"/>
                    </a:lnTo>
                    <a:lnTo>
                      <a:pt x="4265" y="9582"/>
                    </a:lnTo>
                    <a:lnTo>
                      <a:pt x="4265" y="2106"/>
                    </a:lnTo>
                    <a:lnTo>
                      <a:pt x="4836" y="4426"/>
                    </a:lnTo>
                    <a:cubicBezTo>
                      <a:pt x="4889" y="4640"/>
                      <a:pt x="5103" y="4836"/>
                      <a:pt x="5335" y="4836"/>
                    </a:cubicBezTo>
                    <a:cubicBezTo>
                      <a:pt x="5621" y="4836"/>
                      <a:pt x="5871" y="4586"/>
                      <a:pt x="5871" y="4301"/>
                    </a:cubicBezTo>
                    <a:cubicBezTo>
                      <a:pt x="5871" y="4247"/>
                      <a:pt x="5835" y="4194"/>
                      <a:pt x="5835" y="4158"/>
                    </a:cubicBezTo>
                    <a:lnTo>
                      <a:pt x="5103" y="1000"/>
                    </a:lnTo>
                    <a:cubicBezTo>
                      <a:pt x="5068" y="893"/>
                      <a:pt x="5014" y="786"/>
                      <a:pt x="4925" y="697"/>
                    </a:cubicBezTo>
                    <a:cubicBezTo>
                      <a:pt x="4622" y="447"/>
                      <a:pt x="4247" y="251"/>
                      <a:pt x="3819" y="108"/>
                    </a:cubicBezTo>
                    <a:cubicBezTo>
                      <a:pt x="3533" y="72"/>
                      <a:pt x="3230" y="1"/>
                      <a:pt x="2926" y="1"/>
                    </a:cubicBezTo>
                    <a:close/>
                  </a:path>
                </a:pathLst>
              </a:custGeom>
              <a:solidFill>
                <a:schemeClr val="accent1"/>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grpSp>
          <p:nvGrpSpPr>
            <p:cNvPr id="426" name="Google Shape;426;p30"/>
            <p:cNvGrpSpPr/>
            <p:nvPr/>
          </p:nvGrpSpPr>
          <p:grpSpPr>
            <a:xfrm>
              <a:off x="3218347" y="1423570"/>
              <a:ext cx="435139" cy="913057"/>
              <a:chOff x="4880775" y="1837550"/>
              <a:chExt cx="146775" cy="299350"/>
            </a:xfrm>
          </p:grpSpPr>
          <p:sp>
            <p:nvSpPr>
              <p:cNvPr id="427" name="Google Shape;427;p30"/>
              <p:cNvSpPr/>
              <p:nvPr/>
            </p:nvSpPr>
            <p:spPr>
              <a:xfrm>
                <a:off x="4927600" y="1837550"/>
                <a:ext cx="53125" cy="53125"/>
              </a:xfrm>
              <a:custGeom>
                <a:avLst/>
                <a:gdLst/>
                <a:ahLst/>
                <a:cxnLst/>
                <a:rect l="l" t="t" r="r" b="b"/>
                <a:pathLst>
                  <a:path w="2125" h="2125" extrusionOk="0">
                    <a:moveTo>
                      <a:pt x="1053" y="1"/>
                    </a:moveTo>
                    <a:cubicBezTo>
                      <a:pt x="483" y="1"/>
                      <a:pt x="1" y="483"/>
                      <a:pt x="1" y="1071"/>
                    </a:cubicBezTo>
                    <a:cubicBezTo>
                      <a:pt x="1" y="1660"/>
                      <a:pt x="483" y="2124"/>
                      <a:pt x="1053" y="2124"/>
                    </a:cubicBezTo>
                    <a:cubicBezTo>
                      <a:pt x="1660" y="2124"/>
                      <a:pt x="2124" y="1660"/>
                      <a:pt x="2124" y="1071"/>
                    </a:cubicBezTo>
                    <a:cubicBezTo>
                      <a:pt x="2124" y="483"/>
                      <a:pt x="1660" y="1"/>
                      <a:pt x="1053" y="1"/>
                    </a:cubicBezTo>
                    <a:close/>
                  </a:path>
                </a:pathLst>
              </a:custGeom>
              <a:solidFill>
                <a:schemeClr val="accent1"/>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428" name="Google Shape;428;p30"/>
              <p:cNvSpPr/>
              <p:nvPr/>
            </p:nvSpPr>
            <p:spPr>
              <a:xfrm>
                <a:off x="4880775" y="1897325"/>
                <a:ext cx="146775" cy="239575"/>
              </a:xfrm>
              <a:custGeom>
                <a:avLst/>
                <a:gdLst/>
                <a:ahLst/>
                <a:cxnLst/>
                <a:rect l="l" t="t" r="r" b="b"/>
                <a:pathLst>
                  <a:path w="5871" h="9583" extrusionOk="0">
                    <a:moveTo>
                      <a:pt x="2926" y="1"/>
                    </a:moveTo>
                    <a:cubicBezTo>
                      <a:pt x="2641" y="1"/>
                      <a:pt x="2356" y="72"/>
                      <a:pt x="2052" y="143"/>
                    </a:cubicBezTo>
                    <a:cubicBezTo>
                      <a:pt x="1642" y="251"/>
                      <a:pt x="1267" y="465"/>
                      <a:pt x="928" y="732"/>
                    </a:cubicBezTo>
                    <a:cubicBezTo>
                      <a:pt x="857" y="804"/>
                      <a:pt x="803" y="911"/>
                      <a:pt x="785" y="1018"/>
                    </a:cubicBezTo>
                    <a:lnTo>
                      <a:pt x="36" y="4194"/>
                    </a:lnTo>
                    <a:cubicBezTo>
                      <a:pt x="36" y="4212"/>
                      <a:pt x="0" y="4265"/>
                      <a:pt x="0" y="4319"/>
                    </a:cubicBezTo>
                    <a:cubicBezTo>
                      <a:pt x="0" y="4622"/>
                      <a:pt x="250" y="4854"/>
                      <a:pt x="536" y="4854"/>
                    </a:cubicBezTo>
                    <a:cubicBezTo>
                      <a:pt x="785" y="4854"/>
                      <a:pt x="999" y="4658"/>
                      <a:pt x="1053" y="4461"/>
                    </a:cubicBezTo>
                    <a:lnTo>
                      <a:pt x="1606" y="2142"/>
                    </a:lnTo>
                    <a:lnTo>
                      <a:pt x="1606" y="9582"/>
                    </a:lnTo>
                    <a:lnTo>
                      <a:pt x="2659" y="9582"/>
                    </a:lnTo>
                    <a:lnTo>
                      <a:pt x="2659" y="4800"/>
                    </a:lnTo>
                    <a:lnTo>
                      <a:pt x="3194" y="4800"/>
                    </a:lnTo>
                    <a:lnTo>
                      <a:pt x="3194" y="9582"/>
                    </a:lnTo>
                    <a:lnTo>
                      <a:pt x="4265" y="9582"/>
                    </a:lnTo>
                    <a:lnTo>
                      <a:pt x="4265" y="2106"/>
                    </a:lnTo>
                    <a:lnTo>
                      <a:pt x="4836" y="4426"/>
                    </a:lnTo>
                    <a:cubicBezTo>
                      <a:pt x="4889" y="4640"/>
                      <a:pt x="5103" y="4836"/>
                      <a:pt x="5335" y="4836"/>
                    </a:cubicBezTo>
                    <a:cubicBezTo>
                      <a:pt x="5621" y="4836"/>
                      <a:pt x="5871" y="4586"/>
                      <a:pt x="5871" y="4301"/>
                    </a:cubicBezTo>
                    <a:cubicBezTo>
                      <a:pt x="5871" y="4247"/>
                      <a:pt x="5835" y="4194"/>
                      <a:pt x="5835" y="4158"/>
                    </a:cubicBezTo>
                    <a:lnTo>
                      <a:pt x="5103" y="1000"/>
                    </a:lnTo>
                    <a:cubicBezTo>
                      <a:pt x="5068" y="893"/>
                      <a:pt x="5014" y="786"/>
                      <a:pt x="4925" y="697"/>
                    </a:cubicBezTo>
                    <a:cubicBezTo>
                      <a:pt x="4622" y="447"/>
                      <a:pt x="4247" y="251"/>
                      <a:pt x="3819" y="108"/>
                    </a:cubicBezTo>
                    <a:cubicBezTo>
                      <a:pt x="3533" y="72"/>
                      <a:pt x="3230" y="1"/>
                      <a:pt x="2926" y="1"/>
                    </a:cubicBezTo>
                    <a:close/>
                  </a:path>
                </a:pathLst>
              </a:custGeom>
              <a:solidFill>
                <a:schemeClr val="accent1"/>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grpSp>
          <p:nvGrpSpPr>
            <p:cNvPr id="429" name="Google Shape;429;p30"/>
            <p:cNvGrpSpPr/>
            <p:nvPr/>
          </p:nvGrpSpPr>
          <p:grpSpPr>
            <a:xfrm>
              <a:off x="3688547" y="1407716"/>
              <a:ext cx="435139" cy="913057"/>
              <a:chOff x="4880775" y="1837550"/>
              <a:chExt cx="146775" cy="299350"/>
            </a:xfrm>
          </p:grpSpPr>
          <p:sp>
            <p:nvSpPr>
              <p:cNvPr id="430" name="Google Shape;430;p30"/>
              <p:cNvSpPr/>
              <p:nvPr/>
            </p:nvSpPr>
            <p:spPr>
              <a:xfrm>
                <a:off x="4927600" y="1837550"/>
                <a:ext cx="53125" cy="53125"/>
              </a:xfrm>
              <a:custGeom>
                <a:avLst/>
                <a:gdLst/>
                <a:ahLst/>
                <a:cxnLst/>
                <a:rect l="l" t="t" r="r" b="b"/>
                <a:pathLst>
                  <a:path w="2125" h="2125" extrusionOk="0">
                    <a:moveTo>
                      <a:pt x="1053" y="1"/>
                    </a:moveTo>
                    <a:cubicBezTo>
                      <a:pt x="483" y="1"/>
                      <a:pt x="1" y="483"/>
                      <a:pt x="1" y="1071"/>
                    </a:cubicBezTo>
                    <a:cubicBezTo>
                      <a:pt x="1" y="1660"/>
                      <a:pt x="483" y="2124"/>
                      <a:pt x="1053" y="2124"/>
                    </a:cubicBezTo>
                    <a:cubicBezTo>
                      <a:pt x="1660" y="2124"/>
                      <a:pt x="2124" y="1660"/>
                      <a:pt x="2124" y="1071"/>
                    </a:cubicBezTo>
                    <a:cubicBezTo>
                      <a:pt x="2124" y="483"/>
                      <a:pt x="1660" y="1"/>
                      <a:pt x="1053" y="1"/>
                    </a:cubicBezTo>
                    <a:close/>
                  </a:path>
                </a:pathLst>
              </a:custGeom>
              <a:solidFill>
                <a:schemeClr val="accent1"/>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431" name="Google Shape;431;p30"/>
              <p:cNvSpPr/>
              <p:nvPr/>
            </p:nvSpPr>
            <p:spPr>
              <a:xfrm>
                <a:off x="4880775" y="1897325"/>
                <a:ext cx="146775" cy="239575"/>
              </a:xfrm>
              <a:custGeom>
                <a:avLst/>
                <a:gdLst/>
                <a:ahLst/>
                <a:cxnLst/>
                <a:rect l="l" t="t" r="r" b="b"/>
                <a:pathLst>
                  <a:path w="5871" h="9583" extrusionOk="0">
                    <a:moveTo>
                      <a:pt x="2926" y="1"/>
                    </a:moveTo>
                    <a:cubicBezTo>
                      <a:pt x="2641" y="1"/>
                      <a:pt x="2356" y="72"/>
                      <a:pt x="2052" y="143"/>
                    </a:cubicBezTo>
                    <a:cubicBezTo>
                      <a:pt x="1642" y="251"/>
                      <a:pt x="1267" y="465"/>
                      <a:pt x="928" y="732"/>
                    </a:cubicBezTo>
                    <a:cubicBezTo>
                      <a:pt x="857" y="804"/>
                      <a:pt x="803" y="911"/>
                      <a:pt x="785" y="1018"/>
                    </a:cubicBezTo>
                    <a:lnTo>
                      <a:pt x="36" y="4194"/>
                    </a:lnTo>
                    <a:cubicBezTo>
                      <a:pt x="36" y="4212"/>
                      <a:pt x="0" y="4265"/>
                      <a:pt x="0" y="4319"/>
                    </a:cubicBezTo>
                    <a:cubicBezTo>
                      <a:pt x="0" y="4622"/>
                      <a:pt x="250" y="4854"/>
                      <a:pt x="536" y="4854"/>
                    </a:cubicBezTo>
                    <a:cubicBezTo>
                      <a:pt x="785" y="4854"/>
                      <a:pt x="999" y="4658"/>
                      <a:pt x="1053" y="4461"/>
                    </a:cubicBezTo>
                    <a:lnTo>
                      <a:pt x="1606" y="2142"/>
                    </a:lnTo>
                    <a:lnTo>
                      <a:pt x="1606" y="9582"/>
                    </a:lnTo>
                    <a:lnTo>
                      <a:pt x="2659" y="9582"/>
                    </a:lnTo>
                    <a:lnTo>
                      <a:pt x="2659" y="4800"/>
                    </a:lnTo>
                    <a:lnTo>
                      <a:pt x="3194" y="4800"/>
                    </a:lnTo>
                    <a:lnTo>
                      <a:pt x="3194" y="9582"/>
                    </a:lnTo>
                    <a:lnTo>
                      <a:pt x="4265" y="9582"/>
                    </a:lnTo>
                    <a:lnTo>
                      <a:pt x="4265" y="2106"/>
                    </a:lnTo>
                    <a:lnTo>
                      <a:pt x="4836" y="4426"/>
                    </a:lnTo>
                    <a:cubicBezTo>
                      <a:pt x="4889" y="4640"/>
                      <a:pt x="5103" y="4836"/>
                      <a:pt x="5335" y="4836"/>
                    </a:cubicBezTo>
                    <a:cubicBezTo>
                      <a:pt x="5621" y="4836"/>
                      <a:pt x="5871" y="4586"/>
                      <a:pt x="5871" y="4301"/>
                    </a:cubicBezTo>
                    <a:cubicBezTo>
                      <a:pt x="5871" y="4247"/>
                      <a:pt x="5835" y="4194"/>
                      <a:pt x="5835" y="4158"/>
                    </a:cubicBezTo>
                    <a:lnTo>
                      <a:pt x="5103" y="1000"/>
                    </a:lnTo>
                    <a:cubicBezTo>
                      <a:pt x="5068" y="893"/>
                      <a:pt x="5014" y="786"/>
                      <a:pt x="4925" y="697"/>
                    </a:cubicBezTo>
                    <a:cubicBezTo>
                      <a:pt x="4622" y="447"/>
                      <a:pt x="4247" y="251"/>
                      <a:pt x="3819" y="108"/>
                    </a:cubicBezTo>
                    <a:cubicBezTo>
                      <a:pt x="3533" y="72"/>
                      <a:pt x="3230" y="1"/>
                      <a:pt x="2926" y="1"/>
                    </a:cubicBezTo>
                    <a:close/>
                  </a:path>
                </a:pathLst>
              </a:custGeom>
              <a:solidFill>
                <a:schemeClr val="accent1"/>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grpSp>
          <p:nvGrpSpPr>
            <p:cNvPr id="432" name="Google Shape;432;p30"/>
            <p:cNvGrpSpPr/>
            <p:nvPr/>
          </p:nvGrpSpPr>
          <p:grpSpPr>
            <a:xfrm>
              <a:off x="4176377" y="1401604"/>
              <a:ext cx="435139" cy="913057"/>
              <a:chOff x="4880775" y="1837550"/>
              <a:chExt cx="146775" cy="299350"/>
            </a:xfrm>
          </p:grpSpPr>
          <p:sp>
            <p:nvSpPr>
              <p:cNvPr id="433" name="Google Shape;433;p30"/>
              <p:cNvSpPr/>
              <p:nvPr/>
            </p:nvSpPr>
            <p:spPr>
              <a:xfrm>
                <a:off x="4927600" y="1837550"/>
                <a:ext cx="53125" cy="53125"/>
              </a:xfrm>
              <a:custGeom>
                <a:avLst/>
                <a:gdLst/>
                <a:ahLst/>
                <a:cxnLst/>
                <a:rect l="l" t="t" r="r" b="b"/>
                <a:pathLst>
                  <a:path w="2125" h="2125" extrusionOk="0">
                    <a:moveTo>
                      <a:pt x="1053" y="1"/>
                    </a:moveTo>
                    <a:cubicBezTo>
                      <a:pt x="483" y="1"/>
                      <a:pt x="1" y="483"/>
                      <a:pt x="1" y="1071"/>
                    </a:cubicBezTo>
                    <a:cubicBezTo>
                      <a:pt x="1" y="1660"/>
                      <a:pt x="483" y="2124"/>
                      <a:pt x="1053" y="2124"/>
                    </a:cubicBezTo>
                    <a:cubicBezTo>
                      <a:pt x="1660" y="2124"/>
                      <a:pt x="2124" y="1660"/>
                      <a:pt x="2124" y="1071"/>
                    </a:cubicBezTo>
                    <a:cubicBezTo>
                      <a:pt x="2124" y="483"/>
                      <a:pt x="1660" y="1"/>
                      <a:pt x="1053" y="1"/>
                    </a:cubicBezTo>
                    <a:close/>
                  </a:path>
                </a:pathLst>
              </a:custGeom>
              <a:solidFill>
                <a:schemeClr val="accent1"/>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434" name="Google Shape;434;p30"/>
              <p:cNvSpPr/>
              <p:nvPr/>
            </p:nvSpPr>
            <p:spPr>
              <a:xfrm>
                <a:off x="4880775" y="1897325"/>
                <a:ext cx="146775" cy="239575"/>
              </a:xfrm>
              <a:custGeom>
                <a:avLst/>
                <a:gdLst/>
                <a:ahLst/>
                <a:cxnLst/>
                <a:rect l="l" t="t" r="r" b="b"/>
                <a:pathLst>
                  <a:path w="5871" h="9583" extrusionOk="0">
                    <a:moveTo>
                      <a:pt x="2926" y="1"/>
                    </a:moveTo>
                    <a:cubicBezTo>
                      <a:pt x="2641" y="1"/>
                      <a:pt x="2356" y="72"/>
                      <a:pt x="2052" y="143"/>
                    </a:cubicBezTo>
                    <a:cubicBezTo>
                      <a:pt x="1642" y="251"/>
                      <a:pt x="1267" y="465"/>
                      <a:pt x="928" y="732"/>
                    </a:cubicBezTo>
                    <a:cubicBezTo>
                      <a:pt x="857" y="804"/>
                      <a:pt x="803" y="911"/>
                      <a:pt x="785" y="1018"/>
                    </a:cubicBezTo>
                    <a:lnTo>
                      <a:pt x="36" y="4194"/>
                    </a:lnTo>
                    <a:cubicBezTo>
                      <a:pt x="36" y="4212"/>
                      <a:pt x="0" y="4265"/>
                      <a:pt x="0" y="4319"/>
                    </a:cubicBezTo>
                    <a:cubicBezTo>
                      <a:pt x="0" y="4622"/>
                      <a:pt x="250" y="4854"/>
                      <a:pt x="536" y="4854"/>
                    </a:cubicBezTo>
                    <a:cubicBezTo>
                      <a:pt x="785" y="4854"/>
                      <a:pt x="999" y="4658"/>
                      <a:pt x="1053" y="4461"/>
                    </a:cubicBezTo>
                    <a:lnTo>
                      <a:pt x="1606" y="2142"/>
                    </a:lnTo>
                    <a:lnTo>
                      <a:pt x="1606" y="9582"/>
                    </a:lnTo>
                    <a:lnTo>
                      <a:pt x="2659" y="9582"/>
                    </a:lnTo>
                    <a:lnTo>
                      <a:pt x="2659" y="4800"/>
                    </a:lnTo>
                    <a:lnTo>
                      <a:pt x="3194" y="4800"/>
                    </a:lnTo>
                    <a:lnTo>
                      <a:pt x="3194" y="9582"/>
                    </a:lnTo>
                    <a:lnTo>
                      <a:pt x="4265" y="9582"/>
                    </a:lnTo>
                    <a:lnTo>
                      <a:pt x="4265" y="2106"/>
                    </a:lnTo>
                    <a:lnTo>
                      <a:pt x="4836" y="4426"/>
                    </a:lnTo>
                    <a:cubicBezTo>
                      <a:pt x="4889" y="4640"/>
                      <a:pt x="5103" y="4836"/>
                      <a:pt x="5335" y="4836"/>
                    </a:cubicBezTo>
                    <a:cubicBezTo>
                      <a:pt x="5621" y="4836"/>
                      <a:pt x="5871" y="4586"/>
                      <a:pt x="5871" y="4301"/>
                    </a:cubicBezTo>
                    <a:cubicBezTo>
                      <a:pt x="5871" y="4247"/>
                      <a:pt x="5835" y="4194"/>
                      <a:pt x="5835" y="4158"/>
                    </a:cubicBezTo>
                    <a:lnTo>
                      <a:pt x="5103" y="1000"/>
                    </a:lnTo>
                    <a:cubicBezTo>
                      <a:pt x="5068" y="893"/>
                      <a:pt x="5014" y="786"/>
                      <a:pt x="4925" y="697"/>
                    </a:cubicBezTo>
                    <a:cubicBezTo>
                      <a:pt x="4622" y="447"/>
                      <a:pt x="4247" y="251"/>
                      <a:pt x="3819" y="108"/>
                    </a:cubicBezTo>
                    <a:cubicBezTo>
                      <a:pt x="3533" y="72"/>
                      <a:pt x="3230" y="1"/>
                      <a:pt x="2926" y="1"/>
                    </a:cubicBezTo>
                    <a:close/>
                  </a:path>
                </a:pathLst>
              </a:custGeom>
              <a:solidFill>
                <a:schemeClr val="accent1"/>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grpSp>
          <p:nvGrpSpPr>
            <p:cNvPr id="435" name="Google Shape;435;p30"/>
            <p:cNvGrpSpPr/>
            <p:nvPr/>
          </p:nvGrpSpPr>
          <p:grpSpPr>
            <a:xfrm>
              <a:off x="4640700" y="1419941"/>
              <a:ext cx="435139" cy="913057"/>
              <a:chOff x="4880775" y="1837550"/>
              <a:chExt cx="146775" cy="299350"/>
            </a:xfrm>
          </p:grpSpPr>
          <p:sp>
            <p:nvSpPr>
              <p:cNvPr id="436" name="Google Shape;436;p30"/>
              <p:cNvSpPr/>
              <p:nvPr/>
            </p:nvSpPr>
            <p:spPr>
              <a:xfrm>
                <a:off x="4927600" y="1837550"/>
                <a:ext cx="53125" cy="53125"/>
              </a:xfrm>
              <a:custGeom>
                <a:avLst/>
                <a:gdLst/>
                <a:ahLst/>
                <a:cxnLst/>
                <a:rect l="l" t="t" r="r" b="b"/>
                <a:pathLst>
                  <a:path w="2125" h="2125" extrusionOk="0">
                    <a:moveTo>
                      <a:pt x="1053" y="1"/>
                    </a:moveTo>
                    <a:cubicBezTo>
                      <a:pt x="483" y="1"/>
                      <a:pt x="1" y="483"/>
                      <a:pt x="1" y="1071"/>
                    </a:cubicBezTo>
                    <a:cubicBezTo>
                      <a:pt x="1" y="1660"/>
                      <a:pt x="483" y="2124"/>
                      <a:pt x="1053" y="2124"/>
                    </a:cubicBezTo>
                    <a:cubicBezTo>
                      <a:pt x="1660" y="2124"/>
                      <a:pt x="2124" y="1660"/>
                      <a:pt x="2124" y="1071"/>
                    </a:cubicBezTo>
                    <a:cubicBezTo>
                      <a:pt x="2124" y="483"/>
                      <a:pt x="1660" y="1"/>
                      <a:pt x="1053" y="1"/>
                    </a:cubicBezTo>
                    <a:close/>
                  </a:path>
                </a:pathLst>
              </a:custGeom>
              <a:solidFill>
                <a:schemeClr val="accent1"/>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437" name="Google Shape;437;p30"/>
              <p:cNvSpPr/>
              <p:nvPr/>
            </p:nvSpPr>
            <p:spPr>
              <a:xfrm>
                <a:off x="4880775" y="1897325"/>
                <a:ext cx="146775" cy="239575"/>
              </a:xfrm>
              <a:custGeom>
                <a:avLst/>
                <a:gdLst/>
                <a:ahLst/>
                <a:cxnLst/>
                <a:rect l="l" t="t" r="r" b="b"/>
                <a:pathLst>
                  <a:path w="5871" h="9583" extrusionOk="0">
                    <a:moveTo>
                      <a:pt x="2926" y="1"/>
                    </a:moveTo>
                    <a:cubicBezTo>
                      <a:pt x="2641" y="1"/>
                      <a:pt x="2356" y="72"/>
                      <a:pt x="2052" y="143"/>
                    </a:cubicBezTo>
                    <a:cubicBezTo>
                      <a:pt x="1642" y="251"/>
                      <a:pt x="1267" y="465"/>
                      <a:pt x="928" y="732"/>
                    </a:cubicBezTo>
                    <a:cubicBezTo>
                      <a:pt x="857" y="804"/>
                      <a:pt x="803" y="911"/>
                      <a:pt x="785" y="1018"/>
                    </a:cubicBezTo>
                    <a:lnTo>
                      <a:pt x="36" y="4194"/>
                    </a:lnTo>
                    <a:cubicBezTo>
                      <a:pt x="36" y="4212"/>
                      <a:pt x="0" y="4265"/>
                      <a:pt x="0" y="4319"/>
                    </a:cubicBezTo>
                    <a:cubicBezTo>
                      <a:pt x="0" y="4622"/>
                      <a:pt x="250" y="4854"/>
                      <a:pt x="536" y="4854"/>
                    </a:cubicBezTo>
                    <a:cubicBezTo>
                      <a:pt x="785" y="4854"/>
                      <a:pt x="999" y="4658"/>
                      <a:pt x="1053" y="4461"/>
                    </a:cubicBezTo>
                    <a:lnTo>
                      <a:pt x="1606" y="2142"/>
                    </a:lnTo>
                    <a:lnTo>
                      <a:pt x="1606" y="9582"/>
                    </a:lnTo>
                    <a:lnTo>
                      <a:pt x="2659" y="9582"/>
                    </a:lnTo>
                    <a:lnTo>
                      <a:pt x="2659" y="4800"/>
                    </a:lnTo>
                    <a:lnTo>
                      <a:pt x="3194" y="4800"/>
                    </a:lnTo>
                    <a:lnTo>
                      <a:pt x="3194" y="9582"/>
                    </a:lnTo>
                    <a:lnTo>
                      <a:pt x="4265" y="9582"/>
                    </a:lnTo>
                    <a:lnTo>
                      <a:pt x="4265" y="2106"/>
                    </a:lnTo>
                    <a:lnTo>
                      <a:pt x="4836" y="4426"/>
                    </a:lnTo>
                    <a:cubicBezTo>
                      <a:pt x="4889" y="4640"/>
                      <a:pt x="5103" y="4836"/>
                      <a:pt x="5335" y="4836"/>
                    </a:cubicBezTo>
                    <a:cubicBezTo>
                      <a:pt x="5621" y="4836"/>
                      <a:pt x="5871" y="4586"/>
                      <a:pt x="5871" y="4301"/>
                    </a:cubicBezTo>
                    <a:cubicBezTo>
                      <a:pt x="5871" y="4247"/>
                      <a:pt x="5835" y="4194"/>
                      <a:pt x="5835" y="4158"/>
                    </a:cubicBezTo>
                    <a:lnTo>
                      <a:pt x="5103" y="1000"/>
                    </a:lnTo>
                    <a:cubicBezTo>
                      <a:pt x="5068" y="893"/>
                      <a:pt x="5014" y="786"/>
                      <a:pt x="4925" y="697"/>
                    </a:cubicBezTo>
                    <a:cubicBezTo>
                      <a:pt x="4622" y="447"/>
                      <a:pt x="4247" y="251"/>
                      <a:pt x="3819" y="108"/>
                    </a:cubicBezTo>
                    <a:cubicBezTo>
                      <a:pt x="3533" y="72"/>
                      <a:pt x="3230" y="1"/>
                      <a:pt x="2926" y="1"/>
                    </a:cubicBezTo>
                    <a:close/>
                  </a:path>
                </a:pathLst>
              </a:custGeom>
              <a:solidFill>
                <a:schemeClr val="accent1"/>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grpSp>
          <p:nvGrpSpPr>
            <p:cNvPr id="438" name="Google Shape;438;p30"/>
            <p:cNvGrpSpPr/>
            <p:nvPr/>
          </p:nvGrpSpPr>
          <p:grpSpPr>
            <a:xfrm>
              <a:off x="5128531" y="1413829"/>
              <a:ext cx="435139" cy="913057"/>
              <a:chOff x="4880775" y="1837550"/>
              <a:chExt cx="146775" cy="299350"/>
            </a:xfrm>
          </p:grpSpPr>
          <p:sp>
            <p:nvSpPr>
              <p:cNvPr id="439" name="Google Shape;439;p30"/>
              <p:cNvSpPr/>
              <p:nvPr/>
            </p:nvSpPr>
            <p:spPr>
              <a:xfrm>
                <a:off x="4927600" y="1837550"/>
                <a:ext cx="53125" cy="53125"/>
              </a:xfrm>
              <a:custGeom>
                <a:avLst/>
                <a:gdLst/>
                <a:ahLst/>
                <a:cxnLst/>
                <a:rect l="l" t="t" r="r" b="b"/>
                <a:pathLst>
                  <a:path w="2125" h="2125" extrusionOk="0">
                    <a:moveTo>
                      <a:pt x="1053" y="1"/>
                    </a:moveTo>
                    <a:cubicBezTo>
                      <a:pt x="483" y="1"/>
                      <a:pt x="1" y="483"/>
                      <a:pt x="1" y="1071"/>
                    </a:cubicBezTo>
                    <a:cubicBezTo>
                      <a:pt x="1" y="1660"/>
                      <a:pt x="483" y="2124"/>
                      <a:pt x="1053" y="2124"/>
                    </a:cubicBezTo>
                    <a:cubicBezTo>
                      <a:pt x="1660" y="2124"/>
                      <a:pt x="2124" y="1660"/>
                      <a:pt x="2124" y="1071"/>
                    </a:cubicBezTo>
                    <a:cubicBezTo>
                      <a:pt x="2124" y="483"/>
                      <a:pt x="1660" y="1"/>
                      <a:pt x="1053" y="1"/>
                    </a:cubicBezTo>
                    <a:close/>
                  </a:path>
                </a:pathLst>
              </a:custGeom>
              <a:solidFill>
                <a:schemeClr val="accent1"/>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440" name="Google Shape;440;p30"/>
              <p:cNvSpPr/>
              <p:nvPr/>
            </p:nvSpPr>
            <p:spPr>
              <a:xfrm>
                <a:off x="4880775" y="1897325"/>
                <a:ext cx="146775" cy="239575"/>
              </a:xfrm>
              <a:custGeom>
                <a:avLst/>
                <a:gdLst/>
                <a:ahLst/>
                <a:cxnLst/>
                <a:rect l="l" t="t" r="r" b="b"/>
                <a:pathLst>
                  <a:path w="5871" h="9583" extrusionOk="0">
                    <a:moveTo>
                      <a:pt x="2926" y="1"/>
                    </a:moveTo>
                    <a:cubicBezTo>
                      <a:pt x="2641" y="1"/>
                      <a:pt x="2356" y="72"/>
                      <a:pt x="2052" y="143"/>
                    </a:cubicBezTo>
                    <a:cubicBezTo>
                      <a:pt x="1642" y="251"/>
                      <a:pt x="1267" y="465"/>
                      <a:pt x="928" y="732"/>
                    </a:cubicBezTo>
                    <a:cubicBezTo>
                      <a:pt x="857" y="804"/>
                      <a:pt x="803" y="911"/>
                      <a:pt x="785" y="1018"/>
                    </a:cubicBezTo>
                    <a:lnTo>
                      <a:pt x="36" y="4194"/>
                    </a:lnTo>
                    <a:cubicBezTo>
                      <a:pt x="36" y="4212"/>
                      <a:pt x="0" y="4265"/>
                      <a:pt x="0" y="4319"/>
                    </a:cubicBezTo>
                    <a:cubicBezTo>
                      <a:pt x="0" y="4622"/>
                      <a:pt x="250" y="4854"/>
                      <a:pt x="536" y="4854"/>
                    </a:cubicBezTo>
                    <a:cubicBezTo>
                      <a:pt x="785" y="4854"/>
                      <a:pt x="999" y="4658"/>
                      <a:pt x="1053" y="4461"/>
                    </a:cubicBezTo>
                    <a:lnTo>
                      <a:pt x="1606" y="2142"/>
                    </a:lnTo>
                    <a:lnTo>
                      <a:pt x="1606" y="9582"/>
                    </a:lnTo>
                    <a:lnTo>
                      <a:pt x="2659" y="9582"/>
                    </a:lnTo>
                    <a:lnTo>
                      <a:pt x="2659" y="4800"/>
                    </a:lnTo>
                    <a:lnTo>
                      <a:pt x="3194" y="4800"/>
                    </a:lnTo>
                    <a:lnTo>
                      <a:pt x="3194" y="9582"/>
                    </a:lnTo>
                    <a:lnTo>
                      <a:pt x="4265" y="9582"/>
                    </a:lnTo>
                    <a:lnTo>
                      <a:pt x="4265" y="2106"/>
                    </a:lnTo>
                    <a:lnTo>
                      <a:pt x="4836" y="4426"/>
                    </a:lnTo>
                    <a:cubicBezTo>
                      <a:pt x="4889" y="4640"/>
                      <a:pt x="5103" y="4836"/>
                      <a:pt x="5335" y="4836"/>
                    </a:cubicBezTo>
                    <a:cubicBezTo>
                      <a:pt x="5621" y="4836"/>
                      <a:pt x="5871" y="4586"/>
                      <a:pt x="5871" y="4301"/>
                    </a:cubicBezTo>
                    <a:cubicBezTo>
                      <a:pt x="5871" y="4247"/>
                      <a:pt x="5835" y="4194"/>
                      <a:pt x="5835" y="4158"/>
                    </a:cubicBezTo>
                    <a:lnTo>
                      <a:pt x="5103" y="1000"/>
                    </a:lnTo>
                    <a:cubicBezTo>
                      <a:pt x="5068" y="893"/>
                      <a:pt x="5014" y="786"/>
                      <a:pt x="4925" y="697"/>
                    </a:cubicBezTo>
                    <a:cubicBezTo>
                      <a:pt x="4622" y="447"/>
                      <a:pt x="4247" y="251"/>
                      <a:pt x="3819" y="108"/>
                    </a:cubicBezTo>
                    <a:cubicBezTo>
                      <a:pt x="3533" y="72"/>
                      <a:pt x="3230" y="1"/>
                      <a:pt x="2926" y="1"/>
                    </a:cubicBezTo>
                    <a:close/>
                  </a:path>
                </a:pathLst>
              </a:custGeom>
              <a:solidFill>
                <a:schemeClr val="accent1"/>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grpSp>
          <p:nvGrpSpPr>
            <p:cNvPr id="441" name="Google Shape;441;p30"/>
            <p:cNvGrpSpPr/>
            <p:nvPr/>
          </p:nvGrpSpPr>
          <p:grpSpPr>
            <a:xfrm>
              <a:off x="5598731" y="1397974"/>
              <a:ext cx="435139" cy="913057"/>
              <a:chOff x="4880775" y="1837550"/>
              <a:chExt cx="146775" cy="299350"/>
            </a:xfrm>
          </p:grpSpPr>
          <p:sp>
            <p:nvSpPr>
              <p:cNvPr id="442" name="Google Shape;442;p30"/>
              <p:cNvSpPr/>
              <p:nvPr/>
            </p:nvSpPr>
            <p:spPr>
              <a:xfrm>
                <a:off x="4927600" y="1837550"/>
                <a:ext cx="53125" cy="53125"/>
              </a:xfrm>
              <a:custGeom>
                <a:avLst/>
                <a:gdLst/>
                <a:ahLst/>
                <a:cxnLst/>
                <a:rect l="l" t="t" r="r" b="b"/>
                <a:pathLst>
                  <a:path w="2125" h="2125" extrusionOk="0">
                    <a:moveTo>
                      <a:pt x="1053" y="1"/>
                    </a:moveTo>
                    <a:cubicBezTo>
                      <a:pt x="483" y="1"/>
                      <a:pt x="1" y="483"/>
                      <a:pt x="1" y="1071"/>
                    </a:cubicBezTo>
                    <a:cubicBezTo>
                      <a:pt x="1" y="1660"/>
                      <a:pt x="483" y="2124"/>
                      <a:pt x="1053" y="2124"/>
                    </a:cubicBezTo>
                    <a:cubicBezTo>
                      <a:pt x="1660" y="2124"/>
                      <a:pt x="2124" y="1660"/>
                      <a:pt x="2124" y="1071"/>
                    </a:cubicBezTo>
                    <a:cubicBezTo>
                      <a:pt x="2124" y="483"/>
                      <a:pt x="1660" y="1"/>
                      <a:pt x="1053" y="1"/>
                    </a:cubicBezTo>
                    <a:close/>
                  </a:path>
                </a:pathLst>
              </a:custGeom>
              <a:solidFill>
                <a:schemeClr val="accent1"/>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443" name="Google Shape;443;p30"/>
              <p:cNvSpPr/>
              <p:nvPr/>
            </p:nvSpPr>
            <p:spPr>
              <a:xfrm>
                <a:off x="4880775" y="1897325"/>
                <a:ext cx="146775" cy="239575"/>
              </a:xfrm>
              <a:custGeom>
                <a:avLst/>
                <a:gdLst/>
                <a:ahLst/>
                <a:cxnLst/>
                <a:rect l="l" t="t" r="r" b="b"/>
                <a:pathLst>
                  <a:path w="5871" h="9583" extrusionOk="0">
                    <a:moveTo>
                      <a:pt x="2926" y="1"/>
                    </a:moveTo>
                    <a:cubicBezTo>
                      <a:pt x="2641" y="1"/>
                      <a:pt x="2356" y="72"/>
                      <a:pt x="2052" y="143"/>
                    </a:cubicBezTo>
                    <a:cubicBezTo>
                      <a:pt x="1642" y="251"/>
                      <a:pt x="1267" y="465"/>
                      <a:pt x="928" y="732"/>
                    </a:cubicBezTo>
                    <a:cubicBezTo>
                      <a:pt x="857" y="804"/>
                      <a:pt x="803" y="911"/>
                      <a:pt x="785" y="1018"/>
                    </a:cubicBezTo>
                    <a:lnTo>
                      <a:pt x="36" y="4194"/>
                    </a:lnTo>
                    <a:cubicBezTo>
                      <a:pt x="36" y="4212"/>
                      <a:pt x="0" y="4265"/>
                      <a:pt x="0" y="4319"/>
                    </a:cubicBezTo>
                    <a:cubicBezTo>
                      <a:pt x="0" y="4622"/>
                      <a:pt x="250" y="4854"/>
                      <a:pt x="536" y="4854"/>
                    </a:cubicBezTo>
                    <a:cubicBezTo>
                      <a:pt x="785" y="4854"/>
                      <a:pt x="999" y="4658"/>
                      <a:pt x="1053" y="4461"/>
                    </a:cubicBezTo>
                    <a:lnTo>
                      <a:pt x="1606" y="2142"/>
                    </a:lnTo>
                    <a:lnTo>
                      <a:pt x="1606" y="9582"/>
                    </a:lnTo>
                    <a:lnTo>
                      <a:pt x="2659" y="9582"/>
                    </a:lnTo>
                    <a:lnTo>
                      <a:pt x="2659" y="4800"/>
                    </a:lnTo>
                    <a:lnTo>
                      <a:pt x="3194" y="4800"/>
                    </a:lnTo>
                    <a:lnTo>
                      <a:pt x="3194" y="9582"/>
                    </a:lnTo>
                    <a:lnTo>
                      <a:pt x="4265" y="9582"/>
                    </a:lnTo>
                    <a:lnTo>
                      <a:pt x="4265" y="2106"/>
                    </a:lnTo>
                    <a:lnTo>
                      <a:pt x="4836" y="4426"/>
                    </a:lnTo>
                    <a:cubicBezTo>
                      <a:pt x="4889" y="4640"/>
                      <a:pt x="5103" y="4836"/>
                      <a:pt x="5335" y="4836"/>
                    </a:cubicBezTo>
                    <a:cubicBezTo>
                      <a:pt x="5621" y="4836"/>
                      <a:pt x="5871" y="4586"/>
                      <a:pt x="5871" y="4301"/>
                    </a:cubicBezTo>
                    <a:cubicBezTo>
                      <a:pt x="5871" y="4247"/>
                      <a:pt x="5835" y="4194"/>
                      <a:pt x="5835" y="4158"/>
                    </a:cubicBezTo>
                    <a:lnTo>
                      <a:pt x="5103" y="1000"/>
                    </a:lnTo>
                    <a:cubicBezTo>
                      <a:pt x="5068" y="893"/>
                      <a:pt x="5014" y="786"/>
                      <a:pt x="4925" y="697"/>
                    </a:cubicBezTo>
                    <a:cubicBezTo>
                      <a:pt x="4622" y="447"/>
                      <a:pt x="4247" y="251"/>
                      <a:pt x="3819" y="108"/>
                    </a:cubicBezTo>
                    <a:cubicBezTo>
                      <a:pt x="3533" y="72"/>
                      <a:pt x="3230" y="1"/>
                      <a:pt x="2926" y="1"/>
                    </a:cubicBezTo>
                    <a:close/>
                  </a:path>
                </a:pathLst>
              </a:custGeom>
              <a:solidFill>
                <a:schemeClr val="accent1"/>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grpSp>
          <p:nvGrpSpPr>
            <p:cNvPr id="444" name="Google Shape;444;p30"/>
            <p:cNvGrpSpPr/>
            <p:nvPr/>
          </p:nvGrpSpPr>
          <p:grpSpPr>
            <a:xfrm>
              <a:off x="6086561" y="1391862"/>
              <a:ext cx="435139" cy="913057"/>
              <a:chOff x="4880775" y="1837550"/>
              <a:chExt cx="146775" cy="299350"/>
            </a:xfrm>
          </p:grpSpPr>
          <p:sp>
            <p:nvSpPr>
              <p:cNvPr id="445" name="Google Shape;445;p30"/>
              <p:cNvSpPr/>
              <p:nvPr/>
            </p:nvSpPr>
            <p:spPr>
              <a:xfrm>
                <a:off x="4927600" y="1837550"/>
                <a:ext cx="53125" cy="53125"/>
              </a:xfrm>
              <a:custGeom>
                <a:avLst/>
                <a:gdLst/>
                <a:ahLst/>
                <a:cxnLst/>
                <a:rect l="l" t="t" r="r" b="b"/>
                <a:pathLst>
                  <a:path w="2125" h="2125" extrusionOk="0">
                    <a:moveTo>
                      <a:pt x="1053" y="1"/>
                    </a:moveTo>
                    <a:cubicBezTo>
                      <a:pt x="483" y="1"/>
                      <a:pt x="1" y="483"/>
                      <a:pt x="1" y="1071"/>
                    </a:cubicBezTo>
                    <a:cubicBezTo>
                      <a:pt x="1" y="1660"/>
                      <a:pt x="483" y="2124"/>
                      <a:pt x="1053" y="2124"/>
                    </a:cubicBezTo>
                    <a:cubicBezTo>
                      <a:pt x="1660" y="2124"/>
                      <a:pt x="2124" y="1660"/>
                      <a:pt x="2124" y="1071"/>
                    </a:cubicBezTo>
                    <a:cubicBezTo>
                      <a:pt x="2124" y="483"/>
                      <a:pt x="1660" y="1"/>
                      <a:pt x="1053" y="1"/>
                    </a:cubicBezTo>
                    <a:close/>
                  </a:path>
                </a:pathLst>
              </a:custGeom>
              <a:solidFill>
                <a:schemeClr val="accent1"/>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446" name="Google Shape;446;p30"/>
              <p:cNvSpPr/>
              <p:nvPr/>
            </p:nvSpPr>
            <p:spPr>
              <a:xfrm>
                <a:off x="4880775" y="1897325"/>
                <a:ext cx="146775" cy="239575"/>
              </a:xfrm>
              <a:custGeom>
                <a:avLst/>
                <a:gdLst/>
                <a:ahLst/>
                <a:cxnLst/>
                <a:rect l="l" t="t" r="r" b="b"/>
                <a:pathLst>
                  <a:path w="5871" h="9583" extrusionOk="0">
                    <a:moveTo>
                      <a:pt x="2926" y="1"/>
                    </a:moveTo>
                    <a:cubicBezTo>
                      <a:pt x="2641" y="1"/>
                      <a:pt x="2356" y="72"/>
                      <a:pt x="2052" y="143"/>
                    </a:cubicBezTo>
                    <a:cubicBezTo>
                      <a:pt x="1642" y="251"/>
                      <a:pt x="1267" y="465"/>
                      <a:pt x="928" y="732"/>
                    </a:cubicBezTo>
                    <a:cubicBezTo>
                      <a:pt x="857" y="804"/>
                      <a:pt x="803" y="911"/>
                      <a:pt x="785" y="1018"/>
                    </a:cubicBezTo>
                    <a:lnTo>
                      <a:pt x="36" y="4194"/>
                    </a:lnTo>
                    <a:cubicBezTo>
                      <a:pt x="36" y="4212"/>
                      <a:pt x="0" y="4265"/>
                      <a:pt x="0" y="4319"/>
                    </a:cubicBezTo>
                    <a:cubicBezTo>
                      <a:pt x="0" y="4622"/>
                      <a:pt x="250" y="4854"/>
                      <a:pt x="536" y="4854"/>
                    </a:cubicBezTo>
                    <a:cubicBezTo>
                      <a:pt x="785" y="4854"/>
                      <a:pt x="999" y="4658"/>
                      <a:pt x="1053" y="4461"/>
                    </a:cubicBezTo>
                    <a:lnTo>
                      <a:pt x="1606" y="2142"/>
                    </a:lnTo>
                    <a:lnTo>
                      <a:pt x="1606" y="9582"/>
                    </a:lnTo>
                    <a:lnTo>
                      <a:pt x="2659" y="9582"/>
                    </a:lnTo>
                    <a:lnTo>
                      <a:pt x="2659" y="4800"/>
                    </a:lnTo>
                    <a:lnTo>
                      <a:pt x="3194" y="4800"/>
                    </a:lnTo>
                    <a:lnTo>
                      <a:pt x="3194" y="9582"/>
                    </a:lnTo>
                    <a:lnTo>
                      <a:pt x="4265" y="9582"/>
                    </a:lnTo>
                    <a:lnTo>
                      <a:pt x="4265" y="2106"/>
                    </a:lnTo>
                    <a:lnTo>
                      <a:pt x="4836" y="4426"/>
                    </a:lnTo>
                    <a:cubicBezTo>
                      <a:pt x="4889" y="4640"/>
                      <a:pt x="5103" y="4836"/>
                      <a:pt x="5335" y="4836"/>
                    </a:cubicBezTo>
                    <a:cubicBezTo>
                      <a:pt x="5621" y="4836"/>
                      <a:pt x="5871" y="4586"/>
                      <a:pt x="5871" y="4301"/>
                    </a:cubicBezTo>
                    <a:cubicBezTo>
                      <a:pt x="5871" y="4247"/>
                      <a:pt x="5835" y="4194"/>
                      <a:pt x="5835" y="4158"/>
                    </a:cubicBezTo>
                    <a:lnTo>
                      <a:pt x="5103" y="1000"/>
                    </a:lnTo>
                    <a:cubicBezTo>
                      <a:pt x="5068" y="893"/>
                      <a:pt x="5014" y="786"/>
                      <a:pt x="4925" y="697"/>
                    </a:cubicBezTo>
                    <a:cubicBezTo>
                      <a:pt x="4622" y="447"/>
                      <a:pt x="4247" y="251"/>
                      <a:pt x="3819" y="108"/>
                    </a:cubicBezTo>
                    <a:cubicBezTo>
                      <a:pt x="3533" y="72"/>
                      <a:pt x="3230" y="1"/>
                      <a:pt x="2926" y="1"/>
                    </a:cubicBezTo>
                    <a:close/>
                  </a:path>
                </a:pathLst>
              </a:custGeom>
              <a:solidFill>
                <a:schemeClr val="accent1"/>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grpSp>
          <p:nvGrpSpPr>
            <p:cNvPr id="447" name="Google Shape;447;p30"/>
            <p:cNvGrpSpPr/>
            <p:nvPr/>
          </p:nvGrpSpPr>
          <p:grpSpPr>
            <a:xfrm>
              <a:off x="6591136" y="1407716"/>
              <a:ext cx="435139" cy="913057"/>
              <a:chOff x="4880775" y="1837550"/>
              <a:chExt cx="146775" cy="299350"/>
            </a:xfrm>
          </p:grpSpPr>
          <p:sp>
            <p:nvSpPr>
              <p:cNvPr id="448" name="Google Shape;448;p30"/>
              <p:cNvSpPr/>
              <p:nvPr/>
            </p:nvSpPr>
            <p:spPr>
              <a:xfrm>
                <a:off x="4927600" y="1837550"/>
                <a:ext cx="53125" cy="53125"/>
              </a:xfrm>
              <a:custGeom>
                <a:avLst/>
                <a:gdLst/>
                <a:ahLst/>
                <a:cxnLst/>
                <a:rect l="l" t="t" r="r" b="b"/>
                <a:pathLst>
                  <a:path w="2125" h="2125" extrusionOk="0">
                    <a:moveTo>
                      <a:pt x="1053" y="1"/>
                    </a:moveTo>
                    <a:cubicBezTo>
                      <a:pt x="483" y="1"/>
                      <a:pt x="1" y="483"/>
                      <a:pt x="1" y="1071"/>
                    </a:cubicBezTo>
                    <a:cubicBezTo>
                      <a:pt x="1" y="1660"/>
                      <a:pt x="483" y="2124"/>
                      <a:pt x="1053" y="2124"/>
                    </a:cubicBezTo>
                    <a:cubicBezTo>
                      <a:pt x="1660" y="2124"/>
                      <a:pt x="2124" y="1660"/>
                      <a:pt x="2124" y="1071"/>
                    </a:cubicBezTo>
                    <a:cubicBezTo>
                      <a:pt x="2124" y="483"/>
                      <a:pt x="1660" y="1"/>
                      <a:pt x="1053" y="1"/>
                    </a:cubicBezTo>
                    <a:close/>
                  </a:path>
                </a:pathLst>
              </a:custGeom>
              <a:solidFill>
                <a:srgbClr val="D8D8D8"/>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449" name="Google Shape;449;p30"/>
              <p:cNvSpPr/>
              <p:nvPr/>
            </p:nvSpPr>
            <p:spPr>
              <a:xfrm>
                <a:off x="4880775" y="1897325"/>
                <a:ext cx="146775" cy="239575"/>
              </a:xfrm>
              <a:custGeom>
                <a:avLst/>
                <a:gdLst/>
                <a:ahLst/>
                <a:cxnLst/>
                <a:rect l="l" t="t" r="r" b="b"/>
                <a:pathLst>
                  <a:path w="5871" h="9583" extrusionOk="0">
                    <a:moveTo>
                      <a:pt x="2926" y="1"/>
                    </a:moveTo>
                    <a:cubicBezTo>
                      <a:pt x="2641" y="1"/>
                      <a:pt x="2356" y="72"/>
                      <a:pt x="2052" y="143"/>
                    </a:cubicBezTo>
                    <a:cubicBezTo>
                      <a:pt x="1642" y="251"/>
                      <a:pt x="1267" y="465"/>
                      <a:pt x="928" y="732"/>
                    </a:cubicBezTo>
                    <a:cubicBezTo>
                      <a:pt x="857" y="804"/>
                      <a:pt x="803" y="911"/>
                      <a:pt x="785" y="1018"/>
                    </a:cubicBezTo>
                    <a:lnTo>
                      <a:pt x="36" y="4194"/>
                    </a:lnTo>
                    <a:cubicBezTo>
                      <a:pt x="36" y="4212"/>
                      <a:pt x="0" y="4265"/>
                      <a:pt x="0" y="4319"/>
                    </a:cubicBezTo>
                    <a:cubicBezTo>
                      <a:pt x="0" y="4622"/>
                      <a:pt x="250" y="4854"/>
                      <a:pt x="536" y="4854"/>
                    </a:cubicBezTo>
                    <a:cubicBezTo>
                      <a:pt x="785" y="4854"/>
                      <a:pt x="999" y="4658"/>
                      <a:pt x="1053" y="4461"/>
                    </a:cubicBezTo>
                    <a:lnTo>
                      <a:pt x="1606" y="2142"/>
                    </a:lnTo>
                    <a:lnTo>
                      <a:pt x="1606" y="9582"/>
                    </a:lnTo>
                    <a:lnTo>
                      <a:pt x="2659" y="9582"/>
                    </a:lnTo>
                    <a:lnTo>
                      <a:pt x="2659" y="4800"/>
                    </a:lnTo>
                    <a:lnTo>
                      <a:pt x="3194" y="4800"/>
                    </a:lnTo>
                    <a:lnTo>
                      <a:pt x="3194" y="9582"/>
                    </a:lnTo>
                    <a:lnTo>
                      <a:pt x="4265" y="9582"/>
                    </a:lnTo>
                    <a:lnTo>
                      <a:pt x="4265" y="2106"/>
                    </a:lnTo>
                    <a:lnTo>
                      <a:pt x="4836" y="4426"/>
                    </a:lnTo>
                    <a:cubicBezTo>
                      <a:pt x="4889" y="4640"/>
                      <a:pt x="5103" y="4836"/>
                      <a:pt x="5335" y="4836"/>
                    </a:cubicBezTo>
                    <a:cubicBezTo>
                      <a:pt x="5621" y="4836"/>
                      <a:pt x="5871" y="4586"/>
                      <a:pt x="5871" y="4301"/>
                    </a:cubicBezTo>
                    <a:cubicBezTo>
                      <a:pt x="5871" y="4247"/>
                      <a:pt x="5835" y="4194"/>
                      <a:pt x="5835" y="4158"/>
                    </a:cubicBezTo>
                    <a:lnTo>
                      <a:pt x="5103" y="1000"/>
                    </a:lnTo>
                    <a:cubicBezTo>
                      <a:pt x="5068" y="893"/>
                      <a:pt x="5014" y="786"/>
                      <a:pt x="4925" y="697"/>
                    </a:cubicBezTo>
                    <a:cubicBezTo>
                      <a:pt x="4622" y="447"/>
                      <a:pt x="4247" y="251"/>
                      <a:pt x="3819" y="108"/>
                    </a:cubicBezTo>
                    <a:cubicBezTo>
                      <a:pt x="3533" y="72"/>
                      <a:pt x="3230" y="1"/>
                      <a:pt x="2926" y="1"/>
                    </a:cubicBezTo>
                    <a:close/>
                  </a:path>
                </a:pathLst>
              </a:custGeom>
              <a:solidFill>
                <a:srgbClr val="D8D8D8"/>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grpSp>
          <p:nvGrpSpPr>
            <p:cNvPr id="450" name="Google Shape;450;p30"/>
            <p:cNvGrpSpPr/>
            <p:nvPr/>
          </p:nvGrpSpPr>
          <p:grpSpPr>
            <a:xfrm>
              <a:off x="7078967" y="1401604"/>
              <a:ext cx="435139" cy="913057"/>
              <a:chOff x="4880775" y="1837550"/>
              <a:chExt cx="146775" cy="299350"/>
            </a:xfrm>
          </p:grpSpPr>
          <p:sp>
            <p:nvSpPr>
              <p:cNvPr id="451" name="Google Shape;451;p30"/>
              <p:cNvSpPr/>
              <p:nvPr/>
            </p:nvSpPr>
            <p:spPr>
              <a:xfrm>
                <a:off x="4927600" y="1837550"/>
                <a:ext cx="53125" cy="53125"/>
              </a:xfrm>
              <a:custGeom>
                <a:avLst/>
                <a:gdLst/>
                <a:ahLst/>
                <a:cxnLst/>
                <a:rect l="l" t="t" r="r" b="b"/>
                <a:pathLst>
                  <a:path w="2125" h="2125" extrusionOk="0">
                    <a:moveTo>
                      <a:pt x="1053" y="1"/>
                    </a:moveTo>
                    <a:cubicBezTo>
                      <a:pt x="483" y="1"/>
                      <a:pt x="1" y="483"/>
                      <a:pt x="1" y="1071"/>
                    </a:cubicBezTo>
                    <a:cubicBezTo>
                      <a:pt x="1" y="1660"/>
                      <a:pt x="483" y="2124"/>
                      <a:pt x="1053" y="2124"/>
                    </a:cubicBezTo>
                    <a:cubicBezTo>
                      <a:pt x="1660" y="2124"/>
                      <a:pt x="2124" y="1660"/>
                      <a:pt x="2124" y="1071"/>
                    </a:cubicBezTo>
                    <a:cubicBezTo>
                      <a:pt x="2124" y="483"/>
                      <a:pt x="1660" y="1"/>
                      <a:pt x="1053" y="1"/>
                    </a:cubicBezTo>
                    <a:close/>
                  </a:path>
                </a:pathLst>
              </a:custGeom>
              <a:solidFill>
                <a:srgbClr val="D8D8D8"/>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452" name="Google Shape;452;p30"/>
              <p:cNvSpPr/>
              <p:nvPr/>
            </p:nvSpPr>
            <p:spPr>
              <a:xfrm>
                <a:off x="4880775" y="1897325"/>
                <a:ext cx="146775" cy="239575"/>
              </a:xfrm>
              <a:custGeom>
                <a:avLst/>
                <a:gdLst/>
                <a:ahLst/>
                <a:cxnLst/>
                <a:rect l="l" t="t" r="r" b="b"/>
                <a:pathLst>
                  <a:path w="5871" h="9583" extrusionOk="0">
                    <a:moveTo>
                      <a:pt x="2926" y="1"/>
                    </a:moveTo>
                    <a:cubicBezTo>
                      <a:pt x="2641" y="1"/>
                      <a:pt x="2356" y="72"/>
                      <a:pt x="2052" y="143"/>
                    </a:cubicBezTo>
                    <a:cubicBezTo>
                      <a:pt x="1642" y="251"/>
                      <a:pt x="1267" y="465"/>
                      <a:pt x="928" y="732"/>
                    </a:cubicBezTo>
                    <a:cubicBezTo>
                      <a:pt x="857" y="804"/>
                      <a:pt x="803" y="911"/>
                      <a:pt x="785" y="1018"/>
                    </a:cubicBezTo>
                    <a:lnTo>
                      <a:pt x="36" y="4194"/>
                    </a:lnTo>
                    <a:cubicBezTo>
                      <a:pt x="36" y="4212"/>
                      <a:pt x="0" y="4265"/>
                      <a:pt x="0" y="4319"/>
                    </a:cubicBezTo>
                    <a:cubicBezTo>
                      <a:pt x="0" y="4622"/>
                      <a:pt x="250" y="4854"/>
                      <a:pt x="536" y="4854"/>
                    </a:cubicBezTo>
                    <a:cubicBezTo>
                      <a:pt x="785" y="4854"/>
                      <a:pt x="999" y="4658"/>
                      <a:pt x="1053" y="4461"/>
                    </a:cubicBezTo>
                    <a:lnTo>
                      <a:pt x="1606" y="2142"/>
                    </a:lnTo>
                    <a:lnTo>
                      <a:pt x="1606" y="9582"/>
                    </a:lnTo>
                    <a:lnTo>
                      <a:pt x="2659" y="9582"/>
                    </a:lnTo>
                    <a:lnTo>
                      <a:pt x="2659" y="4800"/>
                    </a:lnTo>
                    <a:lnTo>
                      <a:pt x="3194" y="4800"/>
                    </a:lnTo>
                    <a:lnTo>
                      <a:pt x="3194" y="9582"/>
                    </a:lnTo>
                    <a:lnTo>
                      <a:pt x="4265" y="9582"/>
                    </a:lnTo>
                    <a:lnTo>
                      <a:pt x="4265" y="2106"/>
                    </a:lnTo>
                    <a:lnTo>
                      <a:pt x="4836" y="4426"/>
                    </a:lnTo>
                    <a:cubicBezTo>
                      <a:pt x="4889" y="4640"/>
                      <a:pt x="5103" y="4836"/>
                      <a:pt x="5335" y="4836"/>
                    </a:cubicBezTo>
                    <a:cubicBezTo>
                      <a:pt x="5621" y="4836"/>
                      <a:pt x="5871" y="4586"/>
                      <a:pt x="5871" y="4301"/>
                    </a:cubicBezTo>
                    <a:cubicBezTo>
                      <a:pt x="5871" y="4247"/>
                      <a:pt x="5835" y="4194"/>
                      <a:pt x="5835" y="4158"/>
                    </a:cubicBezTo>
                    <a:lnTo>
                      <a:pt x="5103" y="1000"/>
                    </a:lnTo>
                    <a:cubicBezTo>
                      <a:pt x="5068" y="893"/>
                      <a:pt x="5014" y="786"/>
                      <a:pt x="4925" y="697"/>
                    </a:cubicBezTo>
                    <a:cubicBezTo>
                      <a:pt x="4622" y="447"/>
                      <a:pt x="4247" y="251"/>
                      <a:pt x="3819" y="108"/>
                    </a:cubicBezTo>
                    <a:cubicBezTo>
                      <a:pt x="3533" y="72"/>
                      <a:pt x="3230" y="1"/>
                      <a:pt x="2926" y="1"/>
                    </a:cubicBezTo>
                    <a:close/>
                  </a:path>
                </a:pathLst>
              </a:custGeom>
              <a:solidFill>
                <a:srgbClr val="D8D8D8"/>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sp>
          <p:nvSpPr>
            <p:cNvPr id="483" name="Google Shape;483;p30"/>
            <p:cNvSpPr txBox="1"/>
            <p:nvPr/>
          </p:nvSpPr>
          <p:spPr>
            <a:xfrm>
              <a:off x="1183198" y="2509603"/>
              <a:ext cx="6264000" cy="593600"/>
            </a:xfrm>
            <a:prstGeom prst="rect">
              <a:avLst/>
            </a:prstGeom>
            <a:noFill/>
            <a:ln>
              <a:noFill/>
            </a:ln>
          </p:spPr>
          <p:txBody>
            <a:bodyPr spcFirstLastPara="1" wrap="square" lIns="121900" tIns="60933" rIns="121900" bIns="60933" anchor="t" anchorCtr="0">
              <a:noAutofit/>
            </a:bodyPr>
            <a:lstStyle/>
            <a:p>
              <a:r>
                <a:rPr lang="en-GB" sz="2400" dirty="0">
                  <a:solidFill>
                    <a:srgbClr val="262626"/>
                  </a:solidFill>
                  <a:latin typeface="Baskerville Old Face" panose="02020602080505020303" pitchFamily="18" charset="0"/>
                  <a:ea typeface="Barlow"/>
                  <a:cs typeface="Barlow"/>
                  <a:sym typeface="Barlow"/>
                </a:rPr>
                <a:t>No Churn.(</a:t>
              </a:r>
              <a:r>
                <a:rPr lang="en-GB" sz="1400" dirty="0">
                  <a:solidFill>
                    <a:srgbClr val="262626"/>
                  </a:solidFill>
                  <a:latin typeface="Baskerville Old Face" panose="02020602080505020303" pitchFamily="18" charset="0"/>
                  <a:ea typeface="Barlow"/>
                  <a:cs typeface="Barlow"/>
                  <a:sym typeface="Barlow"/>
                </a:rPr>
                <a:t>5174 </a:t>
              </a:r>
              <a:r>
                <a:rPr lang="en-US" sz="1400" dirty="0">
                  <a:solidFill>
                    <a:srgbClr val="262626"/>
                  </a:solidFill>
                  <a:latin typeface="Baskerville Old Face" panose="02020602080505020303" pitchFamily="18" charset="0"/>
                  <a:ea typeface="Barlow"/>
                  <a:cs typeface="Barlow"/>
                  <a:sym typeface="Barlow"/>
                </a:rPr>
                <a:t>customers</a:t>
              </a:r>
              <a:r>
                <a:rPr lang="en-GB" sz="2400" dirty="0">
                  <a:solidFill>
                    <a:srgbClr val="262626"/>
                  </a:solidFill>
                  <a:latin typeface="Baskerville Old Face" panose="02020602080505020303" pitchFamily="18" charset="0"/>
                  <a:ea typeface="Barlow"/>
                  <a:cs typeface="Barlow"/>
                  <a:sym typeface="Barlow"/>
                </a:rPr>
                <a:t>)</a:t>
              </a:r>
              <a:endParaRPr sz="2400" dirty="0">
                <a:latin typeface="Baskerville Old Face" panose="02020602080505020303" pitchFamily="18" charset="0"/>
                <a:ea typeface="Barlow"/>
                <a:cs typeface="Barlow"/>
                <a:sym typeface="Barlow"/>
              </a:endParaRPr>
            </a:p>
          </p:txBody>
        </p:sp>
        <p:sp>
          <p:nvSpPr>
            <p:cNvPr id="485" name="Google Shape;485;p30"/>
            <p:cNvSpPr/>
            <p:nvPr/>
          </p:nvSpPr>
          <p:spPr>
            <a:xfrm>
              <a:off x="1236097" y="1219201"/>
              <a:ext cx="1132000" cy="1170800"/>
            </a:xfrm>
            <a:prstGeom prst="ellipse">
              <a:avLst/>
            </a:prstGeom>
            <a:solidFill>
              <a:schemeClr val="accent1"/>
            </a:solidFill>
            <a:ln>
              <a:noFill/>
            </a:ln>
          </p:spPr>
          <p:txBody>
            <a:bodyPr spcFirstLastPara="1" wrap="square" lIns="121900" tIns="60933" rIns="121900" bIns="60933" anchor="ctr" anchorCtr="0">
              <a:noAutofit/>
            </a:bodyPr>
            <a:lstStyle/>
            <a:p>
              <a:pPr algn="ctr"/>
              <a:r>
                <a:rPr lang="en-GB" sz="1400" b="1" dirty="0">
                  <a:solidFill>
                    <a:srgbClr val="FFFFFF"/>
                  </a:solidFill>
                  <a:latin typeface="Lato"/>
                  <a:ea typeface="Lato"/>
                  <a:cs typeface="Lato"/>
                  <a:sym typeface="Lato"/>
                </a:rPr>
                <a:t>73,5%</a:t>
              </a:r>
              <a:endParaRPr sz="1400" dirty="0"/>
            </a:p>
          </p:txBody>
        </p:sp>
      </p:grpSp>
      <p:sp>
        <p:nvSpPr>
          <p:cNvPr id="124" name="Oval 123">
            <a:extLst>
              <a:ext uri="{FF2B5EF4-FFF2-40B4-BE49-F238E27FC236}">
                <a16:creationId xmlns:a16="http://schemas.microsoft.com/office/drawing/2014/main" id="{48891D95-55A5-4F22-9BB0-8235A6AE1490}"/>
              </a:ext>
            </a:extLst>
          </p:cNvPr>
          <p:cNvSpPr/>
          <p:nvPr/>
        </p:nvSpPr>
        <p:spPr>
          <a:xfrm>
            <a:off x="8229625" y="5311303"/>
            <a:ext cx="1200678" cy="1200678"/>
          </a:xfrm>
          <a:prstGeom prst="ellipse">
            <a:avLst/>
          </a:prstGeom>
          <a:solidFill>
            <a:srgbClr val="8D19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id="{50490B10-721C-4D53-9F88-32AA141C663E}"/>
              </a:ext>
            </a:extLst>
          </p:cNvPr>
          <p:cNvSpPr/>
          <p:nvPr/>
        </p:nvSpPr>
        <p:spPr>
          <a:xfrm>
            <a:off x="8167079" y="3600088"/>
            <a:ext cx="1200678" cy="1200678"/>
          </a:xfrm>
          <a:prstGeom prst="ellipse">
            <a:avLst/>
          </a:prstGeom>
          <a:solidFill>
            <a:srgbClr val="8D19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Oval 125">
            <a:extLst>
              <a:ext uri="{FF2B5EF4-FFF2-40B4-BE49-F238E27FC236}">
                <a16:creationId xmlns:a16="http://schemas.microsoft.com/office/drawing/2014/main" id="{692E3562-4576-42A2-95D0-368346B170C7}"/>
              </a:ext>
            </a:extLst>
          </p:cNvPr>
          <p:cNvSpPr/>
          <p:nvPr/>
        </p:nvSpPr>
        <p:spPr>
          <a:xfrm>
            <a:off x="8229625" y="1888373"/>
            <a:ext cx="1200678" cy="1200678"/>
          </a:xfrm>
          <a:prstGeom prst="ellipse">
            <a:avLst/>
          </a:prstGeom>
          <a:solidFill>
            <a:srgbClr val="8D19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2DD912BC-5D7A-4109-B652-D3497CF412D5}"/>
              </a:ext>
            </a:extLst>
          </p:cNvPr>
          <p:cNvSpPr/>
          <p:nvPr/>
        </p:nvSpPr>
        <p:spPr>
          <a:xfrm>
            <a:off x="8167079" y="223770"/>
            <a:ext cx="1200678" cy="1200678"/>
          </a:xfrm>
          <a:prstGeom prst="ellipse">
            <a:avLst/>
          </a:prstGeom>
          <a:solidFill>
            <a:srgbClr val="8D19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FB5D2CD6-F0E3-4D97-BA42-3DC25239C076}"/>
              </a:ext>
            </a:extLst>
          </p:cNvPr>
          <p:cNvGrpSpPr/>
          <p:nvPr/>
        </p:nvGrpSpPr>
        <p:grpSpPr>
          <a:xfrm>
            <a:off x="1129380" y="4309601"/>
            <a:ext cx="6506514" cy="2313073"/>
            <a:chOff x="1235933" y="3522319"/>
            <a:chExt cx="6506514" cy="2313073"/>
          </a:xfrm>
        </p:grpSpPr>
        <p:grpSp>
          <p:nvGrpSpPr>
            <p:cNvPr id="453" name="Google Shape;453;p30"/>
            <p:cNvGrpSpPr/>
            <p:nvPr/>
          </p:nvGrpSpPr>
          <p:grpSpPr>
            <a:xfrm>
              <a:off x="2740539" y="3773029"/>
              <a:ext cx="435139" cy="913057"/>
              <a:chOff x="4880775" y="1837550"/>
              <a:chExt cx="146775" cy="299350"/>
            </a:xfrm>
          </p:grpSpPr>
          <p:sp>
            <p:nvSpPr>
              <p:cNvPr id="454" name="Google Shape;454;p30"/>
              <p:cNvSpPr/>
              <p:nvPr/>
            </p:nvSpPr>
            <p:spPr>
              <a:xfrm>
                <a:off x="4927600" y="1837550"/>
                <a:ext cx="53125" cy="53125"/>
              </a:xfrm>
              <a:custGeom>
                <a:avLst/>
                <a:gdLst/>
                <a:ahLst/>
                <a:cxnLst/>
                <a:rect l="l" t="t" r="r" b="b"/>
                <a:pathLst>
                  <a:path w="2125" h="2125" extrusionOk="0">
                    <a:moveTo>
                      <a:pt x="1053" y="1"/>
                    </a:moveTo>
                    <a:cubicBezTo>
                      <a:pt x="483" y="1"/>
                      <a:pt x="1" y="483"/>
                      <a:pt x="1" y="1071"/>
                    </a:cubicBezTo>
                    <a:cubicBezTo>
                      <a:pt x="1" y="1660"/>
                      <a:pt x="483" y="2124"/>
                      <a:pt x="1053" y="2124"/>
                    </a:cubicBezTo>
                    <a:cubicBezTo>
                      <a:pt x="1660" y="2124"/>
                      <a:pt x="2124" y="1660"/>
                      <a:pt x="2124" y="1071"/>
                    </a:cubicBezTo>
                    <a:cubicBezTo>
                      <a:pt x="2124" y="483"/>
                      <a:pt x="1660" y="1"/>
                      <a:pt x="1053" y="1"/>
                    </a:cubicBezTo>
                    <a:close/>
                  </a:path>
                </a:pathLst>
              </a:custGeom>
              <a:solidFill>
                <a:schemeClr val="accent4"/>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455" name="Google Shape;455;p30"/>
              <p:cNvSpPr/>
              <p:nvPr/>
            </p:nvSpPr>
            <p:spPr>
              <a:xfrm>
                <a:off x="4880775" y="1897325"/>
                <a:ext cx="146775" cy="239575"/>
              </a:xfrm>
              <a:custGeom>
                <a:avLst/>
                <a:gdLst/>
                <a:ahLst/>
                <a:cxnLst/>
                <a:rect l="l" t="t" r="r" b="b"/>
                <a:pathLst>
                  <a:path w="5871" h="9583" extrusionOk="0">
                    <a:moveTo>
                      <a:pt x="2926" y="1"/>
                    </a:moveTo>
                    <a:cubicBezTo>
                      <a:pt x="2641" y="1"/>
                      <a:pt x="2356" y="72"/>
                      <a:pt x="2052" y="143"/>
                    </a:cubicBezTo>
                    <a:cubicBezTo>
                      <a:pt x="1642" y="251"/>
                      <a:pt x="1267" y="465"/>
                      <a:pt x="928" y="732"/>
                    </a:cubicBezTo>
                    <a:cubicBezTo>
                      <a:pt x="857" y="804"/>
                      <a:pt x="803" y="911"/>
                      <a:pt x="785" y="1018"/>
                    </a:cubicBezTo>
                    <a:lnTo>
                      <a:pt x="36" y="4194"/>
                    </a:lnTo>
                    <a:cubicBezTo>
                      <a:pt x="36" y="4212"/>
                      <a:pt x="0" y="4265"/>
                      <a:pt x="0" y="4319"/>
                    </a:cubicBezTo>
                    <a:cubicBezTo>
                      <a:pt x="0" y="4622"/>
                      <a:pt x="250" y="4854"/>
                      <a:pt x="536" y="4854"/>
                    </a:cubicBezTo>
                    <a:cubicBezTo>
                      <a:pt x="785" y="4854"/>
                      <a:pt x="999" y="4658"/>
                      <a:pt x="1053" y="4461"/>
                    </a:cubicBezTo>
                    <a:lnTo>
                      <a:pt x="1606" y="2142"/>
                    </a:lnTo>
                    <a:lnTo>
                      <a:pt x="1606" y="9582"/>
                    </a:lnTo>
                    <a:lnTo>
                      <a:pt x="2659" y="9582"/>
                    </a:lnTo>
                    <a:lnTo>
                      <a:pt x="2659" y="4800"/>
                    </a:lnTo>
                    <a:lnTo>
                      <a:pt x="3194" y="4800"/>
                    </a:lnTo>
                    <a:lnTo>
                      <a:pt x="3194" y="9582"/>
                    </a:lnTo>
                    <a:lnTo>
                      <a:pt x="4265" y="9582"/>
                    </a:lnTo>
                    <a:lnTo>
                      <a:pt x="4265" y="2106"/>
                    </a:lnTo>
                    <a:lnTo>
                      <a:pt x="4836" y="4426"/>
                    </a:lnTo>
                    <a:cubicBezTo>
                      <a:pt x="4889" y="4640"/>
                      <a:pt x="5103" y="4836"/>
                      <a:pt x="5335" y="4836"/>
                    </a:cubicBezTo>
                    <a:cubicBezTo>
                      <a:pt x="5621" y="4836"/>
                      <a:pt x="5871" y="4586"/>
                      <a:pt x="5871" y="4301"/>
                    </a:cubicBezTo>
                    <a:cubicBezTo>
                      <a:pt x="5871" y="4247"/>
                      <a:pt x="5835" y="4194"/>
                      <a:pt x="5835" y="4158"/>
                    </a:cubicBezTo>
                    <a:lnTo>
                      <a:pt x="5103" y="1000"/>
                    </a:lnTo>
                    <a:cubicBezTo>
                      <a:pt x="5068" y="893"/>
                      <a:pt x="5014" y="786"/>
                      <a:pt x="4925" y="697"/>
                    </a:cubicBezTo>
                    <a:cubicBezTo>
                      <a:pt x="4622" y="447"/>
                      <a:pt x="4247" y="251"/>
                      <a:pt x="3819" y="108"/>
                    </a:cubicBezTo>
                    <a:cubicBezTo>
                      <a:pt x="3533" y="72"/>
                      <a:pt x="3230" y="1"/>
                      <a:pt x="2926" y="1"/>
                    </a:cubicBezTo>
                    <a:close/>
                  </a:path>
                </a:pathLst>
              </a:custGeom>
              <a:solidFill>
                <a:schemeClr val="accent4"/>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grpSp>
          <p:nvGrpSpPr>
            <p:cNvPr id="456" name="Google Shape;456;p30"/>
            <p:cNvGrpSpPr/>
            <p:nvPr/>
          </p:nvGrpSpPr>
          <p:grpSpPr>
            <a:xfrm>
              <a:off x="3228368" y="3766917"/>
              <a:ext cx="435139" cy="913057"/>
              <a:chOff x="4880775" y="1837550"/>
              <a:chExt cx="146775" cy="299350"/>
            </a:xfrm>
          </p:grpSpPr>
          <p:sp>
            <p:nvSpPr>
              <p:cNvPr id="457" name="Google Shape;457;p30"/>
              <p:cNvSpPr/>
              <p:nvPr/>
            </p:nvSpPr>
            <p:spPr>
              <a:xfrm>
                <a:off x="4927600" y="1837550"/>
                <a:ext cx="53125" cy="53125"/>
              </a:xfrm>
              <a:custGeom>
                <a:avLst/>
                <a:gdLst/>
                <a:ahLst/>
                <a:cxnLst/>
                <a:rect l="l" t="t" r="r" b="b"/>
                <a:pathLst>
                  <a:path w="2125" h="2125" extrusionOk="0">
                    <a:moveTo>
                      <a:pt x="1053" y="1"/>
                    </a:moveTo>
                    <a:cubicBezTo>
                      <a:pt x="483" y="1"/>
                      <a:pt x="1" y="483"/>
                      <a:pt x="1" y="1071"/>
                    </a:cubicBezTo>
                    <a:cubicBezTo>
                      <a:pt x="1" y="1660"/>
                      <a:pt x="483" y="2124"/>
                      <a:pt x="1053" y="2124"/>
                    </a:cubicBezTo>
                    <a:cubicBezTo>
                      <a:pt x="1660" y="2124"/>
                      <a:pt x="2124" y="1660"/>
                      <a:pt x="2124" y="1071"/>
                    </a:cubicBezTo>
                    <a:cubicBezTo>
                      <a:pt x="2124" y="483"/>
                      <a:pt x="1660" y="1"/>
                      <a:pt x="1053" y="1"/>
                    </a:cubicBezTo>
                    <a:close/>
                  </a:path>
                </a:pathLst>
              </a:custGeom>
              <a:solidFill>
                <a:schemeClr val="accent4"/>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458" name="Google Shape;458;p30"/>
              <p:cNvSpPr/>
              <p:nvPr/>
            </p:nvSpPr>
            <p:spPr>
              <a:xfrm>
                <a:off x="4880775" y="1897325"/>
                <a:ext cx="146775" cy="239575"/>
              </a:xfrm>
              <a:custGeom>
                <a:avLst/>
                <a:gdLst/>
                <a:ahLst/>
                <a:cxnLst/>
                <a:rect l="l" t="t" r="r" b="b"/>
                <a:pathLst>
                  <a:path w="5871" h="9583" extrusionOk="0">
                    <a:moveTo>
                      <a:pt x="2926" y="1"/>
                    </a:moveTo>
                    <a:cubicBezTo>
                      <a:pt x="2641" y="1"/>
                      <a:pt x="2356" y="72"/>
                      <a:pt x="2052" y="143"/>
                    </a:cubicBezTo>
                    <a:cubicBezTo>
                      <a:pt x="1642" y="251"/>
                      <a:pt x="1267" y="465"/>
                      <a:pt x="928" y="732"/>
                    </a:cubicBezTo>
                    <a:cubicBezTo>
                      <a:pt x="857" y="804"/>
                      <a:pt x="803" y="911"/>
                      <a:pt x="785" y="1018"/>
                    </a:cubicBezTo>
                    <a:lnTo>
                      <a:pt x="36" y="4194"/>
                    </a:lnTo>
                    <a:cubicBezTo>
                      <a:pt x="36" y="4212"/>
                      <a:pt x="0" y="4265"/>
                      <a:pt x="0" y="4319"/>
                    </a:cubicBezTo>
                    <a:cubicBezTo>
                      <a:pt x="0" y="4622"/>
                      <a:pt x="250" y="4854"/>
                      <a:pt x="536" y="4854"/>
                    </a:cubicBezTo>
                    <a:cubicBezTo>
                      <a:pt x="785" y="4854"/>
                      <a:pt x="999" y="4658"/>
                      <a:pt x="1053" y="4461"/>
                    </a:cubicBezTo>
                    <a:lnTo>
                      <a:pt x="1606" y="2142"/>
                    </a:lnTo>
                    <a:lnTo>
                      <a:pt x="1606" y="9582"/>
                    </a:lnTo>
                    <a:lnTo>
                      <a:pt x="2659" y="9582"/>
                    </a:lnTo>
                    <a:lnTo>
                      <a:pt x="2659" y="4800"/>
                    </a:lnTo>
                    <a:lnTo>
                      <a:pt x="3194" y="4800"/>
                    </a:lnTo>
                    <a:lnTo>
                      <a:pt x="3194" y="9582"/>
                    </a:lnTo>
                    <a:lnTo>
                      <a:pt x="4265" y="9582"/>
                    </a:lnTo>
                    <a:lnTo>
                      <a:pt x="4265" y="2106"/>
                    </a:lnTo>
                    <a:lnTo>
                      <a:pt x="4836" y="4426"/>
                    </a:lnTo>
                    <a:cubicBezTo>
                      <a:pt x="4889" y="4640"/>
                      <a:pt x="5103" y="4836"/>
                      <a:pt x="5335" y="4836"/>
                    </a:cubicBezTo>
                    <a:cubicBezTo>
                      <a:pt x="5621" y="4836"/>
                      <a:pt x="5871" y="4586"/>
                      <a:pt x="5871" y="4301"/>
                    </a:cubicBezTo>
                    <a:cubicBezTo>
                      <a:pt x="5871" y="4247"/>
                      <a:pt x="5835" y="4194"/>
                      <a:pt x="5835" y="4158"/>
                    </a:cubicBezTo>
                    <a:lnTo>
                      <a:pt x="5103" y="1000"/>
                    </a:lnTo>
                    <a:cubicBezTo>
                      <a:pt x="5068" y="893"/>
                      <a:pt x="5014" y="786"/>
                      <a:pt x="4925" y="697"/>
                    </a:cubicBezTo>
                    <a:cubicBezTo>
                      <a:pt x="4622" y="447"/>
                      <a:pt x="4247" y="251"/>
                      <a:pt x="3819" y="108"/>
                    </a:cubicBezTo>
                    <a:cubicBezTo>
                      <a:pt x="3533" y="72"/>
                      <a:pt x="3230" y="1"/>
                      <a:pt x="2926" y="1"/>
                    </a:cubicBezTo>
                    <a:close/>
                  </a:path>
                </a:pathLst>
              </a:custGeom>
              <a:solidFill>
                <a:schemeClr val="accent4"/>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grpSp>
          <p:nvGrpSpPr>
            <p:cNvPr id="459" name="Google Shape;459;p30"/>
            <p:cNvGrpSpPr/>
            <p:nvPr/>
          </p:nvGrpSpPr>
          <p:grpSpPr>
            <a:xfrm>
              <a:off x="3698568" y="3751062"/>
              <a:ext cx="435139" cy="913057"/>
              <a:chOff x="4880775" y="1837550"/>
              <a:chExt cx="146775" cy="299350"/>
            </a:xfrm>
          </p:grpSpPr>
          <p:sp>
            <p:nvSpPr>
              <p:cNvPr id="460" name="Google Shape;460;p30"/>
              <p:cNvSpPr/>
              <p:nvPr/>
            </p:nvSpPr>
            <p:spPr>
              <a:xfrm>
                <a:off x="4927600" y="1837550"/>
                <a:ext cx="53125" cy="53125"/>
              </a:xfrm>
              <a:custGeom>
                <a:avLst/>
                <a:gdLst/>
                <a:ahLst/>
                <a:cxnLst/>
                <a:rect l="l" t="t" r="r" b="b"/>
                <a:pathLst>
                  <a:path w="2125" h="2125" extrusionOk="0">
                    <a:moveTo>
                      <a:pt x="1053" y="1"/>
                    </a:moveTo>
                    <a:cubicBezTo>
                      <a:pt x="483" y="1"/>
                      <a:pt x="1" y="483"/>
                      <a:pt x="1" y="1071"/>
                    </a:cubicBezTo>
                    <a:cubicBezTo>
                      <a:pt x="1" y="1660"/>
                      <a:pt x="483" y="2124"/>
                      <a:pt x="1053" y="2124"/>
                    </a:cubicBezTo>
                    <a:cubicBezTo>
                      <a:pt x="1660" y="2124"/>
                      <a:pt x="2124" y="1660"/>
                      <a:pt x="2124" y="1071"/>
                    </a:cubicBezTo>
                    <a:cubicBezTo>
                      <a:pt x="2124" y="483"/>
                      <a:pt x="1660" y="1"/>
                      <a:pt x="1053" y="1"/>
                    </a:cubicBezTo>
                    <a:close/>
                  </a:path>
                </a:pathLst>
              </a:custGeom>
              <a:solidFill>
                <a:schemeClr val="accent4"/>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461" name="Google Shape;461;p30"/>
              <p:cNvSpPr/>
              <p:nvPr/>
            </p:nvSpPr>
            <p:spPr>
              <a:xfrm>
                <a:off x="4880775" y="1897325"/>
                <a:ext cx="146775" cy="239575"/>
              </a:xfrm>
              <a:custGeom>
                <a:avLst/>
                <a:gdLst/>
                <a:ahLst/>
                <a:cxnLst/>
                <a:rect l="l" t="t" r="r" b="b"/>
                <a:pathLst>
                  <a:path w="5871" h="9583" extrusionOk="0">
                    <a:moveTo>
                      <a:pt x="2926" y="1"/>
                    </a:moveTo>
                    <a:cubicBezTo>
                      <a:pt x="2641" y="1"/>
                      <a:pt x="2356" y="72"/>
                      <a:pt x="2052" y="143"/>
                    </a:cubicBezTo>
                    <a:cubicBezTo>
                      <a:pt x="1642" y="251"/>
                      <a:pt x="1267" y="465"/>
                      <a:pt x="928" y="732"/>
                    </a:cubicBezTo>
                    <a:cubicBezTo>
                      <a:pt x="857" y="804"/>
                      <a:pt x="803" y="911"/>
                      <a:pt x="785" y="1018"/>
                    </a:cubicBezTo>
                    <a:lnTo>
                      <a:pt x="36" y="4194"/>
                    </a:lnTo>
                    <a:cubicBezTo>
                      <a:pt x="36" y="4212"/>
                      <a:pt x="0" y="4265"/>
                      <a:pt x="0" y="4319"/>
                    </a:cubicBezTo>
                    <a:cubicBezTo>
                      <a:pt x="0" y="4622"/>
                      <a:pt x="250" y="4854"/>
                      <a:pt x="536" y="4854"/>
                    </a:cubicBezTo>
                    <a:cubicBezTo>
                      <a:pt x="785" y="4854"/>
                      <a:pt x="999" y="4658"/>
                      <a:pt x="1053" y="4461"/>
                    </a:cubicBezTo>
                    <a:lnTo>
                      <a:pt x="1606" y="2142"/>
                    </a:lnTo>
                    <a:lnTo>
                      <a:pt x="1606" y="9582"/>
                    </a:lnTo>
                    <a:lnTo>
                      <a:pt x="2659" y="9582"/>
                    </a:lnTo>
                    <a:lnTo>
                      <a:pt x="2659" y="4800"/>
                    </a:lnTo>
                    <a:lnTo>
                      <a:pt x="3194" y="4800"/>
                    </a:lnTo>
                    <a:lnTo>
                      <a:pt x="3194" y="9582"/>
                    </a:lnTo>
                    <a:lnTo>
                      <a:pt x="4265" y="9582"/>
                    </a:lnTo>
                    <a:lnTo>
                      <a:pt x="4265" y="2106"/>
                    </a:lnTo>
                    <a:lnTo>
                      <a:pt x="4836" y="4426"/>
                    </a:lnTo>
                    <a:cubicBezTo>
                      <a:pt x="4889" y="4640"/>
                      <a:pt x="5103" y="4836"/>
                      <a:pt x="5335" y="4836"/>
                    </a:cubicBezTo>
                    <a:cubicBezTo>
                      <a:pt x="5621" y="4836"/>
                      <a:pt x="5871" y="4586"/>
                      <a:pt x="5871" y="4301"/>
                    </a:cubicBezTo>
                    <a:cubicBezTo>
                      <a:pt x="5871" y="4247"/>
                      <a:pt x="5835" y="4194"/>
                      <a:pt x="5835" y="4158"/>
                    </a:cubicBezTo>
                    <a:lnTo>
                      <a:pt x="5103" y="1000"/>
                    </a:lnTo>
                    <a:cubicBezTo>
                      <a:pt x="5068" y="893"/>
                      <a:pt x="5014" y="786"/>
                      <a:pt x="4925" y="697"/>
                    </a:cubicBezTo>
                    <a:cubicBezTo>
                      <a:pt x="4622" y="447"/>
                      <a:pt x="4247" y="251"/>
                      <a:pt x="3819" y="108"/>
                    </a:cubicBezTo>
                    <a:cubicBezTo>
                      <a:pt x="3533" y="72"/>
                      <a:pt x="3230" y="1"/>
                      <a:pt x="2926" y="1"/>
                    </a:cubicBezTo>
                    <a:close/>
                  </a:path>
                </a:pathLst>
              </a:custGeom>
              <a:solidFill>
                <a:schemeClr val="accent4"/>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grpSp>
          <p:nvGrpSpPr>
            <p:cNvPr id="462" name="Google Shape;462;p30"/>
            <p:cNvGrpSpPr/>
            <p:nvPr/>
          </p:nvGrpSpPr>
          <p:grpSpPr>
            <a:xfrm>
              <a:off x="4186400" y="3744950"/>
              <a:ext cx="435139" cy="913057"/>
              <a:chOff x="4880775" y="1837550"/>
              <a:chExt cx="146775" cy="299350"/>
            </a:xfrm>
          </p:grpSpPr>
          <p:sp>
            <p:nvSpPr>
              <p:cNvPr id="463" name="Google Shape;463;p30"/>
              <p:cNvSpPr/>
              <p:nvPr/>
            </p:nvSpPr>
            <p:spPr>
              <a:xfrm>
                <a:off x="4927600" y="1837550"/>
                <a:ext cx="53125" cy="53125"/>
              </a:xfrm>
              <a:custGeom>
                <a:avLst/>
                <a:gdLst/>
                <a:ahLst/>
                <a:cxnLst/>
                <a:rect l="l" t="t" r="r" b="b"/>
                <a:pathLst>
                  <a:path w="2125" h="2125" extrusionOk="0">
                    <a:moveTo>
                      <a:pt x="1053" y="1"/>
                    </a:moveTo>
                    <a:cubicBezTo>
                      <a:pt x="483" y="1"/>
                      <a:pt x="1" y="483"/>
                      <a:pt x="1" y="1071"/>
                    </a:cubicBezTo>
                    <a:cubicBezTo>
                      <a:pt x="1" y="1660"/>
                      <a:pt x="483" y="2124"/>
                      <a:pt x="1053" y="2124"/>
                    </a:cubicBezTo>
                    <a:cubicBezTo>
                      <a:pt x="1660" y="2124"/>
                      <a:pt x="2124" y="1660"/>
                      <a:pt x="2124" y="1071"/>
                    </a:cubicBezTo>
                    <a:cubicBezTo>
                      <a:pt x="2124" y="483"/>
                      <a:pt x="1660" y="1"/>
                      <a:pt x="1053" y="1"/>
                    </a:cubicBezTo>
                    <a:close/>
                  </a:path>
                </a:pathLst>
              </a:custGeom>
              <a:solidFill>
                <a:schemeClr val="accent4"/>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464" name="Google Shape;464;p30"/>
              <p:cNvSpPr/>
              <p:nvPr/>
            </p:nvSpPr>
            <p:spPr>
              <a:xfrm>
                <a:off x="4880775" y="1897325"/>
                <a:ext cx="146775" cy="239575"/>
              </a:xfrm>
              <a:custGeom>
                <a:avLst/>
                <a:gdLst/>
                <a:ahLst/>
                <a:cxnLst/>
                <a:rect l="l" t="t" r="r" b="b"/>
                <a:pathLst>
                  <a:path w="5871" h="9583" extrusionOk="0">
                    <a:moveTo>
                      <a:pt x="2926" y="1"/>
                    </a:moveTo>
                    <a:cubicBezTo>
                      <a:pt x="2641" y="1"/>
                      <a:pt x="2356" y="72"/>
                      <a:pt x="2052" y="143"/>
                    </a:cubicBezTo>
                    <a:cubicBezTo>
                      <a:pt x="1642" y="251"/>
                      <a:pt x="1267" y="465"/>
                      <a:pt x="928" y="732"/>
                    </a:cubicBezTo>
                    <a:cubicBezTo>
                      <a:pt x="857" y="804"/>
                      <a:pt x="803" y="911"/>
                      <a:pt x="785" y="1018"/>
                    </a:cubicBezTo>
                    <a:lnTo>
                      <a:pt x="36" y="4194"/>
                    </a:lnTo>
                    <a:cubicBezTo>
                      <a:pt x="36" y="4212"/>
                      <a:pt x="0" y="4265"/>
                      <a:pt x="0" y="4319"/>
                    </a:cubicBezTo>
                    <a:cubicBezTo>
                      <a:pt x="0" y="4622"/>
                      <a:pt x="250" y="4854"/>
                      <a:pt x="536" y="4854"/>
                    </a:cubicBezTo>
                    <a:cubicBezTo>
                      <a:pt x="785" y="4854"/>
                      <a:pt x="999" y="4658"/>
                      <a:pt x="1053" y="4461"/>
                    </a:cubicBezTo>
                    <a:lnTo>
                      <a:pt x="1606" y="2142"/>
                    </a:lnTo>
                    <a:lnTo>
                      <a:pt x="1606" y="9582"/>
                    </a:lnTo>
                    <a:lnTo>
                      <a:pt x="2659" y="9582"/>
                    </a:lnTo>
                    <a:lnTo>
                      <a:pt x="2659" y="4800"/>
                    </a:lnTo>
                    <a:lnTo>
                      <a:pt x="3194" y="4800"/>
                    </a:lnTo>
                    <a:lnTo>
                      <a:pt x="3194" y="9582"/>
                    </a:lnTo>
                    <a:lnTo>
                      <a:pt x="4265" y="9582"/>
                    </a:lnTo>
                    <a:lnTo>
                      <a:pt x="4265" y="2106"/>
                    </a:lnTo>
                    <a:lnTo>
                      <a:pt x="4836" y="4426"/>
                    </a:lnTo>
                    <a:cubicBezTo>
                      <a:pt x="4889" y="4640"/>
                      <a:pt x="5103" y="4836"/>
                      <a:pt x="5335" y="4836"/>
                    </a:cubicBezTo>
                    <a:cubicBezTo>
                      <a:pt x="5621" y="4836"/>
                      <a:pt x="5871" y="4586"/>
                      <a:pt x="5871" y="4301"/>
                    </a:cubicBezTo>
                    <a:cubicBezTo>
                      <a:pt x="5871" y="4247"/>
                      <a:pt x="5835" y="4194"/>
                      <a:pt x="5835" y="4158"/>
                    </a:cubicBezTo>
                    <a:lnTo>
                      <a:pt x="5103" y="1000"/>
                    </a:lnTo>
                    <a:cubicBezTo>
                      <a:pt x="5068" y="893"/>
                      <a:pt x="5014" y="786"/>
                      <a:pt x="4925" y="697"/>
                    </a:cubicBezTo>
                    <a:cubicBezTo>
                      <a:pt x="4622" y="447"/>
                      <a:pt x="4247" y="251"/>
                      <a:pt x="3819" y="108"/>
                    </a:cubicBezTo>
                    <a:cubicBezTo>
                      <a:pt x="3533" y="72"/>
                      <a:pt x="3230" y="1"/>
                      <a:pt x="2926" y="1"/>
                    </a:cubicBezTo>
                    <a:close/>
                  </a:path>
                </a:pathLst>
              </a:custGeom>
              <a:solidFill>
                <a:schemeClr val="accent4"/>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grpSp>
          <p:nvGrpSpPr>
            <p:cNvPr id="465" name="Google Shape;465;p30"/>
            <p:cNvGrpSpPr/>
            <p:nvPr/>
          </p:nvGrpSpPr>
          <p:grpSpPr>
            <a:xfrm>
              <a:off x="4650723" y="3763288"/>
              <a:ext cx="435139" cy="913057"/>
              <a:chOff x="4880775" y="1837550"/>
              <a:chExt cx="146775" cy="299350"/>
            </a:xfrm>
          </p:grpSpPr>
          <p:sp>
            <p:nvSpPr>
              <p:cNvPr id="466" name="Google Shape;466;p30"/>
              <p:cNvSpPr/>
              <p:nvPr/>
            </p:nvSpPr>
            <p:spPr>
              <a:xfrm>
                <a:off x="4927600" y="1837550"/>
                <a:ext cx="53125" cy="53125"/>
              </a:xfrm>
              <a:custGeom>
                <a:avLst/>
                <a:gdLst/>
                <a:ahLst/>
                <a:cxnLst/>
                <a:rect l="l" t="t" r="r" b="b"/>
                <a:pathLst>
                  <a:path w="2125" h="2125" extrusionOk="0">
                    <a:moveTo>
                      <a:pt x="1053" y="1"/>
                    </a:moveTo>
                    <a:cubicBezTo>
                      <a:pt x="483" y="1"/>
                      <a:pt x="1" y="483"/>
                      <a:pt x="1" y="1071"/>
                    </a:cubicBezTo>
                    <a:cubicBezTo>
                      <a:pt x="1" y="1660"/>
                      <a:pt x="483" y="2124"/>
                      <a:pt x="1053" y="2124"/>
                    </a:cubicBezTo>
                    <a:cubicBezTo>
                      <a:pt x="1660" y="2124"/>
                      <a:pt x="2124" y="1660"/>
                      <a:pt x="2124" y="1071"/>
                    </a:cubicBezTo>
                    <a:cubicBezTo>
                      <a:pt x="2124" y="483"/>
                      <a:pt x="1660" y="1"/>
                      <a:pt x="1053" y="1"/>
                    </a:cubicBezTo>
                    <a:close/>
                  </a:path>
                </a:pathLst>
              </a:custGeom>
              <a:solidFill>
                <a:schemeClr val="accent4"/>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467" name="Google Shape;467;p30"/>
              <p:cNvSpPr/>
              <p:nvPr/>
            </p:nvSpPr>
            <p:spPr>
              <a:xfrm>
                <a:off x="4880775" y="1897325"/>
                <a:ext cx="146775" cy="239575"/>
              </a:xfrm>
              <a:custGeom>
                <a:avLst/>
                <a:gdLst/>
                <a:ahLst/>
                <a:cxnLst/>
                <a:rect l="l" t="t" r="r" b="b"/>
                <a:pathLst>
                  <a:path w="5871" h="9583" extrusionOk="0">
                    <a:moveTo>
                      <a:pt x="2926" y="1"/>
                    </a:moveTo>
                    <a:cubicBezTo>
                      <a:pt x="2641" y="1"/>
                      <a:pt x="2356" y="72"/>
                      <a:pt x="2052" y="143"/>
                    </a:cubicBezTo>
                    <a:cubicBezTo>
                      <a:pt x="1642" y="251"/>
                      <a:pt x="1267" y="465"/>
                      <a:pt x="928" y="732"/>
                    </a:cubicBezTo>
                    <a:cubicBezTo>
                      <a:pt x="857" y="804"/>
                      <a:pt x="803" y="911"/>
                      <a:pt x="785" y="1018"/>
                    </a:cubicBezTo>
                    <a:lnTo>
                      <a:pt x="36" y="4194"/>
                    </a:lnTo>
                    <a:cubicBezTo>
                      <a:pt x="36" y="4212"/>
                      <a:pt x="0" y="4265"/>
                      <a:pt x="0" y="4319"/>
                    </a:cubicBezTo>
                    <a:cubicBezTo>
                      <a:pt x="0" y="4622"/>
                      <a:pt x="250" y="4854"/>
                      <a:pt x="536" y="4854"/>
                    </a:cubicBezTo>
                    <a:cubicBezTo>
                      <a:pt x="785" y="4854"/>
                      <a:pt x="999" y="4658"/>
                      <a:pt x="1053" y="4461"/>
                    </a:cubicBezTo>
                    <a:lnTo>
                      <a:pt x="1606" y="2142"/>
                    </a:lnTo>
                    <a:lnTo>
                      <a:pt x="1606" y="9582"/>
                    </a:lnTo>
                    <a:lnTo>
                      <a:pt x="2659" y="9582"/>
                    </a:lnTo>
                    <a:lnTo>
                      <a:pt x="2659" y="4800"/>
                    </a:lnTo>
                    <a:lnTo>
                      <a:pt x="3194" y="4800"/>
                    </a:lnTo>
                    <a:lnTo>
                      <a:pt x="3194" y="9582"/>
                    </a:lnTo>
                    <a:lnTo>
                      <a:pt x="4265" y="9582"/>
                    </a:lnTo>
                    <a:lnTo>
                      <a:pt x="4265" y="2106"/>
                    </a:lnTo>
                    <a:lnTo>
                      <a:pt x="4836" y="4426"/>
                    </a:lnTo>
                    <a:cubicBezTo>
                      <a:pt x="4889" y="4640"/>
                      <a:pt x="5103" y="4836"/>
                      <a:pt x="5335" y="4836"/>
                    </a:cubicBezTo>
                    <a:cubicBezTo>
                      <a:pt x="5621" y="4836"/>
                      <a:pt x="5871" y="4586"/>
                      <a:pt x="5871" y="4301"/>
                    </a:cubicBezTo>
                    <a:cubicBezTo>
                      <a:pt x="5871" y="4247"/>
                      <a:pt x="5835" y="4194"/>
                      <a:pt x="5835" y="4158"/>
                    </a:cubicBezTo>
                    <a:lnTo>
                      <a:pt x="5103" y="1000"/>
                    </a:lnTo>
                    <a:cubicBezTo>
                      <a:pt x="5068" y="893"/>
                      <a:pt x="5014" y="786"/>
                      <a:pt x="4925" y="697"/>
                    </a:cubicBezTo>
                    <a:cubicBezTo>
                      <a:pt x="4622" y="447"/>
                      <a:pt x="4247" y="251"/>
                      <a:pt x="3819" y="108"/>
                    </a:cubicBezTo>
                    <a:cubicBezTo>
                      <a:pt x="3533" y="72"/>
                      <a:pt x="3230" y="1"/>
                      <a:pt x="2926" y="1"/>
                    </a:cubicBezTo>
                    <a:close/>
                  </a:path>
                </a:pathLst>
              </a:custGeom>
              <a:solidFill>
                <a:schemeClr val="accent4"/>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grpSp>
          <p:nvGrpSpPr>
            <p:cNvPr id="468" name="Google Shape;468;p30"/>
            <p:cNvGrpSpPr/>
            <p:nvPr/>
          </p:nvGrpSpPr>
          <p:grpSpPr>
            <a:xfrm>
              <a:off x="5138552" y="3757174"/>
              <a:ext cx="435139" cy="913057"/>
              <a:chOff x="4880775" y="1837550"/>
              <a:chExt cx="146775" cy="299350"/>
            </a:xfrm>
          </p:grpSpPr>
          <p:sp>
            <p:nvSpPr>
              <p:cNvPr id="469" name="Google Shape;469;p30"/>
              <p:cNvSpPr/>
              <p:nvPr/>
            </p:nvSpPr>
            <p:spPr>
              <a:xfrm>
                <a:off x="4927600" y="1837550"/>
                <a:ext cx="53125" cy="53125"/>
              </a:xfrm>
              <a:custGeom>
                <a:avLst/>
                <a:gdLst/>
                <a:ahLst/>
                <a:cxnLst/>
                <a:rect l="l" t="t" r="r" b="b"/>
                <a:pathLst>
                  <a:path w="2125" h="2125" extrusionOk="0">
                    <a:moveTo>
                      <a:pt x="1053" y="1"/>
                    </a:moveTo>
                    <a:cubicBezTo>
                      <a:pt x="483" y="1"/>
                      <a:pt x="1" y="483"/>
                      <a:pt x="1" y="1071"/>
                    </a:cubicBezTo>
                    <a:cubicBezTo>
                      <a:pt x="1" y="1660"/>
                      <a:pt x="483" y="2124"/>
                      <a:pt x="1053" y="2124"/>
                    </a:cubicBezTo>
                    <a:cubicBezTo>
                      <a:pt x="1660" y="2124"/>
                      <a:pt x="2124" y="1660"/>
                      <a:pt x="2124" y="1071"/>
                    </a:cubicBezTo>
                    <a:cubicBezTo>
                      <a:pt x="2124" y="483"/>
                      <a:pt x="1660" y="1"/>
                      <a:pt x="1053" y="1"/>
                    </a:cubicBezTo>
                    <a:close/>
                  </a:path>
                </a:pathLst>
              </a:custGeom>
              <a:solidFill>
                <a:schemeClr val="accent4"/>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470" name="Google Shape;470;p30"/>
              <p:cNvSpPr/>
              <p:nvPr/>
            </p:nvSpPr>
            <p:spPr>
              <a:xfrm>
                <a:off x="4880775" y="1897325"/>
                <a:ext cx="146775" cy="239575"/>
              </a:xfrm>
              <a:custGeom>
                <a:avLst/>
                <a:gdLst/>
                <a:ahLst/>
                <a:cxnLst/>
                <a:rect l="l" t="t" r="r" b="b"/>
                <a:pathLst>
                  <a:path w="5871" h="9583" extrusionOk="0">
                    <a:moveTo>
                      <a:pt x="2926" y="1"/>
                    </a:moveTo>
                    <a:cubicBezTo>
                      <a:pt x="2641" y="1"/>
                      <a:pt x="2356" y="72"/>
                      <a:pt x="2052" y="143"/>
                    </a:cubicBezTo>
                    <a:cubicBezTo>
                      <a:pt x="1642" y="251"/>
                      <a:pt x="1267" y="465"/>
                      <a:pt x="928" y="732"/>
                    </a:cubicBezTo>
                    <a:cubicBezTo>
                      <a:pt x="857" y="804"/>
                      <a:pt x="803" y="911"/>
                      <a:pt x="785" y="1018"/>
                    </a:cubicBezTo>
                    <a:lnTo>
                      <a:pt x="36" y="4194"/>
                    </a:lnTo>
                    <a:cubicBezTo>
                      <a:pt x="36" y="4212"/>
                      <a:pt x="0" y="4265"/>
                      <a:pt x="0" y="4319"/>
                    </a:cubicBezTo>
                    <a:cubicBezTo>
                      <a:pt x="0" y="4622"/>
                      <a:pt x="250" y="4854"/>
                      <a:pt x="536" y="4854"/>
                    </a:cubicBezTo>
                    <a:cubicBezTo>
                      <a:pt x="785" y="4854"/>
                      <a:pt x="999" y="4658"/>
                      <a:pt x="1053" y="4461"/>
                    </a:cubicBezTo>
                    <a:lnTo>
                      <a:pt x="1606" y="2142"/>
                    </a:lnTo>
                    <a:lnTo>
                      <a:pt x="1606" y="9582"/>
                    </a:lnTo>
                    <a:lnTo>
                      <a:pt x="2659" y="9582"/>
                    </a:lnTo>
                    <a:lnTo>
                      <a:pt x="2659" y="4800"/>
                    </a:lnTo>
                    <a:lnTo>
                      <a:pt x="3194" y="4800"/>
                    </a:lnTo>
                    <a:lnTo>
                      <a:pt x="3194" y="9582"/>
                    </a:lnTo>
                    <a:lnTo>
                      <a:pt x="4265" y="9582"/>
                    </a:lnTo>
                    <a:lnTo>
                      <a:pt x="4265" y="2106"/>
                    </a:lnTo>
                    <a:lnTo>
                      <a:pt x="4836" y="4426"/>
                    </a:lnTo>
                    <a:cubicBezTo>
                      <a:pt x="4889" y="4640"/>
                      <a:pt x="5103" y="4836"/>
                      <a:pt x="5335" y="4836"/>
                    </a:cubicBezTo>
                    <a:cubicBezTo>
                      <a:pt x="5621" y="4836"/>
                      <a:pt x="5871" y="4586"/>
                      <a:pt x="5871" y="4301"/>
                    </a:cubicBezTo>
                    <a:cubicBezTo>
                      <a:pt x="5871" y="4247"/>
                      <a:pt x="5835" y="4194"/>
                      <a:pt x="5835" y="4158"/>
                    </a:cubicBezTo>
                    <a:lnTo>
                      <a:pt x="5103" y="1000"/>
                    </a:lnTo>
                    <a:cubicBezTo>
                      <a:pt x="5068" y="893"/>
                      <a:pt x="5014" y="786"/>
                      <a:pt x="4925" y="697"/>
                    </a:cubicBezTo>
                    <a:cubicBezTo>
                      <a:pt x="4622" y="447"/>
                      <a:pt x="4247" y="251"/>
                      <a:pt x="3819" y="108"/>
                    </a:cubicBezTo>
                    <a:cubicBezTo>
                      <a:pt x="3533" y="72"/>
                      <a:pt x="3230" y="1"/>
                      <a:pt x="2926" y="1"/>
                    </a:cubicBezTo>
                    <a:close/>
                  </a:path>
                </a:pathLst>
              </a:custGeom>
              <a:solidFill>
                <a:schemeClr val="accent4"/>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grpSp>
          <p:nvGrpSpPr>
            <p:cNvPr id="471" name="Google Shape;471;p30"/>
            <p:cNvGrpSpPr/>
            <p:nvPr/>
          </p:nvGrpSpPr>
          <p:grpSpPr>
            <a:xfrm>
              <a:off x="5608752" y="3741320"/>
              <a:ext cx="435139" cy="913057"/>
              <a:chOff x="4880775" y="1837550"/>
              <a:chExt cx="146775" cy="299350"/>
            </a:xfrm>
          </p:grpSpPr>
          <p:sp>
            <p:nvSpPr>
              <p:cNvPr id="472" name="Google Shape;472;p30"/>
              <p:cNvSpPr/>
              <p:nvPr/>
            </p:nvSpPr>
            <p:spPr>
              <a:xfrm>
                <a:off x="4927600" y="1837550"/>
                <a:ext cx="53125" cy="53125"/>
              </a:xfrm>
              <a:custGeom>
                <a:avLst/>
                <a:gdLst/>
                <a:ahLst/>
                <a:cxnLst/>
                <a:rect l="l" t="t" r="r" b="b"/>
                <a:pathLst>
                  <a:path w="2125" h="2125" extrusionOk="0">
                    <a:moveTo>
                      <a:pt x="1053" y="1"/>
                    </a:moveTo>
                    <a:cubicBezTo>
                      <a:pt x="483" y="1"/>
                      <a:pt x="1" y="483"/>
                      <a:pt x="1" y="1071"/>
                    </a:cubicBezTo>
                    <a:cubicBezTo>
                      <a:pt x="1" y="1660"/>
                      <a:pt x="483" y="2124"/>
                      <a:pt x="1053" y="2124"/>
                    </a:cubicBezTo>
                    <a:cubicBezTo>
                      <a:pt x="1660" y="2124"/>
                      <a:pt x="2124" y="1660"/>
                      <a:pt x="2124" y="1071"/>
                    </a:cubicBezTo>
                    <a:cubicBezTo>
                      <a:pt x="2124" y="483"/>
                      <a:pt x="1660" y="1"/>
                      <a:pt x="1053" y="1"/>
                    </a:cubicBezTo>
                    <a:close/>
                  </a:path>
                </a:pathLst>
              </a:custGeom>
              <a:solidFill>
                <a:srgbClr val="D8D8D8"/>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473" name="Google Shape;473;p30"/>
              <p:cNvSpPr/>
              <p:nvPr/>
            </p:nvSpPr>
            <p:spPr>
              <a:xfrm>
                <a:off x="4880775" y="1897325"/>
                <a:ext cx="146775" cy="239575"/>
              </a:xfrm>
              <a:custGeom>
                <a:avLst/>
                <a:gdLst/>
                <a:ahLst/>
                <a:cxnLst/>
                <a:rect l="l" t="t" r="r" b="b"/>
                <a:pathLst>
                  <a:path w="5871" h="9583" extrusionOk="0">
                    <a:moveTo>
                      <a:pt x="2926" y="1"/>
                    </a:moveTo>
                    <a:cubicBezTo>
                      <a:pt x="2641" y="1"/>
                      <a:pt x="2356" y="72"/>
                      <a:pt x="2052" y="143"/>
                    </a:cubicBezTo>
                    <a:cubicBezTo>
                      <a:pt x="1642" y="251"/>
                      <a:pt x="1267" y="465"/>
                      <a:pt x="928" y="732"/>
                    </a:cubicBezTo>
                    <a:cubicBezTo>
                      <a:pt x="857" y="804"/>
                      <a:pt x="803" y="911"/>
                      <a:pt x="785" y="1018"/>
                    </a:cubicBezTo>
                    <a:lnTo>
                      <a:pt x="36" y="4194"/>
                    </a:lnTo>
                    <a:cubicBezTo>
                      <a:pt x="36" y="4212"/>
                      <a:pt x="0" y="4265"/>
                      <a:pt x="0" y="4319"/>
                    </a:cubicBezTo>
                    <a:cubicBezTo>
                      <a:pt x="0" y="4622"/>
                      <a:pt x="250" y="4854"/>
                      <a:pt x="536" y="4854"/>
                    </a:cubicBezTo>
                    <a:cubicBezTo>
                      <a:pt x="785" y="4854"/>
                      <a:pt x="999" y="4658"/>
                      <a:pt x="1053" y="4461"/>
                    </a:cubicBezTo>
                    <a:lnTo>
                      <a:pt x="1606" y="2142"/>
                    </a:lnTo>
                    <a:lnTo>
                      <a:pt x="1606" y="9582"/>
                    </a:lnTo>
                    <a:lnTo>
                      <a:pt x="2659" y="9582"/>
                    </a:lnTo>
                    <a:lnTo>
                      <a:pt x="2659" y="4800"/>
                    </a:lnTo>
                    <a:lnTo>
                      <a:pt x="3194" y="4800"/>
                    </a:lnTo>
                    <a:lnTo>
                      <a:pt x="3194" y="9582"/>
                    </a:lnTo>
                    <a:lnTo>
                      <a:pt x="4265" y="9582"/>
                    </a:lnTo>
                    <a:lnTo>
                      <a:pt x="4265" y="2106"/>
                    </a:lnTo>
                    <a:lnTo>
                      <a:pt x="4836" y="4426"/>
                    </a:lnTo>
                    <a:cubicBezTo>
                      <a:pt x="4889" y="4640"/>
                      <a:pt x="5103" y="4836"/>
                      <a:pt x="5335" y="4836"/>
                    </a:cubicBezTo>
                    <a:cubicBezTo>
                      <a:pt x="5621" y="4836"/>
                      <a:pt x="5871" y="4586"/>
                      <a:pt x="5871" y="4301"/>
                    </a:cubicBezTo>
                    <a:cubicBezTo>
                      <a:pt x="5871" y="4247"/>
                      <a:pt x="5835" y="4194"/>
                      <a:pt x="5835" y="4158"/>
                    </a:cubicBezTo>
                    <a:lnTo>
                      <a:pt x="5103" y="1000"/>
                    </a:lnTo>
                    <a:cubicBezTo>
                      <a:pt x="5068" y="893"/>
                      <a:pt x="5014" y="786"/>
                      <a:pt x="4925" y="697"/>
                    </a:cubicBezTo>
                    <a:cubicBezTo>
                      <a:pt x="4622" y="447"/>
                      <a:pt x="4247" y="251"/>
                      <a:pt x="3819" y="108"/>
                    </a:cubicBezTo>
                    <a:cubicBezTo>
                      <a:pt x="3533" y="72"/>
                      <a:pt x="3230" y="1"/>
                      <a:pt x="2926" y="1"/>
                    </a:cubicBezTo>
                    <a:close/>
                  </a:path>
                </a:pathLst>
              </a:custGeom>
              <a:solidFill>
                <a:srgbClr val="D8D8D8"/>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grpSp>
          <p:nvGrpSpPr>
            <p:cNvPr id="474" name="Google Shape;474;p30"/>
            <p:cNvGrpSpPr/>
            <p:nvPr/>
          </p:nvGrpSpPr>
          <p:grpSpPr>
            <a:xfrm>
              <a:off x="6096583" y="3735208"/>
              <a:ext cx="435139" cy="913057"/>
              <a:chOff x="4880775" y="1837550"/>
              <a:chExt cx="146775" cy="299350"/>
            </a:xfrm>
          </p:grpSpPr>
          <p:sp>
            <p:nvSpPr>
              <p:cNvPr id="475" name="Google Shape;475;p30"/>
              <p:cNvSpPr/>
              <p:nvPr/>
            </p:nvSpPr>
            <p:spPr>
              <a:xfrm>
                <a:off x="4927600" y="1837550"/>
                <a:ext cx="53125" cy="53125"/>
              </a:xfrm>
              <a:custGeom>
                <a:avLst/>
                <a:gdLst/>
                <a:ahLst/>
                <a:cxnLst/>
                <a:rect l="l" t="t" r="r" b="b"/>
                <a:pathLst>
                  <a:path w="2125" h="2125" extrusionOk="0">
                    <a:moveTo>
                      <a:pt x="1053" y="1"/>
                    </a:moveTo>
                    <a:cubicBezTo>
                      <a:pt x="483" y="1"/>
                      <a:pt x="1" y="483"/>
                      <a:pt x="1" y="1071"/>
                    </a:cubicBezTo>
                    <a:cubicBezTo>
                      <a:pt x="1" y="1660"/>
                      <a:pt x="483" y="2124"/>
                      <a:pt x="1053" y="2124"/>
                    </a:cubicBezTo>
                    <a:cubicBezTo>
                      <a:pt x="1660" y="2124"/>
                      <a:pt x="2124" y="1660"/>
                      <a:pt x="2124" y="1071"/>
                    </a:cubicBezTo>
                    <a:cubicBezTo>
                      <a:pt x="2124" y="483"/>
                      <a:pt x="1660" y="1"/>
                      <a:pt x="1053" y="1"/>
                    </a:cubicBezTo>
                    <a:close/>
                  </a:path>
                </a:pathLst>
              </a:custGeom>
              <a:solidFill>
                <a:srgbClr val="D8D8D8"/>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476" name="Google Shape;476;p30"/>
              <p:cNvSpPr/>
              <p:nvPr/>
            </p:nvSpPr>
            <p:spPr>
              <a:xfrm>
                <a:off x="4880775" y="1897325"/>
                <a:ext cx="146775" cy="239575"/>
              </a:xfrm>
              <a:custGeom>
                <a:avLst/>
                <a:gdLst/>
                <a:ahLst/>
                <a:cxnLst/>
                <a:rect l="l" t="t" r="r" b="b"/>
                <a:pathLst>
                  <a:path w="5871" h="9583" extrusionOk="0">
                    <a:moveTo>
                      <a:pt x="2926" y="1"/>
                    </a:moveTo>
                    <a:cubicBezTo>
                      <a:pt x="2641" y="1"/>
                      <a:pt x="2356" y="72"/>
                      <a:pt x="2052" y="143"/>
                    </a:cubicBezTo>
                    <a:cubicBezTo>
                      <a:pt x="1642" y="251"/>
                      <a:pt x="1267" y="465"/>
                      <a:pt x="928" y="732"/>
                    </a:cubicBezTo>
                    <a:cubicBezTo>
                      <a:pt x="857" y="804"/>
                      <a:pt x="803" y="911"/>
                      <a:pt x="785" y="1018"/>
                    </a:cubicBezTo>
                    <a:lnTo>
                      <a:pt x="36" y="4194"/>
                    </a:lnTo>
                    <a:cubicBezTo>
                      <a:pt x="36" y="4212"/>
                      <a:pt x="0" y="4265"/>
                      <a:pt x="0" y="4319"/>
                    </a:cubicBezTo>
                    <a:cubicBezTo>
                      <a:pt x="0" y="4622"/>
                      <a:pt x="250" y="4854"/>
                      <a:pt x="536" y="4854"/>
                    </a:cubicBezTo>
                    <a:cubicBezTo>
                      <a:pt x="785" y="4854"/>
                      <a:pt x="999" y="4658"/>
                      <a:pt x="1053" y="4461"/>
                    </a:cubicBezTo>
                    <a:lnTo>
                      <a:pt x="1606" y="2142"/>
                    </a:lnTo>
                    <a:lnTo>
                      <a:pt x="1606" y="9582"/>
                    </a:lnTo>
                    <a:lnTo>
                      <a:pt x="2659" y="9582"/>
                    </a:lnTo>
                    <a:lnTo>
                      <a:pt x="2659" y="4800"/>
                    </a:lnTo>
                    <a:lnTo>
                      <a:pt x="3194" y="4800"/>
                    </a:lnTo>
                    <a:lnTo>
                      <a:pt x="3194" y="9582"/>
                    </a:lnTo>
                    <a:lnTo>
                      <a:pt x="4265" y="9582"/>
                    </a:lnTo>
                    <a:lnTo>
                      <a:pt x="4265" y="2106"/>
                    </a:lnTo>
                    <a:lnTo>
                      <a:pt x="4836" y="4426"/>
                    </a:lnTo>
                    <a:cubicBezTo>
                      <a:pt x="4889" y="4640"/>
                      <a:pt x="5103" y="4836"/>
                      <a:pt x="5335" y="4836"/>
                    </a:cubicBezTo>
                    <a:cubicBezTo>
                      <a:pt x="5621" y="4836"/>
                      <a:pt x="5871" y="4586"/>
                      <a:pt x="5871" y="4301"/>
                    </a:cubicBezTo>
                    <a:cubicBezTo>
                      <a:pt x="5871" y="4247"/>
                      <a:pt x="5835" y="4194"/>
                      <a:pt x="5835" y="4158"/>
                    </a:cubicBezTo>
                    <a:lnTo>
                      <a:pt x="5103" y="1000"/>
                    </a:lnTo>
                    <a:cubicBezTo>
                      <a:pt x="5068" y="893"/>
                      <a:pt x="5014" y="786"/>
                      <a:pt x="4925" y="697"/>
                    </a:cubicBezTo>
                    <a:cubicBezTo>
                      <a:pt x="4622" y="447"/>
                      <a:pt x="4247" y="251"/>
                      <a:pt x="3819" y="108"/>
                    </a:cubicBezTo>
                    <a:cubicBezTo>
                      <a:pt x="3533" y="72"/>
                      <a:pt x="3230" y="1"/>
                      <a:pt x="2926" y="1"/>
                    </a:cubicBezTo>
                    <a:close/>
                  </a:path>
                </a:pathLst>
              </a:custGeom>
              <a:solidFill>
                <a:srgbClr val="D8D8D8"/>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grpSp>
          <p:nvGrpSpPr>
            <p:cNvPr id="477" name="Google Shape;477;p30"/>
            <p:cNvGrpSpPr/>
            <p:nvPr/>
          </p:nvGrpSpPr>
          <p:grpSpPr>
            <a:xfrm>
              <a:off x="6601157" y="3751062"/>
              <a:ext cx="435139" cy="913057"/>
              <a:chOff x="4880775" y="1837550"/>
              <a:chExt cx="146775" cy="299350"/>
            </a:xfrm>
          </p:grpSpPr>
          <p:sp>
            <p:nvSpPr>
              <p:cNvPr id="478" name="Google Shape;478;p30"/>
              <p:cNvSpPr/>
              <p:nvPr/>
            </p:nvSpPr>
            <p:spPr>
              <a:xfrm>
                <a:off x="4927600" y="1837550"/>
                <a:ext cx="53125" cy="53125"/>
              </a:xfrm>
              <a:custGeom>
                <a:avLst/>
                <a:gdLst/>
                <a:ahLst/>
                <a:cxnLst/>
                <a:rect l="l" t="t" r="r" b="b"/>
                <a:pathLst>
                  <a:path w="2125" h="2125" extrusionOk="0">
                    <a:moveTo>
                      <a:pt x="1053" y="1"/>
                    </a:moveTo>
                    <a:cubicBezTo>
                      <a:pt x="483" y="1"/>
                      <a:pt x="1" y="483"/>
                      <a:pt x="1" y="1071"/>
                    </a:cubicBezTo>
                    <a:cubicBezTo>
                      <a:pt x="1" y="1660"/>
                      <a:pt x="483" y="2124"/>
                      <a:pt x="1053" y="2124"/>
                    </a:cubicBezTo>
                    <a:cubicBezTo>
                      <a:pt x="1660" y="2124"/>
                      <a:pt x="2124" y="1660"/>
                      <a:pt x="2124" y="1071"/>
                    </a:cubicBezTo>
                    <a:cubicBezTo>
                      <a:pt x="2124" y="483"/>
                      <a:pt x="1660" y="1"/>
                      <a:pt x="1053" y="1"/>
                    </a:cubicBezTo>
                    <a:close/>
                  </a:path>
                </a:pathLst>
              </a:custGeom>
              <a:solidFill>
                <a:srgbClr val="D8D8D8"/>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479" name="Google Shape;479;p30"/>
              <p:cNvSpPr/>
              <p:nvPr/>
            </p:nvSpPr>
            <p:spPr>
              <a:xfrm>
                <a:off x="4880775" y="1897325"/>
                <a:ext cx="146775" cy="239575"/>
              </a:xfrm>
              <a:custGeom>
                <a:avLst/>
                <a:gdLst/>
                <a:ahLst/>
                <a:cxnLst/>
                <a:rect l="l" t="t" r="r" b="b"/>
                <a:pathLst>
                  <a:path w="5871" h="9583" extrusionOk="0">
                    <a:moveTo>
                      <a:pt x="2926" y="1"/>
                    </a:moveTo>
                    <a:cubicBezTo>
                      <a:pt x="2641" y="1"/>
                      <a:pt x="2356" y="72"/>
                      <a:pt x="2052" y="143"/>
                    </a:cubicBezTo>
                    <a:cubicBezTo>
                      <a:pt x="1642" y="251"/>
                      <a:pt x="1267" y="465"/>
                      <a:pt x="928" y="732"/>
                    </a:cubicBezTo>
                    <a:cubicBezTo>
                      <a:pt x="857" y="804"/>
                      <a:pt x="803" y="911"/>
                      <a:pt x="785" y="1018"/>
                    </a:cubicBezTo>
                    <a:lnTo>
                      <a:pt x="36" y="4194"/>
                    </a:lnTo>
                    <a:cubicBezTo>
                      <a:pt x="36" y="4212"/>
                      <a:pt x="0" y="4265"/>
                      <a:pt x="0" y="4319"/>
                    </a:cubicBezTo>
                    <a:cubicBezTo>
                      <a:pt x="0" y="4622"/>
                      <a:pt x="250" y="4854"/>
                      <a:pt x="536" y="4854"/>
                    </a:cubicBezTo>
                    <a:cubicBezTo>
                      <a:pt x="785" y="4854"/>
                      <a:pt x="999" y="4658"/>
                      <a:pt x="1053" y="4461"/>
                    </a:cubicBezTo>
                    <a:lnTo>
                      <a:pt x="1606" y="2142"/>
                    </a:lnTo>
                    <a:lnTo>
                      <a:pt x="1606" y="9582"/>
                    </a:lnTo>
                    <a:lnTo>
                      <a:pt x="2659" y="9582"/>
                    </a:lnTo>
                    <a:lnTo>
                      <a:pt x="2659" y="4800"/>
                    </a:lnTo>
                    <a:lnTo>
                      <a:pt x="3194" y="4800"/>
                    </a:lnTo>
                    <a:lnTo>
                      <a:pt x="3194" y="9582"/>
                    </a:lnTo>
                    <a:lnTo>
                      <a:pt x="4265" y="9582"/>
                    </a:lnTo>
                    <a:lnTo>
                      <a:pt x="4265" y="2106"/>
                    </a:lnTo>
                    <a:lnTo>
                      <a:pt x="4836" y="4426"/>
                    </a:lnTo>
                    <a:cubicBezTo>
                      <a:pt x="4889" y="4640"/>
                      <a:pt x="5103" y="4836"/>
                      <a:pt x="5335" y="4836"/>
                    </a:cubicBezTo>
                    <a:cubicBezTo>
                      <a:pt x="5621" y="4836"/>
                      <a:pt x="5871" y="4586"/>
                      <a:pt x="5871" y="4301"/>
                    </a:cubicBezTo>
                    <a:cubicBezTo>
                      <a:pt x="5871" y="4247"/>
                      <a:pt x="5835" y="4194"/>
                      <a:pt x="5835" y="4158"/>
                    </a:cubicBezTo>
                    <a:lnTo>
                      <a:pt x="5103" y="1000"/>
                    </a:lnTo>
                    <a:cubicBezTo>
                      <a:pt x="5068" y="893"/>
                      <a:pt x="5014" y="786"/>
                      <a:pt x="4925" y="697"/>
                    </a:cubicBezTo>
                    <a:cubicBezTo>
                      <a:pt x="4622" y="447"/>
                      <a:pt x="4247" y="251"/>
                      <a:pt x="3819" y="108"/>
                    </a:cubicBezTo>
                    <a:cubicBezTo>
                      <a:pt x="3533" y="72"/>
                      <a:pt x="3230" y="1"/>
                      <a:pt x="2926" y="1"/>
                    </a:cubicBezTo>
                    <a:close/>
                  </a:path>
                </a:pathLst>
              </a:custGeom>
              <a:solidFill>
                <a:srgbClr val="D8D8D8"/>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grpSp>
          <p:nvGrpSpPr>
            <p:cNvPr id="480" name="Google Shape;480;p30"/>
            <p:cNvGrpSpPr/>
            <p:nvPr/>
          </p:nvGrpSpPr>
          <p:grpSpPr>
            <a:xfrm>
              <a:off x="7088988" y="3744950"/>
              <a:ext cx="435139" cy="913057"/>
              <a:chOff x="4880775" y="1837550"/>
              <a:chExt cx="146775" cy="299350"/>
            </a:xfrm>
          </p:grpSpPr>
          <p:sp>
            <p:nvSpPr>
              <p:cNvPr id="481" name="Google Shape;481;p30"/>
              <p:cNvSpPr/>
              <p:nvPr/>
            </p:nvSpPr>
            <p:spPr>
              <a:xfrm>
                <a:off x="4927600" y="1837550"/>
                <a:ext cx="53125" cy="53125"/>
              </a:xfrm>
              <a:custGeom>
                <a:avLst/>
                <a:gdLst/>
                <a:ahLst/>
                <a:cxnLst/>
                <a:rect l="l" t="t" r="r" b="b"/>
                <a:pathLst>
                  <a:path w="2125" h="2125" extrusionOk="0">
                    <a:moveTo>
                      <a:pt x="1053" y="1"/>
                    </a:moveTo>
                    <a:cubicBezTo>
                      <a:pt x="483" y="1"/>
                      <a:pt x="1" y="483"/>
                      <a:pt x="1" y="1071"/>
                    </a:cubicBezTo>
                    <a:cubicBezTo>
                      <a:pt x="1" y="1660"/>
                      <a:pt x="483" y="2124"/>
                      <a:pt x="1053" y="2124"/>
                    </a:cubicBezTo>
                    <a:cubicBezTo>
                      <a:pt x="1660" y="2124"/>
                      <a:pt x="2124" y="1660"/>
                      <a:pt x="2124" y="1071"/>
                    </a:cubicBezTo>
                    <a:cubicBezTo>
                      <a:pt x="2124" y="483"/>
                      <a:pt x="1660" y="1"/>
                      <a:pt x="1053" y="1"/>
                    </a:cubicBezTo>
                    <a:close/>
                  </a:path>
                </a:pathLst>
              </a:custGeom>
              <a:solidFill>
                <a:srgbClr val="D8D8D8"/>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482" name="Google Shape;482;p30"/>
              <p:cNvSpPr/>
              <p:nvPr/>
            </p:nvSpPr>
            <p:spPr>
              <a:xfrm>
                <a:off x="4880775" y="1897325"/>
                <a:ext cx="146775" cy="239575"/>
              </a:xfrm>
              <a:custGeom>
                <a:avLst/>
                <a:gdLst/>
                <a:ahLst/>
                <a:cxnLst/>
                <a:rect l="l" t="t" r="r" b="b"/>
                <a:pathLst>
                  <a:path w="5871" h="9583" extrusionOk="0">
                    <a:moveTo>
                      <a:pt x="2926" y="1"/>
                    </a:moveTo>
                    <a:cubicBezTo>
                      <a:pt x="2641" y="1"/>
                      <a:pt x="2356" y="72"/>
                      <a:pt x="2052" y="143"/>
                    </a:cubicBezTo>
                    <a:cubicBezTo>
                      <a:pt x="1642" y="251"/>
                      <a:pt x="1267" y="465"/>
                      <a:pt x="928" y="732"/>
                    </a:cubicBezTo>
                    <a:cubicBezTo>
                      <a:pt x="857" y="804"/>
                      <a:pt x="803" y="911"/>
                      <a:pt x="785" y="1018"/>
                    </a:cubicBezTo>
                    <a:lnTo>
                      <a:pt x="36" y="4194"/>
                    </a:lnTo>
                    <a:cubicBezTo>
                      <a:pt x="36" y="4212"/>
                      <a:pt x="0" y="4265"/>
                      <a:pt x="0" y="4319"/>
                    </a:cubicBezTo>
                    <a:cubicBezTo>
                      <a:pt x="0" y="4622"/>
                      <a:pt x="250" y="4854"/>
                      <a:pt x="536" y="4854"/>
                    </a:cubicBezTo>
                    <a:cubicBezTo>
                      <a:pt x="785" y="4854"/>
                      <a:pt x="999" y="4658"/>
                      <a:pt x="1053" y="4461"/>
                    </a:cubicBezTo>
                    <a:lnTo>
                      <a:pt x="1606" y="2142"/>
                    </a:lnTo>
                    <a:lnTo>
                      <a:pt x="1606" y="9582"/>
                    </a:lnTo>
                    <a:lnTo>
                      <a:pt x="2659" y="9582"/>
                    </a:lnTo>
                    <a:lnTo>
                      <a:pt x="2659" y="4800"/>
                    </a:lnTo>
                    <a:lnTo>
                      <a:pt x="3194" y="4800"/>
                    </a:lnTo>
                    <a:lnTo>
                      <a:pt x="3194" y="9582"/>
                    </a:lnTo>
                    <a:lnTo>
                      <a:pt x="4265" y="9582"/>
                    </a:lnTo>
                    <a:lnTo>
                      <a:pt x="4265" y="2106"/>
                    </a:lnTo>
                    <a:lnTo>
                      <a:pt x="4836" y="4426"/>
                    </a:lnTo>
                    <a:cubicBezTo>
                      <a:pt x="4889" y="4640"/>
                      <a:pt x="5103" y="4836"/>
                      <a:pt x="5335" y="4836"/>
                    </a:cubicBezTo>
                    <a:cubicBezTo>
                      <a:pt x="5621" y="4836"/>
                      <a:pt x="5871" y="4586"/>
                      <a:pt x="5871" y="4301"/>
                    </a:cubicBezTo>
                    <a:cubicBezTo>
                      <a:pt x="5871" y="4247"/>
                      <a:pt x="5835" y="4194"/>
                      <a:pt x="5835" y="4158"/>
                    </a:cubicBezTo>
                    <a:lnTo>
                      <a:pt x="5103" y="1000"/>
                    </a:lnTo>
                    <a:cubicBezTo>
                      <a:pt x="5068" y="893"/>
                      <a:pt x="5014" y="786"/>
                      <a:pt x="4925" y="697"/>
                    </a:cubicBezTo>
                    <a:cubicBezTo>
                      <a:pt x="4622" y="447"/>
                      <a:pt x="4247" y="251"/>
                      <a:pt x="3819" y="108"/>
                    </a:cubicBezTo>
                    <a:cubicBezTo>
                      <a:pt x="3533" y="72"/>
                      <a:pt x="3230" y="1"/>
                      <a:pt x="2926" y="1"/>
                    </a:cubicBezTo>
                    <a:close/>
                  </a:path>
                </a:pathLst>
              </a:custGeom>
              <a:solidFill>
                <a:srgbClr val="D8D8D8"/>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sp>
          <p:nvSpPr>
            <p:cNvPr id="484" name="Google Shape;484;p30"/>
            <p:cNvSpPr txBox="1"/>
            <p:nvPr/>
          </p:nvSpPr>
          <p:spPr>
            <a:xfrm>
              <a:off x="1235933" y="4908751"/>
              <a:ext cx="6506514" cy="593600"/>
            </a:xfrm>
            <a:prstGeom prst="rect">
              <a:avLst/>
            </a:prstGeom>
            <a:noFill/>
            <a:ln>
              <a:noFill/>
            </a:ln>
          </p:spPr>
          <p:txBody>
            <a:bodyPr spcFirstLastPara="1" wrap="square" lIns="121900" tIns="60933" rIns="121900" bIns="60933" anchor="t" anchorCtr="0">
              <a:noAutofit/>
            </a:bodyPr>
            <a:lstStyle/>
            <a:p>
              <a:r>
                <a:rPr lang="en-GB" sz="2400" dirty="0">
                  <a:solidFill>
                    <a:srgbClr val="262626"/>
                  </a:solidFill>
                  <a:latin typeface="Baskerville Old Face" panose="02020602080505020303" pitchFamily="18" charset="0"/>
                  <a:ea typeface="Barlow"/>
                  <a:cs typeface="Barlow"/>
                  <a:sym typeface="Barlow"/>
                </a:rPr>
                <a:t>Churn.(</a:t>
              </a:r>
              <a:r>
                <a:rPr lang="en-US" sz="1400" dirty="0">
                  <a:solidFill>
                    <a:srgbClr val="262626"/>
                  </a:solidFill>
                  <a:latin typeface="Baskerville Old Face" panose="02020602080505020303" pitchFamily="18" charset="0"/>
                  <a:ea typeface="Barlow"/>
                  <a:cs typeface="Barlow"/>
                  <a:sym typeface="Barlow"/>
                </a:rPr>
                <a:t>We have 7043 customers but only 1869 of them churned (26.536987%)</a:t>
              </a:r>
              <a:r>
                <a:rPr lang="en-GB" sz="2400" dirty="0">
                  <a:solidFill>
                    <a:srgbClr val="262626"/>
                  </a:solidFill>
                  <a:latin typeface="Baskerville Old Face" panose="02020602080505020303" pitchFamily="18" charset="0"/>
                  <a:ea typeface="Barlow"/>
                  <a:cs typeface="Barlow"/>
                  <a:sym typeface="Barlow"/>
                </a:rPr>
                <a:t>)</a:t>
              </a:r>
              <a:endParaRPr sz="2400" dirty="0">
                <a:latin typeface="Baskerville Old Face" panose="02020602080505020303" pitchFamily="18" charset="0"/>
                <a:ea typeface="Barlow"/>
                <a:cs typeface="Barlow"/>
                <a:sym typeface="Barlow"/>
              </a:endParaRPr>
            </a:p>
          </p:txBody>
        </p:sp>
        <p:sp>
          <p:nvSpPr>
            <p:cNvPr id="486" name="Google Shape;486;p30"/>
            <p:cNvSpPr/>
            <p:nvPr/>
          </p:nvSpPr>
          <p:spPr>
            <a:xfrm>
              <a:off x="1263235" y="3522319"/>
              <a:ext cx="1132000" cy="1170800"/>
            </a:xfrm>
            <a:prstGeom prst="ellipse">
              <a:avLst/>
            </a:prstGeom>
            <a:solidFill>
              <a:schemeClr val="accent4"/>
            </a:solidFill>
            <a:ln>
              <a:noFill/>
            </a:ln>
          </p:spPr>
          <p:txBody>
            <a:bodyPr spcFirstLastPara="1" wrap="square" lIns="121900" tIns="60933" rIns="121900" bIns="60933" anchor="ctr" anchorCtr="0">
              <a:noAutofit/>
            </a:bodyPr>
            <a:lstStyle/>
            <a:p>
              <a:pPr algn="ctr"/>
              <a:r>
                <a:rPr lang="en-GB" sz="1400" b="1" dirty="0">
                  <a:solidFill>
                    <a:srgbClr val="FFFFFF"/>
                  </a:solidFill>
                  <a:latin typeface="Lato"/>
                  <a:ea typeface="Lato"/>
                  <a:cs typeface="Lato"/>
                  <a:sym typeface="Lato"/>
                </a:rPr>
                <a:t>26,5%</a:t>
              </a:r>
              <a:endParaRPr sz="1400" dirty="0"/>
            </a:p>
          </p:txBody>
        </p:sp>
        <p:sp>
          <p:nvSpPr>
            <p:cNvPr id="128" name="Freeform: Shape 127">
              <a:extLst>
                <a:ext uri="{FF2B5EF4-FFF2-40B4-BE49-F238E27FC236}">
                  <a16:creationId xmlns:a16="http://schemas.microsoft.com/office/drawing/2014/main" id="{C96EA535-2D11-490D-B64C-31EE1B2F558F}"/>
                </a:ext>
              </a:extLst>
            </p:cNvPr>
            <p:cNvSpPr/>
            <p:nvPr/>
          </p:nvSpPr>
          <p:spPr>
            <a:xfrm>
              <a:off x="2482445" y="4787215"/>
              <a:ext cx="1048177" cy="1048177"/>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29" name="Freeform: Shape 128">
            <a:extLst>
              <a:ext uri="{FF2B5EF4-FFF2-40B4-BE49-F238E27FC236}">
                <a16:creationId xmlns:a16="http://schemas.microsoft.com/office/drawing/2014/main" id="{B4036923-5E09-4C28-B503-9352ACAFE687}"/>
              </a:ext>
            </a:extLst>
          </p:cNvPr>
          <p:cNvSpPr/>
          <p:nvPr/>
        </p:nvSpPr>
        <p:spPr>
          <a:xfrm>
            <a:off x="8382843" y="1888373"/>
            <a:ext cx="1048177" cy="1048177"/>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0" name="Freeform: Shape 129">
            <a:extLst>
              <a:ext uri="{FF2B5EF4-FFF2-40B4-BE49-F238E27FC236}">
                <a16:creationId xmlns:a16="http://schemas.microsoft.com/office/drawing/2014/main" id="{C2B1C53F-9D89-4B5D-97BF-AD93CD232996}"/>
              </a:ext>
            </a:extLst>
          </p:cNvPr>
          <p:cNvSpPr/>
          <p:nvPr/>
        </p:nvSpPr>
        <p:spPr>
          <a:xfrm>
            <a:off x="8322888" y="3600088"/>
            <a:ext cx="1048177" cy="1048177"/>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1" name="Freeform: Shape 130">
            <a:extLst>
              <a:ext uri="{FF2B5EF4-FFF2-40B4-BE49-F238E27FC236}">
                <a16:creationId xmlns:a16="http://schemas.microsoft.com/office/drawing/2014/main" id="{86EE3D60-F1A5-48C3-A270-F70FA30D72E2}"/>
              </a:ext>
            </a:extLst>
          </p:cNvPr>
          <p:cNvSpPr/>
          <p:nvPr/>
        </p:nvSpPr>
        <p:spPr>
          <a:xfrm>
            <a:off x="8382126" y="5311303"/>
            <a:ext cx="1048177" cy="1048177"/>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2" name="Oval 131">
            <a:extLst>
              <a:ext uri="{FF2B5EF4-FFF2-40B4-BE49-F238E27FC236}">
                <a16:creationId xmlns:a16="http://schemas.microsoft.com/office/drawing/2014/main" id="{5EE01081-D0A4-4017-AF05-9A807D1EBE3E}"/>
              </a:ext>
            </a:extLst>
          </p:cNvPr>
          <p:cNvSpPr/>
          <p:nvPr/>
        </p:nvSpPr>
        <p:spPr>
          <a:xfrm>
            <a:off x="7964212" y="5437702"/>
            <a:ext cx="521515" cy="521515"/>
          </a:xfrm>
          <a:prstGeom prst="ellipse">
            <a:avLst/>
          </a:prstGeom>
          <a:solidFill>
            <a:srgbClr val="EB8DE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latin typeface="Georgia" panose="02040502050405020303" pitchFamily="18" charset="0"/>
              </a:rPr>
              <a:t>4</a:t>
            </a:r>
          </a:p>
        </p:txBody>
      </p:sp>
      <p:sp>
        <p:nvSpPr>
          <p:cNvPr id="133" name="Oval 132">
            <a:extLst>
              <a:ext uri="{FF2B5EF4-FFF2-40B4-BE49-F238E27FC236}">
                <a16:creationId xmlns:a16="http://schemas.microsoft.com/office/drawing/2014/main" id="{96AD4D8A-C312-4191-9700-C0262524499D}"/>
              </a:ext>
            </a:extLst>
          </p:cNvPr>
          <p:cNvSpPr/>
          <p:nvPr/>
        </p:nvSpPr>
        <p:spPr>
          <a:xfrm>
            <a:off x="7901666" y="3726487"/>
            <a:ext cx="521515" cy="521515"/>
          </a:xfrm>
          <a:prstGeom prst="ellipse">
            <a:avLst/>
          </a:prstGeom>
          <a:solidFill>
            <a:srgbClr val="EB8DE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latin typeface="Georgia" panose="02040502050405020303" pitchFamily="18" charset="0"/>
              </a:rPr>
              <a:t>3</a:t>
            </a:r>
          </a:p>
        </p:txBody>
      </p:sp>
      <p:sp>
        <p:nvSpPr>
          <p:cNvPr id="134" name="Oval 133">
            <a:extLst>
              <a:ext uri="{FF2B5EF4-FFF2-40B4-BE49-F238E27FC236}">
                <a16:creationId xmlns:a16="http://schemas.microsoft.com/office/drawing/2014/main" id="{D4D9B5CF-5A68-4405-A89C-0A700D9539ED}"/>
              </a:ext>
            </a:extLst>
          </p:cNvPr>
          <p:cNvSpPr/>
          <p:nvPr/>
        </p:nvSpPr>
        <p:spPr>
          <a:xfrm>
            <a:off x="7964212" y="2014772"/>
            <a:ext cx="521515" cy="521515"/>
          </a:xfrm>
          <a:prstGeom prst="ellipse">
            <a:avLst/>
          </a:prstGeom>
          <a:solidFill>
            <a:srgbClr val="EB8DE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latin typeface="Georgia" panose="02040502050405020303" pitchFamily="18" charset="0"/>
              </a:rPr>
              <a:t>2</a:t>
            </a:r>
          </a:p>
        </p:txBody>
      </p:sp>
      <p:sp>
        <p:nvSpPr>
          <p:cNvPr id="135" name="Oval 134">
            <a:extLst>
              <a:ext uri="{FF2B5EF4-FFF2-40B4-BE49-F238E27FC236}">
                <a16:creationId xmlns:a16="http://schemas.microsoft.com/office/drawing/2014/main" id="{9559798D-D70C-46B0-8BA7-3965B8E96220}"/>
              </a:ext>
            </a:extLst>
          </p:cNvPr>
          <p:cNvSpPr/>
          <p:nvPr/>
        </p:nvSpPr>
        <p:spPr>
          <a:xfrm>
            <a:off x="7901666" y="350169"/>
            <a:ext cx="521515" cy="521515"/>
          </a:xfrm>
          <a:prstGeom prst="ellipse">
            <a:avLst/>
          </a:prstGeom>
          <a:solidFill>
            <a:srgbClr val="EB8DE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latin typeface="Georgia" panose="02040502050405020303" pitchFamily="18" charset="0"/>
              </a:rPr>
              <a:t>1</a:t>
            </a:r>
          </a:p>
        </p:txBody>
      </p:sp>
      <p:grpSp>
        <p:nvGrpSpPr>
          <p:cNvPr id="136" name="Group 135">
            <a:extLst>
              <a:ext uri="{FF2B5EF4-FFF2-40B4-BE49-F238E27FC236}">
                <a16:creationId xmlns:a16="http://schemas.microsoft.com/office/drawing/2014/main" id="{F3DD30EE-A0E6-4549-AA77-3AADE44C6B19}"/>
              </a:ext>
            </a:extLst>
          </p:cNvPr>
          <p:cNvGrpSpPr/>
          <p:nvPr/>
        </p:nvGrpSpPr>
        <p:grpSpPr>
          <a:xfrm>
            <a:off x="8569219" y="633768"/>
            <a:ext cx="396399" cy="380683"/>
            <a:chOff x="9161463" y="3609976"/>
            <a:chExt cx="360363" cy="346075"/>
          </a:xfrm>
          <a:solidFill>
            <a:schemeClr val="bg1"/>
          </a:solidFill>
          <a:effectLst>
            <a:outerShdw blurRad="50800" dist="38100" dir="2700000" algn="tl" rotWithShape="0">
              <a:prstClr val="black">
                <a:alpha val="40000"/>
              </a:prstClr>
            </a:outerShdw>
          </a:effectLst>
        </p:grpSpPr>
        <p:sp>
          <p:nvSpPr>
            <p:cNvPr id="142" name="Freeform 21">
              <a:extLst>
                <a:ext uri="{FF2B5EF4-FFF2-40B4-BE49-F238E27FC236}">
                  <a16:creationId xmlns:a16="http://schemas.microsoft.com/office/drawing/2014/main" id="{0C1E132E-1B9B-4978-859A-C8C06913E71A}"/>
                </a:ext>
              </a:extLst>
            </p:cNvPr>
            <p:cNvSpPr>
              <a:spLocks noEditPoints="1"/>
            </p:cNvSpPr>
            <p:nvPr/>
          </p:nvSpPr>
          <p:spPr bwMode="auto">
            <a:xfrm>
              <a:off x="9205913" y="3609976"/>
              <a:ext cx="271463" cy="225425"/>
            </a:xfrm>
            <a:custGeom>
              <a:avLst/>
              <a:gdLst>
                <a:gd name="T0" fmla="*/ 4 w 72"/>
                <a:gd name="T1" fmla="*/ 12 h 60"/>
                <a:gd name="T2" fmla="*/ 24 w 72"/>
                <a:gd name="T3" fmla="*/ 12 h 60"/>
                <a:gd name="T4" fmla="*/ 24 w 72"/>
                <a:gd name="T5" fmla="*/ 54 h 60"/>
                <a:gd name="T6" fmla="*/ 24 w 72"/>
                <a:gd name="T7" fmla="*/ 60 h 60"/>
                <a:gd name="T8" fmla="*/ 48 w 72"/>
                <a:gd name="T9" fmla="*/ 60 h 60"/>
                <a:gd name="T10" fmla="*/ 48 w 72"/>
                <a:gd name="T11" fmla="*/ 54 h 60"/>
                <a:gd name="T12" fmla="*/ 50 w 72"/>
                <a:gd name="T13" fmla="*/ 52 h 60"/>
                <a:gd name="T14" fmla="*/ 72 w 72"/>
                <a:gd name="T15" fmla="*/ 52 h 60"/>
                <a:gd name="T16" fmla="*/ 72 w 72"/>
                <a:gd name="T17" fmla="*/ 2 h 60"/>
                <a:gd name="T18" fmla="*/ 70 w 72"/>
                <a:gd name="T19" fmla="*/ 0 h 60"/>
                <a:gd name="T20" fmla="*/ 26 w 72"/>
                <a:gd name="T21" fmla="*/ 0 h 60"/>
                <a:gd name="T22" fmla="*/ 24 w 72"/>
                <a:gd name="T23" fmla="*/ 2 h 60"/>
                <a:gd name="T24" fmla="*/ 24 w 72"/>
                <a:gd name="T25" fmla="*/ 8 h 60"/>
                <a:gd name="T26" fmla="*/ 2 w 72"/>
                <a:gd name="T27" fmla="*/ 8 h 60"/>
                <a:gd name="T28" fmla="*/ 0 w 72"/>
                <a:gd name="T29" fmla="*/ 10 h 60"/>
                <a:gd name="T30" fmla="*/ 0 w 72"/>
                <a:gd name="T31" fmla="*/ 52 h 60"/>
                <a:gd name="T32" fmla="*/ 4 w 72"/>
                <a:gd name="T33" fmla="*/ 52 h 60"/>
                <a:gd name="T34" fmla="*/ 4 w 72"/>
                <a:gd name="T35" fmla="*/ 12 h 60"/>
                <a:gd name="T36" fmla="*/ 42 w 72"/>
                <a:gd name="T37" fmla="*/ 12 h 60"/>
                <a:gd name="T38" fmla="*/ 62 w 72"/>
                <a:gd name="T39" fmla="*/ 12 h 60"/>
                <a:gd name="T40" fmla="*/ 64 w 72"/>
                <a:gd name="T41" fmla="*/ 14 h 60"/>
                <a:gd name="T42" fmla="*/ 62 w 72"/>
                <a:gd name="T43" fmla="*/ 16 h 60"/>
                <a:gd name="T44" fmla="*/ 42 w 72"/>
                <a:gd name="T45" fmla="*/ 16 h 60"/>
                <a:gd name="T46" fmla="*/ 40 w 72"/>
                <a:gd name="T47" fmla="*/ 14 h 60"/>
                <a:gd name="T48" fmla="*/ 42 w 72"/>
                <a:gd name="T49" fmla="*/ 12 h 60"/>
                <a:gd name="T50" fmla="*/ 34 w 72"/>
                <a:gd name="T51" fmla="*/ 20 h 60"/>
                <a:gd name="T52" fmla="*/ 62 w 72"/>
                <a:gd name="T53" fmla="*/ 20 h 60"/>
                <a:gd name="T54" fmla="*/ 64 w 72"/>
                <a:gd name="T55" fmla="*/ 22 h 60"/>
                <a:gd name="T56" fmla="*/ 62 w 72"/>
                <a:gd name="T57" fmla="*/ 24 h 60"/>
                <a:gd name="T58" fmla="*/ 34 w 72"/>
                <a:gd name="T59" fmla="*/ 24 h 60"/>
                <a:gd name="T60" fmla="*/ 32 w 72"/>
                <a:gd name="T61" fmla="*/ 22 h 60"/>
                <a:gd name="T62" fmla="*/ 34 w 72"/>
                <a:gd name="T63" fmla="*/ 20 h 60"/>
                <a:gd name="T64" fmla="*/ 34 w 72"/>
                <a:gd name="T65" fmla="*/ 28 h 60"/>
                <a:gd name="T66" fmla="*/ 62 w 72"/>
                <a:gd name="T67" fmla="*/ 28 h 60"/>
                <a:gd name="T68" fmla="*/ 64 w 72"/>
                <a:gd name="T69" fmla="*/ 30 h 60"/>
                <a:gd name="T70" fmla="*/ 62 w 72"/>
                <a:gd name="T71" fmla="*/ 32 h 60"/>
                <a:gd name="T72" fmla="*/ 34 w 72"/>
                <a:gd name="T73" fmla="*/ 32 h 60"/>
                <a:gd name="T74" fmla="*/ 32 w 72"/>
                <a:gd name="T75" fmla="*/ 30 h 60"/>
                <a:gd name="T76" fmla="*/ 34 w 72"/>
                <a:gd name="T77" fmla="*/ 28 h 60"/>
                <a:gd name="T78" fmla="*/ 34 w 72"/>
                <a:gd name="T79" fmla="*/ 36 h 60"/>
                <a:gd name="T80" fmla="*/ 62 w 72"/>
                <a:gd name="T81" fmla="*/ 36 h 60"/>
                <a:gd name="T82" fmla="*/ 64 w 72"/>
                <a:gd name="T83" fmla="*/ 38 h 60"/>
                <a:gd name="T84" fmla="*/ 62 w 72"/>
                <a:gd name="T85" fmla="*/ 40 h 60"/>
                <a:gd name="T86" fmla="*/ 34 w 72"/>
                <a:gd name="T87" fmla="*/ 40 h 60"/>
                <a:gd name="T88" fmla="*/ 32 w 72"/>
                <a:gd name="T89" fmla="*/ 38 h 60"/>
                <a:gd name="T90" fmla="*/ 34 w 72"/>
                <a:gd name="T91" fmla="*/ 36 h 60"/>
                <a:gd name="T92" fmla="*/ 34 w 72"/>
                <a:gd name="T93" fmla="*/ 44 h 60"/>
                <a:gd name="T94" fmla="*/ 62 w 72"/>
                <a:gd name="T95" fmla="*/ 44 h 60"/>
                <a:gd name="T96" fmla="*/ 64 w 72"/>
                <a:gd name="T97" fmla="*/ 46 h 60"/>
                <a:gd name="T98" fmla="*/ 62 w 72"/>
                <a:gd name="T99" fmla="*/ 48 h 60"/>
                <a:gd name="T100" fmla="*/ 34 w 72"/>
                <a:gd name="T101" fmla="*/ 48 h 60"/>
                <a:gd name="T102" fmla="*/ 32 w 72"/>
                <a:gd name="T103" fmla="*/ 46 h 60"/>
                <a:gd name="T104" fmla="*/ 34 w 72"/>
                <a:gd name="T105" fmla="*/ 4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 h="60">
                  <a:moveTo>
                    <a:pt x="4" y="12"/>
                  </a:moveTo>
                  <a:cubicBezTo>
                    <a:pt x="24" y="12"/>
                    <a:pt x="24" y="12"/>
                    <a:pt x="24" y="12"/>
                  </a:cubicBezTo>
                  <a:cubicBezTo>
                    <a:pt x="24" y="54"/>
                    <a:pt x="24" y="54"/>
                    <a:pt x="24" y="54"/>
                  </a:cubicBezTo>
                  <a:cubicBezTo>
                    <a:pt x="24" y="60"/>
                    <a:pt x="24" y="60"/>
                    <a:pt x="24" y="60"/>
                  </a:cubicBezTo>
                  <a:cubicBezTo>
                    <a:pt x="48" y="60"/>
                    <a:pt x="48" y="60"/>
                    <a:pt x="48" y="60"/>
                  </a:cubicBezTo>
                  <a:cubicBezTo>
                    <a:pt x="48" y="54"/>
                    <a:pt x="48" y="54"/>
                    <a:pt x="48" y="54"/>
                  </a:cubicBezTo>
                  <a:cubicBezTo>
                    <a:pt x="48" y="53"/>
                    <a:pt x="49" y="52"/>
                    <a:pt x="50" y="52"/>
                  </a:cubicBezTo>
                  <a:cubicBezTo>
                    <a:pt x="72" y="52"/>
                    <a:pt x="72" y="52"/>
                    <a:pt x="72" y="52"/>
                  </a:cubicBezTo>
                  <a:cubicBezTo>
                    <a:pt x="72" y="2"/>
                    <a:pt x="72" y="2"/>
                    <a:pt x="72" y="2"/>
                  </a:cubicBezTo>
                  <a:cubicBezTo>
                    <a:pt x="72" y="1"/>
                    <a:pt x="71" y="0"/>
                    <a:pt x="70" y="0"/>
                  </a:cubicBezTo>
                  <a:cubicBezTo>
                    <a:pt x="26" y="0"/>
                    <a:pt x="26" y="0"/>
                    <a:pt x="26" y="0"/>
                  </a:cubicBezTo>
                  <a:cubicBezTo>
                    <a:pt x="25" y="0"/>
                    <a:pt x="24" y="1"/>
                    <a:pt x="24" y="2"/>
                  </a:cubicBezTo>
                  <a:cubicBezTo>
                    <a:pt x="24" y="8"/>
                    <a:pt x="24" y="8"/>
                    <a:pt x="24" y="8"/>
                  </a:cubicBezTo>
                  <a:cubicBezTo>
                    <a:pt x="2" y="8"/>
                    <a:pt x="2" y="8"/>
                    <a:pt x="2" y="8"/>
                  </a:cubicBezTo>
                  <a:cubicBezTo>
                    <a:pt x="1" y="8"/>
                    <a:pt x="0" y="9"/>
                    <a:pt x="0" y="10"/>
                  </a:cubicBezTo>
                  <a:cubicBezTo>
                    <a:pt x="0" y="52"/>
                    <a:pt x="0" y="52"/>
                    <a:pt x="0" y="52"/>
                  </a:cubicBezTo>
                  <a:cubicBezTo>
                    <a:pt x="4" y="52"/>
                    <a:pt x="4" y="52"/>
                    <a:pt x="4" y="52"/>
                  </a:cubicBezTo>
                  <a:lnTo>
                    <a:pt x="4" y="12"/>
                  </a:lnTo>
                  <a:close/>
                  <a:moveTo>
                    <a:pt x="42" y="12"/>
                  </a:moveTo>
                  <a:cubicBezTo>
                    <a:pt x="62" y="12"/>
                    <a:pt x="62" y="12"/>
                    <a:pt x="62" y="12"/>
                  </a:cubicBezTo>
                  <a:cubicBezTo>
                    <a:pt x="63" y="12"/>
                    <a:pt x="64" y="13"/>
                    <a:pt x="64" y="14"/>
                  </a:cubicBezTo>
                  <a:cubicBezTo>
                    <a:pt x="64" y="15"/>
                    <a:pt x="63" y="16"/>
                    <a:pt x="62" y="16"/>
                  </a:cubicBezTo>
                  <a:cubicBezTo>
                    <a:pt x="42" y="16"/>
                    <a:pt x="42" y="16"/>
                    <a:pt x="42" y="16"/>
                  </a:cubicBezTo>
                  <a:cubicBezTo>
                    <a:pt x="41" y="16"/>
                    <a:pt x="40" y="15"/>
                    <a:pt x="40" y="14"/>
                  </a:cubicBezTo>
                  <a:cubicBezTo>
                    <a:pt x="40" y="13"/>
                    <a:pt x="41" y="12"/>
                    <a:pt x="42" y="12"/>
                  </a:cubicBezTo>
                  <a:close/>
                  <a:moveTo>
                    <a:pt x="34" y="20"/>
                  </a:moveTo>
                  <a:cubicBezTo>
                    <a:pt x="62" y="20"/>
                    <a:pt x="62" y="20"/>
                    <a:pt x="62" y="20"/>
                  </a:cubicBezTo>
                  <a:cubicBezTo>
                    <a:pt x="63" y="20"/>
                    <a:pt x="64" y="21"/>
                    <a:pt x="64" y="22"/>
                  </a:cubicBezTo>
                  <a:cubicBezTo>
                    <a:pt x="64" y="23"/>
                    <a:pt x="63" y="24"/>
                    <a:pt x="62" y="24"/>
                  </a:cubicBezTo>
                  <a:cubicBezTo>
                    <a:pt x="34" y="24"/>
                    <a:pt x="34" y="24"/>
                    <a:pt x="34" y="24"/>
                  </a:cubicBezTo>
                  <a:cubicBezTo>
                    <a:pt x="33" y="24"/>
                    <a:pt x="32" y="23"/>
                    <a:pt x="32" y="22"/>
                  </a:cubicBezTo>
                  <a:cubicBezTo>
                    <a:pt x="32" y="21"/>
                    <a:pt x="33" y="20"/>
                    <a:pt x="34" y="20"/>
                  </a:cubicBezTo>
                  <a:close/>
                  <a:moveTo>
                    <a:pt x="34" y="28"/>
                  </a:moveTo>
                  <a:cubicBezTo>
                    <a:pt x="62" y="28"/>
                    <a:pt x="62" y="28"/>
                    <a:pt x="62" y="28"/>
                  </a:cubicBezTo>
                  <a:cubicBezTo>
                    <a:pt x="63" y="28"/>
                    <a:pt x="64" y="29"/>
                    <a:pt x="64" y="30"/>
                  </a:cubicBezTo>
                  <a:cubicBezTo>
                    <a:pt x="64" y="31"/>
                    <a:pt x="63" y="32"/>
                    <a:pt x="62" y="32"/>
                  </a:cubicBezTo>
                  <a:cubicBezTo>
                    <a:pt x="34" y="32"/>
                    <a:pt x="34" y="32"/>
                    <a:pt x="34" y="32"/>
                  </a:cubicBezTo>
                  <a:cubicBezTo>
                    <a:pt x="33" y="32"/>
                    <a:pt x="32" y="31"/>
                    <a:pt x="32" y="30"/>
                  </a:cubicBezTo>
                  <a:cubicBezTo>
                    <a:pt x="32" y="29"/>
                    <a:pt x="33" y="28"/>
                    <a:pt x="34" y="28"/>
                  </a:cubicBezTo>
                  <a:close/>
                  <a:moveTo>
                    <a:pt x="34" y="36"/>
                  </a:moveTo>
                  <a:cubicBezTo>
                    <a:pt x="62" y="36"/>
                    <a:pt x="62" y="36"/>
                    <a:pt x="62" y="36"/>
                  </a:cubicBezTo>
                  <a:cubicBezTo>
                    <a:pt x="63" y="36"/>
                    <a:pt x="64" y="37"/>
                    <a:pt x="64" y="38"/>
                  </a:cubicBezTo>
                  <a:cubicBezTo>
                    <a:pt x="64" y="39"/>
                    <a:pt x="63" y="40"/>
                    <a:pt x="62" y="40"/>
                  </a:cubicBezTo>
                  <a:cubicBezTo>
                    <a:pt x="34" y="40"/>
                    <a:pt x="34" y="40"/>
                    <a:pt x="34" y="40"/>
                  </a:cubicBezTo>
                  <a:cubicBezTo>
                    <a:pt x="33" y="40"/>
                    <a:pt x="32" y="39"/>
                    <a:pt x="32" y="38"/>
                  </a:cubicBezTo>
                  <a:cubicBezTo>
                    <a:pt x="32" y="37"/>
                    <a:pt x="33" y="36"/>
                    <a:pt x="34" y="36"/>
                  </a:cubicBezTo>
                  <a:close/>
                  <a:moveTo>
                    <a:pt x="34" y="44"/>
                  </a:moveTo>
                  <a:cubicBezTo>
                    <a:pt x="62" y="44"/>
                    <a:pt x="62" y="44"/>
                    <a:pt x="62" y="44"/>
                  </a:cubicBezTo>
                  <a:cubicBezTo>
                    <a:pt x="63" y="44"/>
                    <a:pt x="64" y="45"/>
                    <a:pt x="64" y="46"/>
                  </a:cubicBezTo>
                  <a:cubicBezTo>
                    <a:pt x="64" y="47"/>
                    <a:pt x="63" y="48"/>
                    <a:pt x="62" y="48"/>
                  </a:cubicBezTo>
                  <a:cubicBezTo>
                    <a:pt x="34" y="48"/>
                    <a:pt x="34" y="48"/>
                    <a:pt x="34" y="48"/>
                  </a:cubicBezTo>
                  <a:cubicBezTo>
                    <a:pt x="33" y="48"/>
                    <a:pt x="32" y="47"/>
                    <a:pt x="32" y="46"/>
                  </a:cubicBezTo>
                  <a:cubicBezTo>
                    <a:pt x="32" y="45"/>
                    <a:pt x="33" y="44"/>
                    <a:pt x="3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3" name="Freeform 22">
              <a:extLst>
                <a:ext uri="{FF2B5EF4-FFF2-40B4-BE49-F238E27FC236}">
                  <a16:creationId xmlns:a16="http://schemas.microsoft.com/office/drawing/2014/main" id="{56288F0D-F7B2-4935-A94E-E0BA896A1295}"/>
                </a:ext>
              </a:extLst>
            </p:cNvPr>
            <p:cNvSpPr>
              <a:spLocks/>
            </p:cNvSpPr>
            <p:nvPr/>
          </p:nvSpPr>
          <p:spPr bwMode="auto">
            <a:xfrm>
              <a:off x="9161463" y="3819526"/>
              <a:ext cx="360363" cy="136525"/>
            </a:xfrm>
            <a:custGeom>
              <a:avLst/>
              <a:gdLst>
                <a:gd name="T0" fmla="*/ 94 w 96"/>
                <a:gd name="T1" fmla="*/ 0 h 36"/>
                <a:gd name="T2" fmla="*/ 66 w 96"/>
                <a:gd name="T3" fmla="*/ 0 h 36"/>
                <a:gd name="T4" fmla="*/ 64 w 96"/>
                <a:gd name="T5" fmla="*/ 0 h 36"/>
                <a:gd name="T6" fmla="*/ 64 w 96"/>
                <a:gd name="T7" fmla="*/ 2 h 36"/>
                <a:gd name="T8" fmla="*/ 64 w 96"/>
                <a:gd name="T9" fmla="*/ 6 h 36"/>
                <a:gd name="T10" fmla="*/ 62 w 96"/>
                <a:gd name="T11" fmla="*/ 8 h 36"/>
                <a:gd name="T12" fmla="*/ 34 w 96"/>
                <a:gd name="T13" fmla="*/ 8 h 36"/>
                <a:gd name="T14" fmla="*/ 32 w 96"/>
                <a:gd name="T15" fmla="*/ 8 h 36"/>
                <a:gd name="T16" fmla="*/ 32 w 96"/>
                <a:gd name="T17" fmla="*/ 6 h 36"/>
                <a:gd name="T18" fmla="*/ 32 w 96"/>
                <a:gd name="T19" fmla="*/ 2 h 36"/>
                <a:gd name="T20" fmla="*/ 30 w 96"/>
                <a:gd name="T21" fmla="*/ 0 h 36"/>
                <a:gd name="T22" fmla="*/ 2 w 96"/>
                <a:gd name="T23" fmla="*/ 0 h 36"/>
                <a:gd name="T24" fmla="*/ 0 w 96"/>
                <a:gd name="T25" fmla="*/ 2 h 36"/>
                <a:gd name="T26" fmla="*/ 0 w 96"/>
                <a:gd name="T27" fmla="*/ 34 h 36"/>
                <a:gd name="T28" fmla="*/ 2 w 96"/>
                <a:gd name="T29" fmla="*/ 36 h 36"/>
                <a:gd name="T30" fmla="*/ 94 w 96"/>
                <a:gd name="T31" fmla="*/ 36 h 36"/>
                <a:gd name="T32" fmla="*/ 96 w 96"/>
                <a:gd name="T33" fmla="*/ 34 h 36"/>
                <a:gd name="T34" fmla="*/ 96 w 96"/>
                <a:gd name="T35" fmla="*/ 2 h 36"/>
                <a:gd name="T36" fmla="*/ 94 w 96"/>
                <a:gd name="T3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36">
                  <a:moveTo>
                    <a:pt x="94" y="0"/>
                  </a:moveTo>
                  <a:cubicBezTo>
                    <a:pt x="66" y="0"/>
                    <a:pt x="66" y="0"/>
                    <a:pt x="66" y="0"/>
                  </a:cubicBezTo>
                  <a:cubicBezTo>
                    <a:pt x="64" y="0"/>
                    <a:pt x="64" y="0"/>
                    <a:pt x="64" y="0"/>
                  </a:cubicBezTo>
                  <a:cubicBezTo>
                    <a:pt x="64" y="2"/>
                    <a:pt x="64" y="2"/>
                    <a:pt x="64" y="2"/>
                  </a:cubicBezTo>
                  <a:cubicBezTo>
                    <a:pt x="64" y="6"/>
                    <a:pt x="64" y="6"/>
                    <a:pt x="64" y="6"/>
                  </a:cubicBezTo>
                  <a:cubicBezTo>
                    <a:pt x="64" y="7"/>
                    <a:pt x="63" y="8"/>
                    <a:pt x="62" y="8"/>
                  </a:cubicBezTo>
                  <a:cubicBezTo>
                    <a:pt x="34" y="8"/>
                    <a:pt x="34" y="8"/>
                    <a:pt x="34" y="8"/>
                  </a:cubicBezTo>
                  <a:cubicBezTo>
                    <a:pt x="32" y="8"/>
                    <a:pt x="32" y="8"/>
                    <a:pt x="32" y="8"/>
                  </a:cubicBezTo>
                  <a:cubicBezTo>
                    <a:pt x="32" y="6"/>
                    <a:pt x="32" y="6"/>
                    <a:pt x="32" y="6"/>
                  </a:cubicBezTo>
                  <a:cubicBezTo>
                    <a:pt x="32" y="2"/>
                    <a:pt x="32" y="2"/>
                    <a:pt x="32" y="2"/>
                  </a:cubicBezTo>
                  <a:cubicBezTo>
                    <a:pt x="32" y="1"/>
                    <a:pt x="31" y="0"/>
                    <a:pt x="30" y="0"/>
                  </a:cubicBezTo>
                  <a:cubicBezTo>
                    <a:pt x="2" y="0"/>
                    <a:pt x="2" y="0"/>
                    <a:pt x="2" y="0"/>
                  </a:cubicBezTo>
                  <a:cubicBezTo>
                    <a:pt x="1" y="0"/>
                    <a:pt x="0" y="1"/>
                    <a:pt x="0" y="2"/>
                  </a:cubicBezTo>
                  <a:cubicBezTo>
                    <a:pt x="0" y="34"/>
                    <a:pt x="0" y="34"/>
                    <a:pt x="0" y="34"/>
                  </a:cubicBezTo>
                  <a:cubicBezTo>
                    <a:pt x="0" y="35"/>
                    <a:pt x="1" y="36"/>
                    <a:pt x="2" y="36"/>
                  </a:cubicBezTo>
                  <a:cubicBezTo>
                    <a:pt x="94" y="36"/>
                    <a:pt x="94" y="36"/>
                    <a:pt x="94" y="36"/>
                  </a:cubicBezTo>
                  <a:cubicBezTo>
                    <a:pt x="95" y="36"/>
                    <a:pt x="96" y="35"/>
                    <a:pt x="96" y="34"/>
                  </a:cubicBezTo>
                  <a:cubicBezTo>
                    <a:pt x="96" y="2"/>
                    <a:pt x="96" y="2"/>
                    <a:pt x="96" y="2"/>
                  </a:cubicBezTo>
                  <a:cubicBezTo>
                    <a:pt x="96" y="1"/>
                    <a:pt x="95" y="0"/>
                    <a:pt x="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37" name="Group 136">
            <a:extLst>
              <a:ext uri="{FF2B5EF4-FFF2-40B4-BE49-F238E27FC236}">
                <a16:creationId xmlns:a16="http://schemas.microsoft.com/office/drawing/2014/main" id="{1E45F498-4F5A-48AB-9CA9-5F2B03EBEDAE}"/>
              </a:ext>
            </a:extLst>
          </p:cNvPr>
          <p:cNvGrpSpPr/>
          <p:nvPr/>
        </p:nvGrpSpPr>
        <p:grpSpPr>
          <a:xfrm>
            <a:off x="8611945" y="2360974"/>
            <a:ext cx="436039" cy="255477"/>
            <a:chOff x="4113213" y="4046538"/>
            <a:chExt cx="360363" cy="211138"/>
          </a:xfrm>
          <a:solidFill>
            <a:schemeClr val="bg1"/>
          </a:solidFill>
          <a:effectLst>
            <a:outerShdw blurRad="50800" dist="38100" dir="2700000" algn="tl" rotWithShape="0">
              <a:prstClr val="black">
                <a:alpha val="40000"/>
              </a:prstClr>
            </a:outerShdw>
          </a:effectLst>
        </p:grpSpPr>
        <p:sp>
          <p:nvSpPr>
            <p:cNvPr id="140" name="Freeform 84">
              <a:extLst>
                <a:ext uri="{FF2B5EF4-FFF2-40B4-BE49-F238E27FC236}">
                  <a16:creationId xmlns:a16="http://schemas.microsoft.com/office/drawing/2014/main" id="{69612F46-A359-455E-8160-4614EF52C6DC}"/>
                </a:ext>
              </a:extLst>
            </p:cNvPr>
            <p:cNvSpPr>
              <a:spLocks noEditPoints="1"/>
            </p:cNvSpPr>
            <p:nvPr/>
          </p:nvSpPr>
          <p:spPr bwMode="auto">
            <a:xfrm>
              <a:off x="4240213" y="4098925"/>
              <a:ext cx="104775" cy="104775"/>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6 w 28"/>
                <a:gd name="T11" fmla="*/ 12 h 28"/>
                <a:gd name="T12" fmla="*/ 8 w 28"/>
                <a:gd name="T13" fmla="*/ 14 h 28"/>
                <a:gd name="T14" fmla="*/ 14 w 28"/>
                <a:gd name="T15" fmla="*/ 20 h 28"/>
                <a:gd name="T16" fmla="*/ 20 w 28"/>
                <a:gd name="T17" fmla="*/ 14 h 28"/>
                <a:gd name="T18" fmla="*/ 14 w 28"/>
                <a:gd name="T19" fmla="*/ 8 h 28"/>
                <a:gd name="T20" fmla="*/ 12 w 28"/>
                <a:gd name="T21" fmla="*/ 6 h 28"/>
                <a:gd name="T22" fmla="*/ 14 w 28"/>
                <a:gd name="T23" fmla="*/ 4 h 28"/>
                <a:gd name="T24" fmla="*/ 24 w 28"/>
                <a:gd name="T25" fmla="*/ 14 h 28"/>
                <a:gd name="T26" fmla="*/ 14 w 28"/>
                <a:gd name="T27" fmla="*/ 24 h 28"/>
                <a:gd name="T28" fmla="*/ 4 w 28"/>
                <a:gd name="T29" fmla="*/ 14 h 28"/>
                <a:gd name="T30" fmla="*/ 6 w 28"/>
                <a:gd name="T31"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6" y="12"/>
                  </a:moveTo>
                  <a:cubicBezTo>
                    <a:pt x="7" y="12"/>
                    <a:pt x="8" y="13"/>
                    <a:pt x="8" y="14"/>
                  </a:cubicBezTo>
                  <a:cubicBezTo>
                    <a:pt x="8" y="17"/>
                    <a:pt x="11" y="20"/>
                    <a:pt x="14" y="20"/>
                  </a:cubicBezTo>
                  <a:cubicBezTo>
                    <a:pt x="17" y="20"/>
                    <a:pt x="20" y="17"/>
                    <a:pt x="20" y="14"/>
                  </a:cubicBezTo>
                  <a:cubicBezTo>
                    <a:pt x="20" y="11"/>
                    <a:pt x="17" y="8"/>
                    <a:pt x="14" y="8"/>
                  </a:cubicBezTo>
                  <a:cubicBezTo>
                    <a:pt x="13" y="8"/>
                    <a:pt x="12" y="7"/>
                    <a:pt x="12" y="6"/>
                  </a:cubicBezTo>
                  <a:cubicBezTo>
                    <a:pt x="12" y="5"/>
                    <a:pt x="13" y="4"/>
                    <a:pt x="14" y="4"/>
                  </a:cubicBezTo>
                  <a:cubicBezTo>
                    <a:pt x="20" y="4"/>
                    <a:pt x="24" y="8"/>
                    <a:pt x="24" y="14"/>
                  </a:cubicBezTo>
                  <a:cubicBezTo>
                    <a:pt x="24" y="20"/>
                    <a:pt x="20" y="24"/>
                    <a:pt x="14" y="24"/>
                  </a:cubicBezTo>
                  <a:cubicBezTo>
                    <a:pt x="8" y="24"/>
                    <a:pt x="4" y="20"/>
                    <a:pt x="4" y="14"/>
                  </a:cubicBezTo>
                  <a:cubicBezTo>
                    <a:pt x="4" y="13"/>
                    <a:pt x="5"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1" name="Freeform 85">
              <a:extLst>
                <a:ext uri="{FF2B5EF4-FFF2-40B4-BE49-F238E27FC236}">
                  <a16:creationId xmlns:a16="http://schemas.microsoft.com/office/drawing/2014/main" id="{7C64AE06-0C13-42AD-95DE-89AF67828EEC}"/>
                </a:ext>
              </a:extLst>
            </p:cNvPr>
            <p:cNvSpPr>
              <a:spLocks noEditPoints="1"/>
            </p:cNvSpPr>
            <p:nvPr/>
          </p:nvSpPr>
          <p:spPr bwMode="auto">
            <a:xfrm>
              <a:off x="4113213" y="4046538"/>
              <a:ext cx="360363" cy="211138"/>
            </a:xfrm>
            <a:custGeom>
              <a:avLst/>
              <a:gdLst>
                <a:gd name="T0" fmla="*/ 0 w 96"/>
                <a:gd name="T1" fmla="*/ 29 h 56"/>
                <a:gd name="T2" fmla="*/ 48 w 96"/>
                <a:gd name="T3" fmla="*/ 56 h 56"/>
                <a:gd name="T4" fmla="*/ 96 w 96"/>
                <a:gd name="T5" fmla="*/ 29 h 56"/>
                <a:gd name="T6" fmla="*/ 96 w 96"/>
                <a:gd name="T7" fmla="*/ 27 h 56"/>
                <a:gd name="T8" fmla="*/ 48 w 96"/>
                <a:gd name="T9" fmla="*/ 0 h 56"/>
                <a:gd name="T10" fmla="*/ 0 w 96"/>
                <a:gd name="T11" fmla="*/ 27 h 56"/>
                <a:gd name="T12" fmla="*/ 0 w 96"/>
                <a:gd name="T13" fmla="*/ 29 h 56"/>
                <a:gd name="T14" fmla="*/ 48 w 96"/>
                <a:gd name="T15" fmla="*/ 10 h 56"/>
                <a:gd name="T16" fmla="*/ 66 w 96"/>
                <a:gd name="T17" fmla="*/ 28 h 56"/>
                <a:gd name="T18" fmla="*/ 48 w 96"/>
                <a:gd name="T19" fmla="*/ 46 h 56"/>
                <a:gd name="T20" fmla="*/ 30 w 96"/>
                <a:gd name="T21" fmla="*/ 28 h 56"/>
                <a:gd name="T22" fmla="*/ 48 w 96"/>
                <a:gd name="T23"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56">
                  <a:moveTo>
                    <a:pt x="0" y="29"/>
                  </a:moveTo>
                  <a:cubicBezTo>
                    <a:pt x="1" y="30"/>
                    <a:pt x="22" y="56"/>
                    <a:pt x="48" y="56"/>
                  </a:cubicBezTo>
                  <a:cubicBezTo>
                    <a:pt x="74" y="56"/>
                    <a:pt x="95" y="30"/>
                    <a:pt x="96" y="29"/>
                  </a:cubicBezTo>
                  <a:cubicBezTo>
                    <a:pt x="96" y="29"/>
                    <a:pt x="96" y="27"/>
                    <a:pt x="96" y="27"/>
                  </a:cubicBezTo>
                  <a:cubicBezTo>
                    <a:pt x="95" y="26"/>
                    <a:pt x="74" y="0"/>
                    <a:pt x="48" y="0"/>
                  </a:cubicBezTo>
                  <a:cubicBezTo>
                    <a:pt x="22" y="0"/>
                    <a:pt x="1" y="26"/>
                    <a:pt x="0" y="27"/>
                  </a:cubicBezTo>
                  <a:cubicBezTo>
                    <a:pt x="0" y="27"/>
                    <a:pt x="0" y="29"/>
                    <a:pt x="0" y="29"/>
                  </a:cubicBezTo>
                  <a:close/>
                  <a:moveTo>
                    <a:pt x="48" y="10"/>
                  </a:moveTo>
                  <a:cubicBezTo>
                    <a:pt x="58" y="10"/>
                    <a:pt x="66" y="18"/>
                    <a:pt x="66" y="28"/>
                  </a:cubicBezTo>
                  <a:cubicBezTo>
                    <a:pt x="66" y="38"/>
                    <a:pt x="58" y="46"/>
                    <a:pt x="48" y="46"/>
                  </a:cubicBezTo>
                  <a:cubicBezTo>
                    <a:pt x="38" y="46"/>
                    <a:pt x="30" y="38"/>
                    <a:pt x="30" y="28"/>
                  </a:cubicBezTo>
                  <a:cubicBezTo>
                    <a:pt x="30" y="18"/>
                    <a:pt x="38" y="10"/>
                    <a:pt x="4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38" name="Freeform 104">
            <a:extLst>
              <a:ext uri="{FF2B5EF4-FFF2-40B4-BE49-F238E27FC236}">
                <a16:creationId xmlns:a16="http://schemas.microsoft.com/office/drawing/2014/main" id="{5EBE6740-4324-4FD9-9DA5-D7702950CD73}"/>
              </a:ext>
            </a:extLst>
          </p:cNvPr>
          <p:cNvSpPr>
            <a:spLocks noEditPoints="1"/>
          </p:cNvSpPr>
          <p:nvPr/>
        </p:nvSpPr>
        <p:spPr bwMode="auto">
          <a:xfrm>
            <a:off x="8569219" y="4001355"/>
            <a:ext cx="396399" cy="398145"/>
          </a:xfrm>
          <a:custGeom>
            <a:avLst/>
            <a:gdLst>
              <a:gd name="T0" fmla="*/ 36 w 96"/>
              <a:gd name="T1" fmla="*/ 72 h 96"/>
              <a:gd name="T2" fmla="*/ 59 w 96"/>
              <a:gd name="T3" fmla="*/ 64 h 96"/>
              <a:gd name="T4" fmla="*/ 89 w 96"/>
              <a:gd name="T5" fmla="*/ 95 h 96"/>
              <a:gd name="T6" fmla="*/ 95 w 96"/>
              <a:gd name="T7" fmla="*/ 95 h 96"/>
              <a:gd name="T8" fmla="*/ 95 w 96"/>
              <a:gd name="T9" fmla="*/ 89 h 96"/>
              <a:gd name="T10" fmla="*/ 64 w 96"/>
              <a:gd name="T11" fmla="*/ 58 h 96"/>
              <a:gd name="T12" fmla="*/ 72 w 96"/>
              <a:gd name="T13" fmla="*/ 36 h 96"/>
              <a:gd name="T14" fmla="*/ 36 w 96"/>
              <a:gd name="T15" fmla="*/ 0 h 96"/>
              <a:gd name="T16" fmla="*/ 0 w 96"/>
              <a:gd name="T17" fmla="*/ 36 h 96"/>
              <a:gd name="T18" fmla="*/ 36 w 96"/>
              <a:gd name="T19" fmla="*/ 72 h 96"/>
              <a:gd name="T20" fmla="*/ 36 w 96"/>
              <a:gd name="T21" fmla="*/ 8 h 96"/>
              <a:gd name="T22" fmla="*/ 64 w 96"/>
              <a:gd name="T23" fmla="*/ 36 h 96"/>
              <a:gd name="T24" fmla="*/ 36 w 96"/>
              <a:gd name="T25" fmla="*/ 64 h 96"/>
              <a:gd name="T26" fmla="*/ 8 w 96"/>
              <a:gd name="T27" fmla="*/ 36 h 96"/>
              <a:gd name="T28" fmla="*/ 36 w 96"/>
              <a:gd name="T2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36" y="72"/>
                </a:moveTo>
                <a:cubicBezTo>
                  <a:pt x="45" y="72"/>
                  <a:pt x="52" y="69"/>
                  <a:pt x="59" y="64"/>
                </a:cubicBezTo>
                <a:cubicBezTo>
                  <a:pt x="89" y="95"/>
                  <a:pt x="89" y="95"/>
                  <a:pt x="89" y="95"/>
                </a:cubicBezTo>
                <a:cubicBezTo>
                  <a:pt x="91" y="96"/>
                  <a:pt x="93" y="96"/>
                  <a:pt x="95" y="95"/>
                </a:cubicBezTo>
                <a:cubicBezTo>
                  <a:pt x="96" y="93"/>
                  <a:pt x="96" y="91"/>
                  <a:pt x="95" y="89"/>
                </a:cubicBezTo>
                <a:cubicBezTo>
                  <a:pt x="64" y="58"/>
                  <a:pt x="64" y="58"/>
                  <a:pt x="64" y="58"/>
                </a:cubicBezTo>
                <a:cubicBezTo>
                  <a:pt x="69" y="52"/>
                  <a:pt x="72" y="44"/>
                  <a:pt x="72" y="36"/>
                </a:cubicBezTo>
                <a:cubicBezTo>
                  <a:pt x="72" y="16"/>
                  <a:pt x="56" y="0"/>
                  <a:pt x="36" y="0"/>
                </a:cubicBezTo>
                <a:cubicBezTo>
                  <a:pt x="16" y="0"/>
                  <a:pt x="0" y="16"/>
                  <a:pt x="0" y="36"/>
                </a:cubicBezTo>
                <a:cubicBezTo>
                  <a:pt x="0" y="56"/>
                  <a:pt x="16" y="72"/>
                  <a:pt x="36" y="72"/>
                </a:cubicBezTo>
                <a:close/>
                <a:moveTo>
                  <a:pt x="36" y="8"/>
                </a:moveTo>
                <a:cubicBezTo>
                  <a:pt x="51" y="8"/>
                  <a:pt x="64" y="21"/>
                  <a:pt x="64" y="36"/>
                </a:cubicBezTo>
                <a:cubicBezTo>
                  <a:pt x="64" y="51"/>
                  <a:pt x="51" y="64"/>
                  <a:pt x="36" y="64"/>
                </a:cubicBezTo>
                <a:cubicBezTo>
                  <a:pt x="21" y="64"/>
                  <a:pt x="8" y="51"/>
                  <a:pt x="8" y="36"/>
                </a:cubicBezTo>
                <a:cubicBezTo>
                  <a:pt x="8" y="21"/>
                  <a:pt x="21" y="8"/>
                  <a:pt x="36" y="8"/>
                </a:cubicBezTo>
                <a:close/>
              </a:path>
            </a:pathLst>
          </a:custGeom>
          <a:solidFill>
            <a:schemeClr val="bg1"/>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id-ID"/>
          </a:p>
        </p:txBody>
      </p:sp>
      <p:sp>
        <p:nvSpPr>
          <p:cNvPr id="139" name="Freeform 17">
            <a:extLst>
              <a:ext uri="{FF2B5EF4-FFF2-40B4-BE49-F238E27FC236}">
                <a16:creationId xmlns:a16="http://schemas.microsoft.com/office/drawing/2014/main" id="{C7DA009D-1607-46A8-B4A9-6EDBE440C78A}"/>
              </a:ext>
            </a:extLst>
          </p:cNvPr>
          <p:cNvSpPr>
            <a:spLocks/>
          </p:cNvSpPr>
          <p:nvPr/>
        </p:nvSpPr>
        <p:spPr bwMode="auto">
          <a:xfrm>
            <a:off x="8611945" y="5723396"/>
            <a:ext cx="436039" cy="376492"/>
          </a:xfrm>
          <a:custGeom>
            <a:avLst/>
            <a:gdLst>
              <a:gd name="T0" fmla="*/ 95 w 96"/>
              <a:gd name="T1" fmla="*/ 15 h 82"/>
              <a:gd name="T2" fmla="*/ 81 w 96"/>
              <a:gd name="T3" fmla="*/ 1 h 82"/>
              <a:gd name="T4" fmla="*/ 79 w 96"/>
              <a:gd name="T5" fmla="*/ 1 h 82"/>
              <a:gd name="T6" fmla="*/ 30 w 96"/>
              <a:gd name="T7" fmla="*/ 49 h 82"/>
              <a:gd name="T8" fmla="*/ 17 w 96"/>
              <a:gd name="T9" fmla="*/ 37 h 82"/>
              <a:gd name="T10" fmla="*/ 15 w 96"/>
              <a:gd name="T11" fmla="*/ 37 h 82"/>
              <a:gd name="T12" fmla="*/ 1 w 96"/>
              <a:gd name="T13" fmla="*/ 51 h 82"/>
              <a:gd name="T14" fmla="*/ 1 w 96"/>
              <a:gd name="T15" fmla="*/ 53 h 82"/>
              <a:gd name="T16" fmla="*/ 29 w 96"/>
              <a:gd name="T17" fmla="*/ 81 h 82"/>
              <a:gd name="T18" fmla="*/ 30 w 96"/>
              <a:gd name="T19" fmla="*/ 82 h 82"/>
              <a:gd name="T20" fmla="*/ 31 w 96"/>
              <a:gd name="T21" fmla="*/ 81 h 82"/>
              <a:gd name="T22" fmla="*/ 95 w 96"/>
              <a:gd name="T23" fmla="*/ 17 h 82"/>
              <a:gd name="T24" fmla="*/ 95 w 96"/>
              <a:gd name="T25" fmla="*/ 1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82">
                <a:moveTo>
                  <a:pt x="95" y="15"/>
                </a:moveTo>
                <a:cubicBezTo>
                  <a:pt x="81" y="1"/>
                  <a:pt x="81" y="1"/>
                  <a:pt x="81" y="1"/>
                </a:cubicBezTo>
                <a:cubicBezTo>
                  <a:pt x="81" y="0"/>
                  <a:pt x="79" y="0"/>
                  <a:pt x="79" y="1"/>
                </a:cubicBezTo>
                <a:cubicBezTo>
                  <a:pt x="30" y="49"/>
                  <a:pt x="30" y="49"/>
                  <a:pt x="30" y="49"/>
                </a:cubicBezTo>
                <a:cubicBezTo>
                  <a:pt x="17" y="37"/>
                  <a:pt x="17" y="37"/>
                  <a:pt x="17" y="37"/>
                </a:cubicBezTo>
                <a:cubicBezTo>
                  <a:pt x="17" y="36"/>
                  <a:pt x="15" y="36"/>
                  <a:pt x="15" y="37"/>
                </a:cubicBezTo>
                <a:cubicBezTo>
                  <a:pt x="1" y="51"/>
                  <a:pt x="1" y="51"/>
                  <a:pt x="1" y="51"/>
                </a:cubicBezTo>
                <a:cubicBezTo>
                  <a:pt x="0" y="51"/>
                  <a:pt x="0" y="53"/>
                  <a:pt x="1" y="53"/>
                </a:cubicBezTo>
                <a:cubicBezTo>
                  <a:pt x="29" y="81"/>
                  <a:pt x="29" y="81"/>
                  <a:pt x="29" y="81"/>
                </a:cubicBezTo>
                <a:cubicBezTo>
                  <a:pt x="29" y="82"/>
                  <a:pt x="29" y="82"/>
                  <a:pt x="30" y="82"/>
                </a:cubicBezTo>
                <a:cubicBezTo>
                  <a:pt x="31" y="82"/>
                  <a:pt x="31" y="82"/>
                  <a:pt x="31" y="81"/>
                </a:cubicBezTo>
                <a:cubicBezTo>
                  <a:pt x="95" y="17"/>
                  <a:pt x="95" y="17"/>
                  <a:pt x="95" y="17"/>
                </a:cubicBezTo>
                <a:cubicBezTo>
                  <a:pt x="96" y="17"/>
                  <a:pt x="96" y="15"/>
                  <a:pt x="95" y="15"/>
                </a:cubicBezTo>
                <a:close/>
              </a:path>
            </a:pathLst>
          </a:custGeom>
          <a:solidFill>
            <a:schemeClr val="bg1"/>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id-ID"/>
          </a:p>
        </p:txBody>
      </p:sp>
      <p:sp>
        <p:nvSpPr>
          <p:cNvPr id="146" name="TextBox 145">
            <a:extLst>
              <a:ext uri="{FF2B5EF4-FFF2-40B4-BE49-F238E27FC236}">
                <a16:creationId xmlns:a16="http://schemas.microsoft.com/office/drawing/2014/main" id="{27C727E8-1085-4592-A764-318E78E50309}"/>
              </a:ext>
            </a:extLst>
          </p:cNvPr>
          <p:cNvSpPr txBox="1"/>
          <p:nvPr/>
        </p:nvSpPr>
        <p:spPr>
          <a:xfrm>
            <a:off x="9376302" y="171667"/>
            <a:ext cx="2602693" cy="6524863"/>
          </a:xfrm>
          <a:prstGeom prst="rect">
            <a:avLst/>
          </a:prstGeom>
          <a:noFill/>
        </p:spPr>
        <p:txBody>
          <a:bodyPr wrap="square">
            <a:spAutoFit/>
          </a:bodyPr>
          <a:lstStyle/>
          <a:p>
            <a:r>
              <a:rPr lang="en-US" sz="2200" dirty="0">
                <a:solidFill>
                  <a:schemeClr val="bg1"/>
                </a:solidFill>
                <a:latin typeface="Book Antiqua" panose="02040602050305030304" pitchFamily="18" charset="0"/>
              </a:rPr>
              <a:t>Which variables are associated with churn?</a:t>
            </a:r>
          </a:p>
          <a:p>
            <a:endParaRPr lang="en-US" sz="2200" dirty="0">
              <a:solidFill>
                <a:schemeClr val="bg1"/>
              </a:solidFill>
              <a:latin typeface="Book Antiqua" panose="02040602050305030304" pitchFamily="18" charset="0"/>
            </a:endParaRPr>
          </a:p>
          <a:p>
            <a:r>
              <a:rPr lang="en-US" sz="2200" dirty="0">
                <a:solidFill>
                  <a:schemeClr val="bg1"/>
                </a:solidFill>
                <a:latin typeface="Book Antiqua" panose="02040602050305030304" pitchFamily="18" charset="0"/>
              </a:rPr>
              <a:t>Are average monthly charges higher for customers who churn?</a:t>
            </a:r>
          </a:p>
          <a:p>
            <a:endParaRPr lang="en-US" sz="2200" dirty="0">
              <a:solidFill>
                <a:schemeClr val="bg1"/>
              </a:solidFill>
              <a:latin typeface="Book Antiqua" panose="02040602050305030304" pitchFamily="18" charset="0"/>
            </a:endParaRPr>
          </a:p>
          <a:p>
            <a:endParaRPr lang="en-US" sz="1600" dirty="0">
              <a:solidFill>
                <a:schemeClr val="bg1"/>
              </a:solidFill>
              <a:latin typeface="Book Antiqua" panose="02040602050305030304" pitchFamily="18" charset="0"/>
            </a:endParaRPr>
          </a:p>
          <a:p>
            <a:r>
              <a:rPr lang="en-US" sz="2200" dirty="0">
                <a:solidFill>
                  <a:schemeClr val="bg1"/>
                </a:solidFill>
                <a:latin typeface="Book Antiqua" panose="02040602050305030304" pitchFamily="18" charset="0"/>
              </a:rPr>
              <a:t>Are tenure shorter for customer who churn?</a:t>
            </a:r>
          </a:p>
          <a:p>
            <a:endParaRPr lang="en-US" sz="2200" dirty="0">
              <a:solidFill>
                <a:schemeClr val="bg1"/>
              </a:solidFill>
              <a:latin typeface="Book Antiqua" panose="02040602050305030304" pitchFamily="18" charset="0"/>
            </a:endParaRPr>
          </a:p>
          <a:p>
            <a:r>
              <a:rPr lang="en-US" sz="2200" dirty="0">
                <a:solidFill>
                  <a:schemeClr val="bg1"/>
                </a:solidFill>
                <a:latin typeface="Book Antiqua" panose="02040602050305030304" pitchFamily="18" charset="0"/>
              </a:rPr>
              <a:t>Are additional services independent with churn?</a:t>
            </a:r>
          </a:p>
        </p:txBody>
      </p:sp>
      <p:sp>
        <p:nvSpPr>
          <p:cNvPr id="150" name="Title 1">
            <a:extLst>
              <a:ext uri="{FF2B5EF4-FFF2-40B4-BE49-F238E27FC236}">
                <a16:creationId xmlns:a16="http://schemas.microsoft.com/office/drawing/2014/main" id="{B8677161-F146-4AAD-A691-2C7826FFF1E4}"/>
              </a:ext>
            </a:extLst>
          </p:cNvPr>
          <p:cNvSpPr>
            <a:spLocks noGrp="1"/>
          </p:cNvSpPr>
          <p:nvPr>
            <p:ph type="title"/>
          </p:nvPr>
        </p:nvSpPr>
        <p:spPr>
          <a:xfrm>
            <a:off x="641541" y="194502"/>
            <a:ext cx="4855168" cy="775612"/>
          </a:xfrm>
        </p:spPr>
        <p:txBody>
          <a:bodyPr/>
          <a:lstStyle/>
          <a:p>
            <a:r>
              <a:rPr lang="en-US" sz="4800" dirty="0">
                <a:solidFill>
                  <a:srgbClr val="652D74"/>
                </a:solidFill>
                <a:latin typeface="Baskerville Old Face" panose="02020602080505020303" pitchFamily="18" charset="0"/>
              </a:rPr>
              <a:t>Initial Questions</a:t>
            </a:r>
          </a:p>
        </p:txBody>
      </p:sp>
      <p:sp>
        <p:nvSpPr>
          <p:cNvPr id="91" name="Slide Number Placeholder 3">
            <a:extLst>
              <a:ext uri="{FF2B5EF4-FFF2-40B4-BE49-F238E27FC236}">
                <a16:creationId xmlns:a16="http://schemas.microsoft.com/office/drawing/2014/main" id="{07750948-ED52-4B3B-B4E2-D41F57519069}"/>
              </a:ext>
            </a:extLst>
          </p:cNvPr>
          <p:cNvSpPr txBox="1">
            <a:spLocks/>
          </p:cNvSpPr>
          <p:nvPr/>
        </p:nvSpPr>
        <p:spPr>
          <a:xfrm>
            <a:off x="11658612" y="6369817"/>
            <a:ext cx="367408" cy="27699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B84D2E29-67F4-44D8-B0E3-F54815B4F123}" type="slidenum">
              <a:rPr lang="en-US" sz="1200" smtClean="0">
                <a:solidFill>
                  <a:prstClr val="white"/>
                </a:solidFill>
                <a:latin typeface="Calibri" panose="020F0502020204030204"/>
              </a:rPr>
              <a:pPr algn="ctr"/>
              <a:t>7</a:t>
            </a:fld>
            <a:endParaRPr lang="en-US" sz="1200" dirty="0">
              <a:solidFill>
                <a:prstClr val="white"/>
              </a:solidFill>
              <a:latin typeface="Calibri" panose="020F0502020204030204"/>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Rectangle 34">
            <a:extLst>
              <a:ext uri="{FF2B5EF4-FFF2-40B4-BE49-F238E27FC236}">
                <a16:creationId xmlns:a16="http://schemas.microsoft.com/office/drawing/2014/main" id="{B9E13A12-3458-46F1-B3B5-DF015E09F8C2}"/>
              </a:ext>
            </a:extLst>
          </p:cNvPr>
          <p:cNvSpPr/>
          <p:nvPr/>
        </p:nvSpPr>
        <p:spPr>
          <a:xfrm flipH="1" flipV="1">
            <a:off x="-4" y="0"/>
            <a:ext cx="7072607" cy="6858000"/>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59199" y="93304"/>
                  <a:pt x="0" y="0"/>
                </a:cubicBezTo>
                <a:close/>
              </a:path>
            </a:pathLst>
          </a:custGeom>
          <a:gradFill>
            <a:gsLst>
              <a:gs pos="43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3" name="Shape 233"/>
          <p:cNvSpPr>
            <a:spLocks noGrp="1"/>
          </p:cNvSpPr>
          <p:nvPr>
            <p:ph type="sldNum" sz="quarter" idx="2"/>
          </p:nvPr>
        </p:nvSpPr>
        <p:spPr>
          <a:xfrm>
            <a:off x="23019528" y="819533"/>
            <a:ext cx="607908" cy="461665"/>
          </a:xfrm>
          <a:prstGeom prst="rect">
            <a:avLst/>
          </a:prstGeom>
          <a:ln w="3175">
            <a:miter lim="400000"/>
          </a:ln>
          <a:extLst>
            <a:ext uri="{C572A759-6A51-4108-AA02-DFA0A04FC94B}">
              <ma14:wrappingTextBoxFlag xmlns="" xmlns:ma14="http://schemas.microsoft.com/office/mac/drawingml/2011/main" val="1"/>
            </a:ext>
          </a:extLst>
        </p:spPr>
        <p:txBody>
          <a:bodyPr lIns="38100" tIns="38100" rIns="38100" bIns="381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500" b="0" i="0" u="none" strike="noStrike" cap="all" spc="500" normalizeH="0" baseline="0">
                <a:ln>
                  <a:noFill/>
                </a:ln>
                <a:solidFill>
                  <a:srgbClr val="ABADC2"/>
                </a:solidFill>
                <a:effectLst/>
                <a:uFillTx/>
                <a:latin typeface="+mn-lt"/>
                <a:ea typeface="Avenir Next Demi Bold"/>
                <a:cs typeface="Avenir Next Demi Bold"/>
                <a:sym typeface="Avenir Next Demi Bold"/>
              </a:defRPr>
            </a:lvl1pPr>
            <a:lvl2pPr marL="0" marR="0" indent="2286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2pPr>
            <a:lvl3pPr marL="0" marR="0" indent="4572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3pPr>
            <a:lvl4pPr marL="0" marR="0" indent="6858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4pPr>
            <a:lvl5pPr marL="0" marR="0" indent="9144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5pPr>
            <a:lvl6pPr marL="0" marR="0" indent="11430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6pPr>
            <a:lvl7pPr marL="0" marR="0" indent="13716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7pPr>
            <a:lvl8pPr marL="0" marR="0" indent="16002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8pPr>
            <a:lvl9pPr marL="0" marR="0" indent="1828800" algn="l" defTabSz="82550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ABADC2"/>
                </a:solidFill>
                <a:effectLst/>
                <a:uFillTx/>
                <a:latin typeface="Avenir Book"/>
                <a:ea typeface="Avenir Book"/>
                <a:cs typeface="Avenir Book"/>
                <a:sym typeface="Avenir Book"/>
              </a:defRPr>
            </a:lvl9pPr>
          </a:lstStyle>
          <a:p>
            <a:fld id="{86CB4B4D-7CA3-9044-876B-883B54F8677D}" type="slidenum">
              <a:rPr lang="en-IL" smtClean="0">
                <a:solidFill>
                  <a:srgbClr val="652D74"/>
                </a:solidFill>
              </a:rPr>
              <a:pPr/>
              <a:t>8</a:t>
            </a:fld>
            <a:endParaRPr>
              <a:solidFill>
                <a:srgbClr val="652D74"/>
              </a:solidFill>
            </a:endParaRPr>
          </a:p>
        </p:txBody>
      </p:sp>
      <p:sp>
        <p:nvSpPr>
          <p:cNvPr id="407" name="Shape 407"/>
          <p:cNvSpPr/>
          <p:nvPr/>
        </p:nvSpPr>
        <p:spPr>
          <a:xfrm>
            <a:off x="753711" y="1533507"/>
            <a:ext cx="5397030" cy="4699026"/>
          </a:xfrm>
          <a:prstGeom prst="rect">
            <a:avLst/>
          </a:prstGeom>
          <a:ln w="3175">
            <a:miter lim="400000"/>
          </a:ln>
          <a:extLst>
            <a:ext uri="{C572A759-6A51-4108-AA02-DFA0A04FC94B}">
              <ma14:wrappingTextBoxFlag xmlns="" xmlns:ma14="http://schemas.microsoft.com/office/mac/drawingml/2011/main" val="1"/>
            </a:ext>
          </a:extLst>
        </p:spPr>
        <p:txBody>
          <a:bodyPr lIns="19050" tIns="19050" rIns="19050" bIns="19050">
            <a:noAutofit/>
          </a:bodyPr>
          <a:lstStyle/>
          <a:p>
            <a:r>
              <a:rPr lang="en-US" b="0" dirty="0">
                <a:solidFill>
                  <a:srgbClr val="652D74"/>
                </a:solidFill>
                <a:effectLst/>
                <a:latin typeface="Book Antiqua" panose="02040602050305030304" pitchFamily="18" charset="0"/>
              </a:rPr>
              <a:t>In the data Preprocessing, </a:t>
            </a:r>
            <a:r>
              <a:rPr lang="en-US" dirty="0">
                <a:solidFill>
                  <a:srgbClr val="652D74"/>
                </a:solidFill>
                <a:latin typeface="Book Antiqua" panose="02040602050305030304" pitchFamily="18" charset="0"/>
              </a:rPr>
              <a:t>we</a:t>
            </a:r>
            <a:r>
              <a:rPr lang="en-US" b="0" dirty="0">
                <a:solidFill>
                  <a:srgbClr val="652D74"/>
                </a:solidFill>
                <a:effectLst/>
                <a:latin typeface="Book Antiqua" panose="02040602050305030304" pitchFamily="18" charset="0"/>
              </a:rPr>
              <a:t> performed several key steps such as:</a:t>
            </a:r>
          </a:p>
          <a:p>
            <a:endParaRPr lang="en-US" b="0" dirty="0">
              <a:solidFill>
                <a:srgbClr val="652D74"/>
              </a:solidFill>
              <a:effectLst/>
              <a:latin typeface="Book Antiqua" panose="02040602050305030304" pitchFamily="18" charset="0"/>
            </a:endParaRPr>
          </a:p>
          <a:p>
            <a:pPr>
              <a:buFont typeface="Arial" panose="020B0604020202020204" pitchFamily="34" charset="0"/>
              <a:buChar char="•"/>
            </a:pPr>
            <a:r>
              <a:rPr lang="en-US" b="0" dirty="0">
                <a:solidFill>
                  <a:srgbClr val="652D74"/>
                </a:solidFill>
                <a:effectLst/>
                <a:latin typeface="Book Antiqua" panose="02040602050305030304" pitchFamily="18" charset="0"/>
              </a:rPr>
              <a:t>Dealing with Null / Nan Values</a:t>
            </a:r>
          </a:p>
          <a:p>
            <a:endParaRPr lang="en-US" b="0" dirty="0">
              <a:solidFill>
                <a:srgbClr val="652D74"/>
              </a:solidFill>
              <a:effectLst/>
              <a:latin typeface="Book Antiqua" panose="02040602050305030304" pitchFamily="18" charset="0"/>
            </a:endParaRPr>
          </a:p>
          <a:p>
            <a:pPr>
              <a:buFont typeface="Arial" panose="020B0604020202020204" pitchFamily="34" charset="0"/>
              <a:buChar char="•"/>
            </a:pPr>
            <a:r>
              <a:rPr lang="en-US" b="0" dirty="0">
                <a:solidFill>
                  <a:srgbClr val="652D74"/>
                </a:solidFill>
                <a:effectLst/>
                <a:latin typeface="Book Antiqua" panose="02040602050305030304" pitchFamily="18" charset="0"/>
              </a:rPr>
              <a:t>Corrected the data types of columns.</a:t>
            </a:r>
          </a:p>
          <a:p>
            <a:endParaRPr lang="en-US" b="0" dirty="0">
              <a:solidFill>
                <a:srgbClr val="652D74"/>
              </a:solidFill>
              <a:effectLst/>
              <a:latin typeface="Book Antiqua" panose="02040602050305030304" pitchFamily="18" charset="0"/>
            </a:endParaRPr>
          </a:p>
          <a:p>
            <a:pPr>
              <a:buFont typeface="Arial" panose="020B0604020202020204" pitchFamily="34" charset="0"/>
              <a:buChar char="•"/>
            </a:pPr>
            <a:r>
              <a:rPr lang="en-US" b="0" dirty="0">
                <a:solidFill>
                  <a:srgbClr val="652D74"/>
                </a:solidFill>
                <a:effectLst/>
                <a:latin typeface="Book Antiqua" panose="02040602050305030304" pitchFamily="18" charset="0"/>
              </a:rPr>
              <a:t>Replaced values in categorical columns to be more consistent(“No Internet service” – to “No” and “No Phone Service” – to “No”).</a:t>
            </a:r>
          </a:p>
          <a:p>
            <a:endParaRPr lang="en-US" b="0" dirty="0">
              <a:solidFill>
                <a:srgbClr val="652D74"/>
              </a:solidFill>
              <a:effectLst/>
              <a:latin typeface="Book Antiqua" panose="02040602050305030304" pitchFamily="18" charset="0"/>
            </a:endParaRPr>
          </a:p>
          <a:p>
            <a:pPr>
              <a:buFont typeface="Arial" panose="020B0604020202020204" pitchFamily="34" charset="0"/>
              <a:buChar char="•"/>
            </a:pPr>
            <a:r>
              <a:rPr lang="en-US" b="0" dirty="0">
                <a:solidFill>
                  <a:srgbClr val="652D74"/>
                </a:solidFill>
                <a:effectLst/>
                <a:latin typeface="Book Antiqua" panose="02040602050305030304" pitchFamily="18" charset="0"/>
              </a:rPr>
              <a:t>Remove all unnecessary columns(CustomerId)</a:t>
            </a:r>
          </a:p>
          <a:p>
            <a:endParaRPr lang="en-US" b="0" dirty="0">
              <a:solidFill>
                <a:srgbClr val="652D74"/>
              </a:solidFill>
              <a:effectLst/>
              <a:latin typeface="Book Antiqua" panose="02040602050305030304" pitchFamily="18" charset="0"/>
            </a:endParaRPr>
          </a:p>
          <a:p>
            <a:pPr>
              <a:buFont typeface="Arial" panose="020B0604020202020204" pitchFamily="34" charset="0"/>
              <a:buChar char="•"/>
            </a:pPr>
            <a:r>
              <a:rPr lang="en-US" b="0" dirty="0">
                <a:solidFill>
                  <a:srgbClr val="652D74"/>
                </a:solidFill>
                <a:effectLst/>
                <a:latin typeface="Book Antiqua" panose="02040602050305030304" pitchFamily="18" charset="0"/>
              </a:rPr>
              <a:t>Create grouping bins for numerical columns like: Tenure period.</a:t>
            </a:r>
          </a:p>
          <a:p>
            <a:endParaRPr lang="en-US" b="0" dirty="0">
              <a:solidFill>
                <a:srgbClr val="652D74"/>
              </a:solidFill>
              <a:effectLst/>
              <a:latin typeface="Book Antiqua" panose="02040602050305030304" pitchFamily="18" charset="0"/>
            </a:endParaRPr>
          </a:p>
          <a:p>
            <a:pPr>
              <a:buFont typeface="Arial" panose="020B0604020202020204" pitchFamily="34" charset="0"/>
              <a:buChar char="•"/>
            </a:pPr>
            <a:r>
              <a:rPr lang="en-US" b="0" dirty="0">
                <a:solidFill>
                  <a:srgbClr val="652D74"/>
                </a:solidFill>
                <a:effectLst/>
                <a:latin typeface="Book Antiqua" panose="02040602050305030304" pitchFamily="18" charset="0"/>
              </a:rPr>
              <a:t>Perform One-Hot Encoding for categorical columns</a:t>
            </a:r>
            <a:r>
              <a:rPr lang="en-US" b="0" i="1" dirty="0">
                <a:solidFill>
                  <a:srgbClr val="652D74"/>
                </a:solidFill>
                <a:effectLst/>
                <a:latin typeface="Book Antiqua" panose="02040602050305030304" pitchFamily="18" charset="0"/>
              </a:rPr>
              <a:t>.</a:t>
            </a:r>
            <a:endParaRPr lang="en-US" b="0" i="0" dirty="0">
              <a:solidFill>
                <a:srgbClr val="652D74"/>
              </a:solidFill>
              <a:effectLst/>
              <a:latin typeface="Book Antiqua" panose="02040602050305030304" pitchFamily="18" charset="0"/>
            </a:endParaRPr>
          </a:p>
          <a:p>
            <a:br>
              <a:rPr lang="en-US" sz="1600" dirty="0">
                <a:effectLst/>
              </a:rPr>
            </a:br>
            <a:endParaRPr lang="en-US" sz="1600" dirty="0">
              <a:solidFill>
                <a:srgbClr val="652D74"/>
              </a:solidFill>
              <a:latin typeface="Book Antiqua" panose="02040602050305030304" pitchFamily="18" charset="0"/>
            </a:endParaRPr>
          </a:p>
        </p:txBody>
      </p:sp>
      <p:grpSp>
        <p:nvGrpSpPr>
          <p:cNvPr id="182" name="Group 181">
            <a:extLst>
              <a:ext uri="{FF2B5EF4-FFF2-40B4-BE49-F238E27FC236}">
                <a16:creationId xmlns:a16="http://schemas.microsoft.com/office/drawing/2014/main" id="{BD7046EC-C77B-46DE-8169-827E39A12EDC}"/>
              </a:ext>
            </a:extLst>
          </p:cNvPr>
          <p:cNvGrpSpPr/>
          <p:nvPr/>
        </p:nvGrpSpPr>
        <p:grpSpPr>
          <a:xfrm>
            <a:off x="6575622" y="148819"/>
            <a:ext cx="5378943" cy="5399330"/>
            <a:chOff x="6540501" y="0"/>
            <a:chExt cx="4896342" cy="4914901"/>
          </a:xfrm>
        </p:grpSpPr>
        <p:sp>
          <p:nvSpPr>
            <p:cNvPr id="183" name="Rectangle: Rounded Corners 182">
              <a:extLst>
                <a:ext uri="{FF2B5EF4-FFF2-40B4-BE49-F238E27FC236}">
                  <a16:creationId xmlns:a16="http://schemas.microsoft.com/office/drawing/2014/main" id="{B0B0504E-259B-4960-AE9B-2908BF9FA160}"/>
                </a:ext>
              </a:extLst>
            </p:cNvPr>
            <p:cNvSpPr/>
            <p:nvPr/>
          </p:nvSpPr>
          <p:spPr>
            <a:xfrm>
              <a:off x="6540501" y="174627"/>
              <a:ext cx="4178300" cy="4740274"/>
            </a:xfrm>
            <a:prstGeom prst="roundRect">
              <a:avLst>
                <a:gd name="adj" fmla="val 6764"/>
              </a:avLst>
            </a:prstGeom>
            <a:gradFill>
              <a:gsLst>
                <a:gs pos="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652D74"/>
                </a:solidFill>
              </a:endParaRPr>
            </a:p>
          </p:txBody>
        </p:sp>
        <p:pic>
          <p:nvPicPr>
            <p:cNvPr id="184" name="Picture 183" descr="A close up of a tower&#10;&#10;Description automatically generated">
              <a:extLst>
                <a:ext uri="{FF2B5EF4-FFF2-40B4-BE49-F238E27FC236}">
                  <a16:creationId xmlns:a16="http://schemas.microsoft.com/office/drawing/2014/main" id="{CEA00AE3-5B4B-43C0-BAC4-2EE0346CBA61}"/>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6899651" y="0"/>
              <a:ext cx="4537192" cy="4622800"/>
            </a:xfrm>
            <a:prstGeom prst="rect">
              <a:avLst/>
            </a:prstGeom>
          </p:spPr>
        </p:pic>
      </p:grpSp>
      <p:sp>
        <p:nvSpPr>
          <p:cNvPr id="185" name="Title 7">
            <a:extLst>
              <a:ext uri="{FF2B5EF4-FFF2-40B4-BE49-F238E27FC236}">
                <a16:creationId xmlns:a16="http://schemas.microsoft.com/office/drawing/2014/main" id="{23AAED3F-F485-4A9B-A38E-56A0B839E53B}"/>
              </a:ext>
            </a:extLst>
          </p:cNvPr>
          <p:cNvSpPr txBox="1">
            <a:spLocks/>
          </p:cNvSpPr>
          <p:nvPr/>
        </p:nvSpPr>
        <p:spPr>
          <a:xfrm>
            <a:off x="1562797" y="439364"/>
            <a:ext cx="4824726" cy="611001"/>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b="1" kern="1200">
                <a:solidFill>
                  <a:schemeClr val="tx1"/>
                </a:solidFill>
                <a:latin typeface="+mj-lt"/>
                <a:ea typeface="+mj-ea"/>
                <a:cs typeface="+mj-cs"/>
              </a:defRPr>
            </a:lvl1pPr>
          </a:lstStyle>
          <a:p>
            <a:r>
              <a:rPr lang="en-US" sz="4400" dirty="0">
                <a:solidFill>
                  <a:srgbClr val="652D74"/>
                </a:solidFill>
                <a:latin typeface="Baskerville Old Face" panose="02020602080505020303" pitchFamily="18" charset="0"/>
              </a:rPr>
              <a:t>Data Preprocessing</a:t>
            </a:r>
            <a:endParaRPr lang="en-US" sz="2000" dirty="0">
              <a:solidFill>
                <a:srgbClr val="652D74"/>
              </a:solidFill>
              <a:latin typeface="Baskerville Old Face" panose="02020602080505020303" pitchFamily="18" charset="0"/>
            </a:endParaRPr>
          </a:p>
        </p:txBody>
      </p:sp>
      <p:grpSp>
        <p:nvGrpSpPr>
          <p:cNvPr id="187" name="Group 186">
            <a:extLst>
              <a:ext uri="{FF2B5EF4-FFF2-40B4-BE49-F238E27FC236}">
                <a16:creationId xmlns:a16="http://schemas.microsoft.com/office/drawing/2014/main" id="{E22C4DFE-5E10-4F14-922F-EB7F4C8C14D7}"/>
              </a:ext>
            </a:extLst>
          </p:cNvPr>
          <p:cNvGrpSpPr/>
          <p:nvPr/>
        </p:nvGrpSpPr>
        <p:grpSpPr>
          <a:xfrm>
            <a:off x="20665" y="67703"/>
            <a:ext cx="1466091" cy="1200678"/>
            <a:chOff x="601763" y="2968052"/>
            <a:chExt cx="1466091" cy="1200678"/>
          </a:xfrm>
        </p:grpSpPr>
        <p:sp>
          <p:nvSpPr>
            <p:cNvPr id="188" name="Oval 187">
              <a:extLst>
                <a:ext uri="{FF2B5EF4-FFF2-40B4-BE49-F238E27FC236}">
                  <a16:creationId xmlns:a16="http://schemas.microsoft.com/office/drawing/2014/main" id="{DBB9683C-A6F9-4193-B680-F6E5D45CECA8}"/>
                </a:ext>
              </a:extLst>
            </p:cNvPr>
            <p:cNvSpPr/>
            <p:nvPr/>
          </p:nvSpPr>
          <p:spPr>
            <a:xfrm>
              <a:off x="867176" y="2968052"/>
              <a:ext cx="1200678" cy="1200678"/>
            </a:xfrm>
            <a:prstGeom prst="ellipse">
              <a:avLst/>
            </a:prstGeom>
            <a:solidFill>
              <a:srgbClr val="8D19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Freeform: Shape 188">
              <a:extLst>
                <a:ext uri="{FF2B5EF4-FFF2-40B4-BE49-F238E27FC236}">
                  <a16:creationId xmlns:a16="http://schemas.microsoft.com/office/drawing/2014/main" id="{48817EEE-4527-4951-8E01-1FDC13F66140}"/>
                </a:ext>
              </a:extLst>
            </p:cNvPr>
            <p:cNvSpPr/>
            <p:nvPr/>
          </p:nvSpPr>
          <p:spPr>
            <a:xfrm>
              <a:off x="1006478" y="2968052"/>
              <a:ext cx="1048177" cy="1048177"/>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0" name="Oval 189">
              <a:extLst>
                <a:ext uri="{FF2B5EF4-FFF2-40B4-BE49-F238E27FC236}">
                  <a16:creationId xmlns:a16="http://schemas.microsoft.com/office/drawing/2014/main" id="{401FB53A-5318-4B9E-8BD4-6F734F53B205}"/>
                </a:ext>
              </a:extLst>
            </p:cNvPr>
            <p:cNvSpPr/>
            <p:nvPr/>
          </p:nvSpPr>
          <p:spPr>
            <a:xfrm>
              <a:off x="601763" y="3094451"/>
              <a:ext cx="521515" cy="521515"/>
            </a:xfrm>
            <a:prstGeom prst="ellipse">
              <a:avLst/>
            </a:prstGeom>
            <a:solidFill>
              <a:srgbClr val="EB8DE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dirty="0">
                <a:latin typeface="Georgia" panose="02040502050405020303" pitchFamily="18" charset="0"/>
              </a:endParaRPr>
            </a:p>
          </p:txBody>
        </p:sp>
        <p:grpSp>
          <p:nvGrpSpPr>
            <p:cNvPr id="191" name="Group 190">
              <a:extLst>
                <a:ext uri="{FF2B5EF4-FFF2-40B4-BE49-F238E27FC236}">
                  <a16:creationId xmlns:a16="http://schemas.microsoft.com/office/drawing/2014/main" id="{B883617C-5F38-4EE0-A34D-F7817D93C777}"/>
                </a:ext>
              </a:extLst>
            </p:cNvPr>
            <p:cNvGrpSpPr/>
            <p:nvPr/>
          </p:nvGrpSpPr>
          <p:grpSpPr>
            <a:xfrm>
              <a:off x="1269316" y="3378050"/>
              <a:ext cx="396399" cy="380683"/>
              <a:chOff x="9161463" y="3609976"/>
              <a:chExt cx="360363" cy="346075"/>
            </a:xfrm>
            <a:solidFill>
              <a:schemeClr val="bg1"/>
            </a:solidFill>
            <a:effectLst>
              <a:outerShdw blurRad="50800" dist="38100" dir="2700000" algn="tl" rotWithShape="0">
                <a:prstClr val="black">
                  <a:alpha val="40000"/>
                </a:prstClr>
              </a:outerShdw>
            </a:effectLst>
          </p:grpSpPr>
          <p:sp>
            <p:nvSpPr>
              <p:cNvPr id="192" name="Freeform 21">
                <a:extLst>
                  <a:ext uri="{FF2B5EF4-FFF2-40B4-BE49-F238E27FC236}">
                    <a16:creationId xmlns:a16="http://schemas.microsoft.com/office/drawing/2014/main" id="{47580B34-5A4B-4F4A-9D5C-E3FD1DB7CEB5}"/>
                  </a:ext>
                </a:extLst>
              </p:cNvPr>
              <p:cNvSpPr>
                <a:spLocks noEditPoints="1"/>
              </p:cNvSpPr>
              <p:nvPr/>
            </p:nvSpPr>
            <p:spPr bwMode="auto">
              <a:xfrm>
                <a:off x="9205913" y="3609976"/>
                <a:ext cx="271463" cy="225425"/>
              </a:xfrm>
              <a:custGeom>
                <a:avLst/>
                <a:gdLst>
                  <a:gd name="T0" fmla="*/ 4 w 72"/>
                  <a:gd name="T1" fmla="*/ 12 h 60"/>
                  <a:gd name="T2" fmla="*/ 24 w 72"/>
                  <a:gd name="T3" fmla="*/ 12 h 60"/>
                  <a:gd name="T4" fmla="*/ 24 w 72"/>
                  <a:gd name="T5" fmla="*/ 54 h 60"/>
                  <a:gd name="T6" fmla="*/ 24 w 72"/>
                  <a:gd name="T7" fmla="*/ 60 h 60"/>
                  <a:gd name="T8" fmla="*/ 48 w 72"/>
                  <a:gd name="T9" fmla="*/ 60 h 60"/>
                  <a:gd name="T10" fmla="*/ 48 w 72"/>
                  <a:gd name="T11" fmla="*/ 54 h 60"/>
                  <a:gd name="T12" fmla="*/ 50 w 72"/>
                  <a:gd name="T13" fmla="*/ 52 h 60"/>
                  <a:gd name="T14" fmla="*/ 72 w 72"/>
                  <a:gd name="T15" fmla="*/ 52 h 60"/>
                  <a:gd name="T16" fmla="*/ 72 w 72"/>
                  <a:gd name="T17" fmla="*/ 2 h 60"/>
                  <a:gd name="T18" fmla="*/ 70 w 72"/>
                  <a:gd name="T19" fmla="*/ 0 h 60"/>
                  <a:gd name="T20" fmla="*/ 26 w 72"/>
                  <a:gd name="T21" fmla="*/ 0 h 60"/>
                  <a:gd name="T22" fmla="*/ 24 w 72"/>
                  <a:gd name="T23" fmla="*/ 2 h 60"/>
                  <a:gd name="T24" fmla="*/ 24 w 72"/>
                  <a:gd name="T25" fmla="*/ 8 h 60"/>
                  <a:gd name="T26" fmla="*/ 2 w 72"/>
                  <a:gd name="T27" fmla="*/ 8 h 60"/>
                  <a:gd name="T28" fmla="*/ 0 w 72"/>
                  <a:gd name="T29" fmla="*/ 10 h 60"/>
                  <a:gd name="T30" fmla="*/ 0 w 72"/>
                  <a:gd name="T31" fmla="*/ 52 h 60"/>
                  <a:gd name="T32" fmla="*/ 4 w 72"/>
                  <a:gd name="T33" fmla="*/ 52 h 60"/>
                  <a:gd name="T34" fmla="*/ 4 w 72"/>
                  <a:gd name="T35" fmla="*/ 12 h 60"/>
                  <a:gd name="T36" fmla="*/ 42 w 72"/>
                  <a:gd name="T37" fmla="*/ 12 h 60"/>
                  <a:gd name="T38" fmla="*/ 62 w 72"/>
                  <a:gd name="T39" fmla="*/ 12 h 60"/>
                  <a:gd name="T40" fmla="*/ 64 w 72"/>
                  <a:gd name="T41" fmla="*/ 14 h 60"/>
                  <a:gd name="T42" fmla="*/ 62 w 72"/>
                  <a:gd name="T43" fmla="*/ 16 h 60"/>
                  <a:gd name="T44" fmla="*/ 42 w 72"/>
                  <a:gd name="T45" fmla="*/ 16 h 60"/>
                  <a:gd name="T46" fmla="*/ 40 w 72"/>
                  <a:gd name="T47" fmla="*/ 14 h 60"/>
                  <a:gd name="T48" fmla="*/ 42 w 72"/>
                  <a:gd name="T49" fmla="*/ 12 h 60"/>
                  <a:gd name="T50" fmla="*/ 34 w 72"/>
                  <a:gd name="T51" fmla="*/ 20 h 60"/>
                  <a:gd name="T52" fmla="*/ 62 w 72"/>
                  <a:gd name="T53" fmla="*/ 20 h 60"/>
                  <a:gd name="T54" fmla="*/ 64 w 72"/>
                  <a:gd name="T55" fmla="*/ 22 h 60"/>
                  <a:gd name="T56" fmla="*/ 62 w 72"/>
                  <a:gd name="T57" fmla="*/ 24 h 60"/>
                  <a:gd name="T58" fmla="*/ 34 w 72"/>
                  <a:gd name="T59" fmla="*/ 24 h 60"/>
                  <a:gd name="T60" fmla="*/ 32 w 72"/>
                  <a:gd name="T61" fmla="*/ 22 h 60"/>
                  <a:gd name="T62" fmla="*/ 34 w 72"/>
                  <a:gd name="T63" fmla="*/ 20 h 60"/>
                  <a:gd name="T64" fmla="*/ 34 w 72"/>
                  <a:gd name="T65" fmla="*/ 28 h 60"/>
                  <a:gd name="T66" fmla="*/ 62 w 72"/>
                  <a:gd name="T67" fmla="*/ 28 h 60"/>
                  <a:gd name="T68" fmla="*/ 64 w 72"/>
                  <a:gd name="T69" fmla="*/ 30 h 60"/>
                  <a:gd name="T70" fmla="*/ 62 w 72"/>
                  <a:gd name="T71" fmla="*/ 32 h 60"/>
                  <a:gd name="T72" fmla="*/ 34 w 72"/>
                  <a:gd name="T73" fmla="*/ 32 h 60"/>
                  <a:gd name="T74" fmla="*/ 32 w 72"/>
                  <a:gd name="T75" fmla="*/ 30 h 60"/>
                  <a:gd name="T76" fmla="*/ 34 w 72"/>
                  <a:gd name="T77" fmla="*/ 28 h 60"/>
                  <a:gd name="T78" fmla="*/ 34 w 72"/>
                  <a:gd name="T79" fmla="*/ 36 h 60"/>
                  <a:gd name="T80" fmla="*/ 62 w 72"/>
                  <a:gd name="T81" fmla="*/ 36 h 60"/>
                  <a:gd name="T82" fmla="*/ 64 w 72"/>
                  <a:gd name="T83" fmla="*/ 38 h 60"/>
                  <a:gd name="T84" fmla="*/ 62 w 72"/>
                  <a:gd name="T85" fmla="*/ 40 h 60"/>
                  <a:gd name="T86" fmla="*/ 34 w 72"/>
                  <a:gd name="T87" fmla="*/ 40 h 60"/>
                  <a:gd name="T88" fmla="*/ 32 w 72"/>
                  <a:gd name="T89" fmla="*/ 38 h 60"/>
                  <a:gd name="T90" fmla="*/ 34 w 72"/>
                  <a:gd name="T91" fmla="*/ 36 h 60"/>
                  <a:gd name="T92" fmla="*/ 34 w 72"/>
                  <a:gd name="T93" fmla="*/ 44 h 60"/>
                  <a:gd name="T94" fmla="*/ 62 w 72"/>
                  <a:gd name="T95" fmla="*/ 44 h 60"/>
                  <a:gd name="T96" fmla="*/ 64 w 72"/>
                  <a:gd name="T97" fmla="*/ 46 h 60"/>
                  <a:gd name="T98" fmla="*/ 62 w 72"/>
                  <a:gd name="T99" fmla="*/ 48 h 60"/>
                  <a:gd name="T100" fmla="*/ 34 w 72"/>
                  <a:gd name="T101" fmla="*/ 48 h 60"/>
                  <a:gd name="T102" fmla="*/ 32 w 72"/>
                  <a:gd name="T103" fmla="*/ 46 h 60"/>
                  <a:gd name="T104" fmla="*/ 34 w 72"/>
                  <a:gd name="T105" fmla="*/ 4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 h="60">
                    <a:moveTo>
                      <a:pt x="4" y="12"/>
                    </a:moveTo>
                    <a:cubicBezTo>
                      <a:pt x="24" y="12"/>
                      <a:pt x="24" y="12"/>
                      <a:pt x="24" y="12"/>
                    </a:cubicBezTo>
                    <a:cubicBezTo>
                      <a:pt x="24" y="54"/>
                      <a:pt x="24" y="54"/>
                      <a:pt x="24" y="54"/>
                    </a:cubicBezTo>
                    <a:cubicBezTo>
                      <a:pt x="24" y="60"/>
                      <a:pt x="24" y="60"/>
                      <a:pt x="24" y="60"/>
                    </a:cubicBezTo>
                    <a:cubicBezTo>
                      <a:pt x="48" y="60"/>
                      <a:pt x="48" y="60"/>
                      <a:pt x="48" y="60"/>
                    </a:cubicBezTo>
                    <a:cubicBezTo>
                      <a:pt x="48" y="54"/>
                      <a:pt x="48" y="54"/>
                      <a:pt x="48" y="54"/>
                    </a:cubicBezTo>
                    <a:cubicBezTo>
                      <a:pt x="48" y="53"/>
                      <a:pt x="49" y="52"/>
                      <a:pt x="50" y="52"/>
                    </a:cubicBezTo>
                    <a:cubicBezTo>
                      <a:pt x="72" y="52"/>
                      <a:pt x="72" y="52"/>
                      <a:pt x="72" y="52"/>
                    </a:cubicBezTo>
                    <a:cubicBezTo>
                      <a:pt x="72" y="2"/>
                      <a:pt x="72" y="2"/>
                      <a:pt x="72" y="2"/>
                    </a:cubicBezTo>
                    <a:cubicBezTo>
                      <a:pt x="72" y="1"/>
                      <a:pt x="71" y="0"/>
                      <a:pt x="70" y="0"/>
                    </a:cubicBezTo>
                    <a:cubicBezTo>
                      <a:pt x="26" y="0"/>
                      <a:pt x="26" y="0"/>
                      <a:pt x="26" y="0"/>
                    </a:cubicBezTo>
                    <a:cubicBezTo>
                      <a:pt x="25" y="0"/>
                      <a:pt x="24" y="1"/>
                      <a:pt x="24" y="2"/>
                    </a:cubicBezTo>
                    <a:cubicBezTo>
                      <a:pt x="24" y="8"/>
                      <a:pt x="24" y="8"/>
                      <a:pt x="24" y="8"/>
                    </a:cubicBezTo>
                    <a:cubicBezTo>
                      <a:pt x="2" y="8"/>
                      <a:pt x="2" y="8"/>
                      <a:pt x="2" y="8"/>
                    </a:cubicBezTo>
                    <a:cubicBezTo>
                      <a:pt x="1" y="8"/>
                      <a:pt x="0" y="9"/>
                      <a:pt x="0" y="10"/>
                    </a:cubicBezTo>
                    <a:cubicBezTo>
                      <a:pt x="0" y="52"/>
                      <a:pt x="0" y="52"/>
                      <a:pt x="0" y="52"/>
                    </a:cubicBezTo>
                    <a:cubicBezTo>
                      <a:pt x="4" y="52"/>
                      <a:pt x="4" y="52"/>
                      <a:pt x="4" y="52"/>
                    </a:cubicBezTo>
                    <a:lnTo>
                      <a:pt x="4" y="12"/>
                    </a:lnTo>
                    <a:close/>
                    <a:moveTo>
                      <a:pt x="42" y="12"/>
                    </a:moveTo>
                    <a:cubicBezTo>
                      <a:pt x="62" y="12"/>
                      <a:pt x="62" y="12"/>
                      <a:pt x="62" y="12"/>
                    </a:cubicBezTo>
                    <a:cubicBezTo>
                      <a:pt x="63" y="12"/>
                      <a:pt x="64" y="13"/>
                      <a:pt x="64" y="14"/>
                    </a:cubicBezTo>
                    <a:cubicBezTo>
                      <a:pt x="64" y="15"/>
                      <a:pt x="63" y="16"/>
                      <a:pt x="62" y="16"/>
                    </a:cubicBezTo>
                    <a:cubicBezTo>
                      <a:pt x="42" y="16"/>
                      <a:pt x="42" y="16"/>
                      <a:pt x="42" y="16"/>
                    </a:cubicBezTo>
                    <a:cubicBezTo>
                      <a:pt x="41" y="16"/>
                      <a:pt x="40" y="15"/>
                      <a:pt x="40" y="14"/>
                    </a:cubicBezTo>
                    <a:cubicBezTo>
                      <a:pt x="40" y="13"/>
                      <a:pt x="41" y="12"/>
                      <a:pt x="42" y="12"/>
                    </a:cubicBezTo>
                    <a:close/>
                    <a:moveTo>
                      <a:pt x="34" y="20"/>
                    </a:moveTo>
                    <a:cubicBezTo>
                      <a:pt x="62" y="20"/>
                      <a:pt x="62" y="20"/>
                      <a:pt x="62" y="20"/>
                    </a:cubicBezTo>
                    <a:cubicBezTo>
                      <a:pt x="63" y="20"/>
                      <a:pt x="64" y="21"/>
                      <a:pt x="64" y="22"/>
                    </a:cubicBezTo>
                    <a:cubicBezTo>
                      <a:pt x="64" y="23"/>
                      <a:pt x="63" y="24"/>
                      <a:pt x="62" y="24"/>
                    </a:cubicBezTo>
                    <a:cubicBezTo>
                      <a:pt x="34" y="24"/>
                      <a:pt x="34" y="24"/>
                      <a:pt x="34" y="24"/>
                    </a:cubicBezTo>
                    <a:cubicBezTo>
                      <a:pt x="33" y="24"/>
                      <a:pt x="32" y="23"/>
                      <a:pt x="32" y="22"/>
                    </a:cubicBezTo>
                    <a:cubicBezTo>
                      <a:pt x="32" y="21"/>
                      <a:pt x="33" y="20"/>
                      <a:pt x="34" y="20"/>
                    </a:cubicBezTo>
                    <a:close/>
                    <a:moveTo>
                      <a:pt x="34" y="28"/>
                    </a:moveTo>
                    <a:cubicBezTo>
                      <a:pt x="62" y="28"/>
                      <a:pt x="62" y="28"/>
                      <a:pt x="62" y="28"/>
                    </a:cubicBezTo>
                    <a:cubicBezTo>
                      <a:pt x="63" y="28"/>
                      <a:pt x="64" y="29"/>
                      <a:pt x="64" y="30"/>
                    </a:cubicBezTo>
                    <a:cubicBezTo>
                      <a:pt x="64" y="31"/>
                      <a:pt x="63" y="32"/>
                      <a:pt x="62" y="32"/>
                    </a:cubicBezTo>
                    <a:cubicBezTo>
                      <a:pt x="34" y="32"/>
                      <a:pt x="34" y="32"/>
                      <a:pt x="34" y="32"/>
                    </a:cubicBezTo>
                    <a:cubicBezTo>
                      <a:pt x="33" y="32"/>
                      <a:pt x="32" y="31"/>
                      <a:pt x="32" y="30"/>
                    </a:cubicBezTo>
                    <a:cubicBezTo>
                      <a:pt x="32" y="29"/>
                      <a:pt x="33" y="28"/>
                      <a:pt x="34" y="28"/>
                    </a:cubicBezTo>
                    <a:close/>
                    <a:moveTo>
                      <a:pt x="34" y="36"/>
                    </a:moveTo>
                    <a:cubicBezTo>
                      <a:pt x="62" y="36"/>
                      <a:pt x="62" y="36"/>
                      <a:pt x="62" y="36"/>
                    </a:cubicBezTo>
                    <a:cubicBezTo>
                      <a:pt x="63" y="36"/>
                      <a:pt x="64" y="37"/>
                      <a:pt x="64" y="38"/>
                    </a:cubicBezTo>
                    <a:cubicBezTo>
                      <a:pt x="64" y="39"/>
                      <a:pt x="63" y="40"/>
                      <a:pt x="62" y="40"/>
                    </a:cubicBezTo>
                    <a:cubicBezTo>
                      <a:pt x="34" y="40"/>
                      <a:pt x="34" y="40"/>
                      <a:pt x="34" y="40"/>
                    </a:cubicBezTo>
                    <a:cubicBezTo>
                      <a:pt x="33" y="40"/>
                      <a:pt x="32" y="39"/>
                      <a:pt x="32" y="38"/>
                    </a:cubicBezTo>
                    <a:cubicBezTo>
                      <a:pt x="32" y="37"/>
                      <a:pt x="33" y="36"/>
                      <a:pt x="34" y="36"/>
                    </a:cubicBezTo>
                    <a:close/>
                    <a:moveTo>
                      <a:pt x="34" y="44"/>
                    </a:moveTo>
                    <a:cubicBezTo>
                      <a:pt x="62" y="44"/>
                      <a:pt x="62" y="44"/>
                      <a:pt x="62" y="44"/>
                    </a:cubicBezTo>
                    <a:cubicBezTo>
                      <a:pt x="63" y="44"/>
                      <a:pt x="64" y="45"/>
                      <a:pt x="64" y="46"/>
                    </a:cubicBezTo>
                    <a:cubicBezTo>
                      <a:pt x="64" y="47"/>
                      <a:pt x="63" y="48"/>
                      <a:pt x="62" y="48"/>
                    </a:cubicBezTo>
                    <a:cubicBezTo>
                      <a:pt x="34" y="48"/>
                      <a:pt x="34" y="48"/>
                      <a:pt x="34" y="48"/>
                    </a:cubicBezTo>
                    <a:cubicBezTo>
                      <a:pt x="33" y="48"/>
                      <a:pt x="32" y="47"/>
                      <a:pt x="32" y="46"/>
                    </a:cubicBezTo>
                    <a:cubicBezTo>
                      <a:pt x="32" y="45"/>
                      <a:pt x="33" y="44"/>
                      <a:pt x="3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3" name="Freeform 22">
                <a:extLst>
                  <a:ext uri="{FF2B5EF4-FFF2-40B4-BE49-F238E27FC236}">
                    <a16:creationId xmlns:a16="http://schemas.microsoft.com/office/drawing/2014/main" id="{7CC8A838-6DBD-471F-85D6-645E1F68B6FD}"/>
                  </a:ext>
                </a:extLst>
              </p:cNvPr>
              <p:cNvSpPr>
                <a:spLocks/>
              </p:cNvSpPr>
              <p:nvPr/>
            </p:nvSpPr>
            <p:spPr bwMode="auto">
              <a:xfrm>
                <a:off x="9161463" y="3819526"/>
                <a:ext cx="360363" cy="136525"/>
              </a:xfrm>
              <a:custGeom>
                <a:avLst/>
                <a:gdLst>
                  <a:gd name="T0" fmla="*/ 94 w 96"/>
                  <a:gd name="T1" fmla="*/ 0 h 36"/>
                  <a:gd name="T2" fmla="*/ 66 w 96"/>
                  <a:gd name="T3" fmla="*/ 0 h 36"/>
                  <a:gd name="T4" fmla="*/ 64 w 96"/>
                  <a:gd name="T5" fmla="*/ 0 h 36"/>
                  <a:gd name="T6" fmla="*/ 64 w 96"/>
                  <a:gd name="T7" fmla="*/ 2 h 36"/>
                  <a:gd name="T8" fmla="*/ 64 w 96"/>
                  <a:gd name="T9" fmla="*/ 6 h 36"/>
                  <a:gd name="T10" fmla="*/ 62 w 96"/>
                  <a:gd name="T11" fmla="*/ 8 h 36"/>
                  <a:gd name="T12" fmla="*/ 34 w 96"/>
                  <a:gd name="T13" fmla="*/ 8 h 36"/>
                  <a:gd name="T14" fmla="*/ 32 w 96"/>
                  <a:gd name="T15" fmla="*/ 8 h 36"/>
                  <a:gd name="T16" fmla="*/ 32 w 96"/>
                  <a:gd name="T17" fmla="*/ 6 h 36"/>
                  <a:gd name="T18" fmla="*/ 32 w 96"/>
                  <a:gd name="T19" fmla="*/ 2 h 36"/>
                  <a:gd name="T20" fmla="*/ 30 w 96"/>
                  <a:gd name="T21" fmla="*/ 0 h 36"/>
                  <a:gd name="T22" fmla="*/ 2 w 96"/>
                  <a:gd name="T23" fmla="*/ 0 h 36"/>
                  <a:gd name="T24" fmla="*/ 0 w 96"/>
                  <a:gd name="T25" fmla="*/ 2 h 36"/>
                  <a:gd name="T26" fmla="*/ 0 w 96"/>
                  <a:gd name="T27" fmla="*/ 34 h 36"/>
                  <a:gd name="T28" fmla="*/ 2 w 96"/>
                  <a:gd name="T29" fmla="*/ 36 h 36"/>
                  <a:gd name="T30" fmla="*/ 94 w 96"/>
                  <a:gd name="T31" fmla="*/ 36 h 36"/>
                  <a:gd name="T32" fmla="*/ 96 w 96"/>
                  <a:gd name="T33" fmla="*/ 34 h 36"/>
                  <a:gd name="T34" fmla="*/ 96 w 96"/>
                  <a:gd name="T35" fmla="*/ 2 h 36"/>
                  <a:gd name="T36" fmla="*/ 94 w 96"/>
                  <a:gd name="T3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36">
                    <a:moveTo>
                      <a:pt x="94" y="0"/>
                    </a:moveTo>
                    <a:cubicBezTo>
                      <a:pt x="66" y="0"/>
                      <a:pt x="66" y="0"/>
                      <a:pt x="66" y="0"/>
                    </a:cubicBezTo>
                    <a:cubicBezTo>
                      <a:pt x="64" y="0"/>
                      <a:pt x="64" y="0"/>
                      <a:pt x="64" y="0"/>
                    </a:cubicBezTo>
                    <a:cubicBezTo>
                      <a:pt x="64" y="2"/>
                      <a:pt x="64" y="2"/>
                      <a:pt x="64" y="2"/>
                    </a:cubicBezTo>
                    <a:cubicBezTo>
                      <a:pt x="64" y="6"/>
                      <a:pt x="64" y="6"/>
                      <a:pt x="64" y="6"/>
                    </a:cubicBezTo>
                    <a:cubicBezTo>
                      <a:pt x="64" y="7"/>
                      <a:pt x="63" y="8"/>
                      <a:pt x="62" y="8"/>
                    </a:cubicBezTo>
                    <a:cubicBezTo>
                      <a:pt x="34" y="8"/>
                      <a:pt x="34" y="8"/>
                      <a:pt x="34" y="8"/>
                    </a:cubicBezTo>
                    <a:cubicBezTo>
                      <a:pt x="32" y="8"/>
                      <a:pt x="32" y="8"/>
                      <a:pt x="32" y="8"/>
                    </a:cubicBezTo>
                    <a:cubicBezTo>
                      <a:pt x="32" y="6"/>
                      <a:pt x="32" y="6"/>
                      <a:pt x="32" y="6"/>
                    </a:cubicBezTo>
                    <a:cubicBezTo>
                      <a:pt x="32" y="2"/>
                      <a:pt x="32" y="2"/>
                      <a:pt x="32" y="2"/>
                    </a:cubicBezTo>
                    <a:cubicBezTo>
                      <a:pt x="32" y="1"/>
                      <a:pt x="31" y="0"/>
                      <a:pt x="30" y="0"/>
                    </a:cubicBezTo>
                    <a:cubicBezTo>
                      <a:pt x="2" y="0"/>
                      <a:pt x="2" y="0"/>
                      <a:pt x="2" y="0"/>
                    </a:cubicBezTo>
                    <a:cubicBezTo>
                      <a:pt x="1" y="0"/>
                      <a:pt x="0" y="1"/>
                      <a:pt x="0" y="2"/>
                    </a:cubicBezTo>
                    <a:cubicBezTo>
                      <a:pt x="0" y="34"/>
                      <a:pt x="0" y="34"/>
                      <a:pt x="0" y="34"/>
                    </a:cubicBezTo>
                    <a:cubicBezTo>
                      <a:pt x="0" y="35"/>
                      <a:pt x="1" y="36"/>
                      <a:pt x="2" y="36"/>
                    </a:cubicBezTo>
                    <a:cubicBezTo>
                      <a:pt x="94" y="36"/>
                      <a:pt x="94" y="36"/>
                      <a:pt x="94" y="36"/>
                    </a:cubicBezTo>
                    <a:cubicBezTo>
                      <a:pt x="95" y="36"/>
                      <a:pt x="96" y="35"/>
                      <a:pt x="96" y="34"/>
                    </a:cubicBezTo>
                    <a:cubicBezTo>
                      <a:pt x="96" y="2"/>
                      <a:pt x="96" y="2"/>
                      <a:pt x="96" y="2"/>
                    </a:cubicBezTo>
                    <a:cubicBezTo>
                      <a:pt x="96" y="1"/>
                      <a:pt x="95" y="0"/>
                      <a:pt x="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
        <p:nvSpPr>
          <p:cNvPr id="16" name="Slide Number Placeholder 3">
            <a:extLst>
              <a:ext uri="{FF2B5EF4-FFF2-40B4-BE49-F238E27FC236}">
                <a16:creationId xmlns:a16="http://schemas.microsoft.com/office/drawing/2014/main" id="{D51DB149-618D-4280-B1A8-A7A744EA2CEA}"/>
              </a:ext>
            </a:extLst>
          </p:cNvPr>
          <p:cNvSpPr txBox="1">
            <a:spLocks/>
          </p:cNvSpPr>
          <p:nvPr/>
        </p:nvSpPr>
        <p:spPr>
          <a:xfrm>
            <a:off x="11658612" y="6369817"/>
            <a:ext cx="367408" cy="27699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B84D2E29-67F4-44D8-B0E3-F54815B4F123}" type="slidenum">
              <a:rPr lang="en-US" sz="1200" smtClean="0">
                <a:solidFill>
                  <a:prstClr val="white"/>
                </a:solidFill>
                <a:latin typeface="Calibri" panose="020F0502020204030204"/>
              </a:rPr>
              <a:pPr algn="ctr"/>
              <a:t>8</a:t>
            </a:fld>
            <a:endParaRPr lang="en-US" sz="1200" dirty="0">
              <a:solidFill>
                <a:prstClr val="white"/>
              </a:solidFill>
              <a:latin typeface="Calibri" panose="020F0502020204030204"/>
            </a:endParaRPr>
          </a:p>
        </p:txBody>
      </p:sp>
    </p:spTree>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605095F-A72A-4022-88EE-0708F3232F6D}"/>
              </a:ext>
            </a:extLst>
          </p:cNvPr>
          <p:cNvSpPr/>
          <p:nvPr/>
        </p:nvSpPr>
        <p:spPr>
          <a:xfrm>
            <a:off x="-1" y="3496750"/>
            <a:ext cx="7438615" cy="3377484"/>
          </a:xfrm>
          <a:prstGeom prst="rect">
            <a:avLst/>
          </a:pr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5" name="Object 4" hidden="1">
            <a:extLst>
              <a:ext uri="{FF2B5EF4-FFF2-40B4-BE49-F238E27FC236}">
                <a16:creationId xmlns:a16="http://schemas.microsoft.com/office/drawing/2014/main" id="{578447E3-A07A-4C54-A2CF-56880BE1EC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60" imgH="360" progId="">
                  <p:embed/>
                </p:oleObj>
              </mc:Choice>
              <mc:Fallback>
                <p:oleObj name="think-cell Slide" r:id="rId5" imgW="360" imgH="360" progId="">
                  <p:embed/>
                  <p:pic>
                    <p:nvPicPr>
                      <p:cNvPr id="5" name="Object 4" hidden="1">
                        <a:extLst>
                          <a:ext uri="{FF2B5EF4-FFF2-40B4-BE49-F238E27FC236}">
                            <a16:creationId xmlns:a16="http://schemas.microsoft.com/office/drawing/2014/main" id="{578447E3-A07A-4C54-A2CF-56880BE1EC9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 name="Picture 13" descr="A computer sitting on top of a counter&#10;&#10;Description automatically generated">
            <a:extLst>
              <a:ext uri="{FF2B5EF4-FFF2-40B4-BE49-F238E27FC236}">
                <a16:creationId xmlns:a16="http://schemas.microsoft.com/office/drawing/2014/main" id="{2E68A275-956A-4941-895E-9F353CDC8C60}"/>
              </a:ext>
            </a:extLst>
          </p:cNvPr>
          <p:cNvPicPr>
            <a:picLocks noChangeAspect="1"/>
          </p:cNvPicPr>
          <p:nvPr/>
        </p:nvPicPr>
        <p:blipFill rotWithShape="1">
          <a:blip r:embed="rId7" cstate="hqprint">
            <a:alphaModFix/>
            <a:extLst>
              <a:ext uri="{28A0092B-C50C-407E-A947-70E740481C1C}">
                <a14:useLocalDpi xmlns:a14="http://schemas.microsoft.com/office/drawing/2010/main"/>
              </a:ext>
            </a:extLst>
          </a:blip>
          <a:srcRect/>
          <a:stretch/>
        </p:blipFill>
        <p:spPr>
          <a:xfrm>
            <a:off x="5850939" y="2"/>
            <a:ext cx="6341062" cy="6857999"/>
          </a:xfrm>
          <a:custGeom>
            <a:avLst/>
            <a:gdLst>
              <a:gd name="connsiteX0" fmla="*/ 3298661 w 6341062"/>
              <a:gd name="connsiteY0" fmla="*/ 0 h 6857999"/>
              <a:gd name="connsiteX1" fmla="*/ 6341061 w 6341062"/>
              <a:gd name="connsiteY1" fmla="*/ 0 h 6857999"/>
              <a:gd name="connsiteX2" fmla="*/ 6341062 w 6341062"/>
              <a:gd name="connsiteY2" fmla="*/ 6857999 h 6857999"/>
              <a:gd name="connsiteX3" fmla="*/ 1706646 w 6341062"/>
              <a:gd name="connsiteY3" fmla="*/ 6857999 h 6857999"/>
              <a:gd name="connsiteX4" fmla="*/ 229713 w 6341062"/>
              <a:gd name="connsiteY4" fmla="*/ 5958362 h 6857999"/>
              <a:gd name="connsiteX5" fmla="*/ 69934 w 6341062"/>
              <a:gd name="connsiteY5" fmla="*/ 5300596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41062" h="6857999">
                <a:moveTo>
                  <a:pt x="3298661" y="0"/>
                </a:moveTo>
                <a:lnTo>
                  <a:pt x="6341061" y="0"/>
                </a:lnTo>
                <a:lnTo>
                  <a:pt x="6341062" y="6857999"/>
                </a:lnTo>
                <a:lnTo>
                  <a:pt x="1706646" y="6857999"/>
                </a:lnTo>
                <a:lnTo>
                  <a:pt x="229713" y="5958362"/>
                </a:lnTo>
                <a:cubicBezTo>
                  <a:pt x="3954" y="5820847"/>
                  <a:pt x="-67581" y="5526354"/>
                  <a:pt x="69934" y="5300596"/>
                </a:cubicBezTo>
                <a:close/>
              </a:path>
            </a:pathLst>
          </a:custGeom>
        </p:spPr>
      </p:pic>
      <p:sp>
        <p:nvSpPr>
          <p:cNvPr id="15" name="Oval 14">
            <a:extLst>
              <a:ext uri="{FF2B5EF4-FFF2-40B4-BE49-F238E27FC236}">
                <a16:creationId xmlns:a16="http://schemas.microsoft.com/office/drawing/2014/main" id="{948D0751-4B26-43F5-B460-01B82F030F32}"/>
              </a:ext>
            </a:extLst>
          </p:cNvPr>
          <p:cNvSpPr/>
          <p:nvPr/>
        </p:nvSpPr>
        <p:spPr>
          <a:xfrm>
            <a:off x="5965239" y="3780064"/>
            <a:ext cx="1485900" cy="1485900"/>
          </a:xfrm>
          <a:prstGeom prst="ellipse">
            <a:avLst/>
          </a:prstGeom>
          <a:solidFill>
            <a:srgbClr val="8D198E"/>
          </a:solidFill>
          <a:ln w="1270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Shape 22">
            <a:extLst>
              <a:ext uri="{FF2B5EF4-FFF2-40B4-BE49-F238E27FC236}">
                <a16:creationId xmlns:a16="http://schemas.microsoft.com/office/drawing/2014/main" id="{EA762FA2-5737-4447-800A-54A7BFF20BF1}"/>
              </a:ext>
            </a:extLst>
          </p:cNvPr>
          <p:cNvSpPr/>
          <p:nvPr/>
        </p:nvSpPr>
        <p:spPr>
          <a:xfrm>
            <a:off x="6182844" y="3780065"/>
            <a:ext cx="1268295" cy="1268295"/>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4" name="Group 23">
            <a:extLst>
              <a:ext uri="{FF2B5EF4-FFF2-40B4-BE49-F238E27FC236}">
                <a16:creationId xmlns:a16="http://schemas.microsoft.com/office/drawing/2014/main" id="{6C03B5EE-9C97-4C62-8FEA-7AF796E3FBBC}"/>
              </a:ext>
            </a:extLst>
          </p:cNvPr>
          <p:cNvGrpSpPr/>
          <p:nvPr/>
        </p:nvGrpSpPr>
        <p:grpSpPr>
          <a:xfrm>
            <a:off x="6442561" y="4245201"/>
            <a:ext cx="531256" cy="555626"/>
            <a:chOff x="2676526" y="5394325"/>
            <a:chExt cx="346075" cy="361950"/>
          </a:xfrm>
          <a:solidFill>
            <a:schemeClr val="bg1"/>
          </a:solidFill>
          <a:effectLst>
            <a:outerShdw blurRad="50800" dist="38100" dir="2700000" algn="tl" rotWithShape="0">
              <a:prstClr val="black">
                <a:alpha val="20000"/>
              </a:prstClr>
            </a:outerShdw>
          </a:effectLst>
        </p:grpSpPr>
        <p:sp>
          <p:nvSpPr>
            <p:cNvPr id="25" name="Freeform 118">
              <a:extLst>
                <a:ext uri="{FF2B5EF4-FFF2-40B4-BE49-F238E27FC236}">
                  <a16:creationId xmlns:a16="http://schemas.microsoft.com/office/drawing/2014/main" id="{924B58EE-4B85-4B00-8589-44DC6DD1C95D}"/>
                </a:ext>
              </a:extLst>
            </p:cNvPr>
            <p:cNvSpPr>
              <a:spLocks/>
            </p:cNvSpPr>
            <p:nvPr/>
          </p:nvSpPr>
          <p:spPr bwMode="auto">
            <a:xfrm>
              <a:off x="2676526" y="5394325"/>
              <a:ext cx="346075" cy="46038"/>
            </a:xfrm>
            <a:custGeom>
              <a:avLst/>
              <a:gdLst>
                <a:gd name="T0" fmla="*/ 92 w 92"/>
                <a:gd name="T1" fmla="*/ 12 h 12"/>
                <a:gd name="T2" fmla="*/ 92 w 92"/>
                <a:gd name="T3" fmla="*/ 2 h 12"/>
                <a:gd name="T4" fmla="*/ 90 w 92"/>
                <a:gd name="T5" fmla="*/ 0 h 12"/>
                <a:gd name="T6" fmla="*/ 2 w 92"/>
                <a:gd name="T7" fmla="*/ 0 h 12"/>
                <a:gd name="T8" fmla="*/ 0 w 92"/>
                <a:gd name="T9" fmla="*/ 2 h 12"/>
                <a:gd name="T10" fmla="*/ 0 w 92"/>
                <a:gd name="T11" fmla="*/ 12 h 12"/>
                <a:gd name="T12" fmla="*/ 92 w 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2" h="12">
                  <a:moveTo>
                    <a:pt x="92" y="12"/>
                  </a:moveTo>
                  <a:cubicBezTo>
                    <a:pt x="92" y="2"/>
                    <a:pt x="92" y="2"/>
                    <a:pt x="92" y="2"/>
                  </a:cubicBezTo>
                  <a:cubicBezTo>
                    <a:pt x="92" y="1"/>
                    <a:pt x="91" y="0"/>
                    <a:pt x="90" y="0"/>
                  </a:cubicBezTo>
                  <a:cubicBezTo>
                    <a:pt x="2" y="0"/>
                    <a:pt x="2" y="0"/>
                    <a:pt x="2" y="0"/>
                  </a:cubicBezTo>
                  <a:cubicBezTo>
                    <a:pt x="1" y="0"/>
                    <a:pt x="0" y="1"/>
                    <a:pt x="0" y="2"/>
                  </a:cubicBezTo>
                  <a:cubicBezTo>
                    <a:pt x="0" y="12"/>
                    <a:pt x="0" y="12"/>
                    <a:pt x="0" y="12"/>
                  </a:cubicBezTo>
                  <a:lnTo>
                    <a:pt x="9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119">
              <a:extLst>
                <a:ext uri="{FF2B5EF4-FFF2-40B4-BE49-F238E27FC236}">
                  <a16:creationId xmlns:a16="http://schemas.microsoft.com/office/drawing/2014/main" id="{29DB9A58-9150-4264-A2AD-2A21F6C91731}"/>
                </a:ext>
              </a:extLst>
            </p:cNvPr>
            <p:cNvSpPr>
              <a:spLocks noEditPoints="1"/>
            </p:cNvSpPr>
            <p:nvPr/>
          </p:nvSpPr>
          <p:spPr bwMode="auto">
            <a:xfrm>
              <a:off x="2676526" y="5454650"/>
              <a:ext cx="346075" cy="301625"/>
            </a:xfrm>
            <a:custGeom>
              <a:avLst/>
              <a:gdLst>
                <a:gd name="T0" fmla="*/ 90 w 92"/>
                <a:gd name="T1" fmla="*/ 52 h 80"/>
                <a:gd name="T2" fmla="*/ 84 w 92"/>
                <a:gd name="T3" fmla="*/ 52 h 80"/>
                <a:gd name="T4" fmla="*/ 84 w 92"/>
                <a:gd name="T5" fmla="*/ 0 h 80"/>
                <a:gd name="T6" fmla="*/ 8 w 92"/>
                <a:gd name="T7" fmla="*/ 0 h 80"/>
                <a:gd name="T8" fmla="*/ 8 w 92"/>
                <a:gd name="T9" fmla="*/ 52 h 80"/>
                <a:gd name="T10" fmla="*/ 2 w 92"/>
                <a:gd name="T11" fmla="*/ 52 h 80"/>
                <a:gd name="T12" fmla="*/ 0 w 92"/>
                <a:gd name="T13" fmla="*/ 54 h 80"/>
                <a:gd name="T14" fmla="*/ 2 w 92"/>
                <a:gd name="T15" fmla="*/ 56 h 80"/>
                <a:gd name="T16" fmla="*/ 44 w 92"/>
                <a:gd name="T17" fmla="*/ 56 h 80"/>
                <a:gd name="T18" fmla="*/ 44 w 92"/>
                <a:gd name="T19" fmla="*/ 64 h 80"/>
                <a:gd name="T20" fmla="*/ 38 w 92"/>
                <a:gd name="T21" fmla="*/ 72 h 80"/>
                <a:gd name="T22" fmla="*/ 46 w 92"/>
                <a:gd name="T23" fmla="*/ 80 h 80"/>
                <a:gd name="T24" fmla="*/ 54 w 92"/>
                <a:gd name="T25" fmla="*/ 72 h 80"/>
                <a:gd name="T26" fmla="*/ 48 w 92"/>
                <a:gd name="T27" fmla="*/ 64 h 80"/>
                <a:gd name="T28" fmla="*/ 48 w 92"/>
                <a:gd name="T29" fmla="*/ 56 h 80"/>
                <a:gd name="T30" fmla="*/ 90 w 92"/>
                <a:gd name="T31" fmla="*/ 56 h 80"/>
                <a:gd name="T32" fmla="*/ 92 w 92"/>
                <a:gd name="T33" fmla="*/ 54 h 80"/>
                <a:gd name="T34" fmla="*/ 90 w 92"/>
                <a:gd name="T35" fmla="*/ 52 h 80"/>
                <a:gd name="T36" fmla="*/ 34 w 92"/>
                <a:gd name="T37" fmla="*/ 44 h 80"/>
                <a:gd name="T38" fmla="*/ 16 w 92"/>
                <a:gd name="T39" fmla="*/ 26 h 80"/>
                <a:gd name="T40" fmla="*/ 23 w 92"/>
                <a:gd name="T41" fmla="*/ 11 h 80"/>
                <a:gd name="T42" fmla="*/ 32 w 92"/>
                <a:gd name="T43" fmla="*/ 27 h 80"/>
                <a:gd name="T44" fmla="*/ 35 w 92"/>
                <a:gd name="T45" fmla="*/ 44 h 80"/>
                <a:gd name="T46" fmla="*/ 34 w 92"/>
                <a:gd name="T47" fmla="*/ 44 h 80"/>
                <a:gd name="T48" fmla="*/ 50 w 92"/>
                <a:gd name="T49" fmla="*/ 72 h 80"/>
                <a:gd name="T50" fmla="*/ 46 w 92"/>
                <a:gd name="T51" fmla="*/ 76 h 80"/>
                <a:gd name="T52" fmla="*/ 42 w 92"/>
                <a:gd name="T53" fmla="*/ 72 h 80"/>
                <a:gd name="T54" fmla="*/ 46 w 92"/>
                <a:gd name="T55" fmla="*/ 68 h 80"/>
                <a:gd name="T56" fmla="*/ 50 w 92"/>
                <a:gd name="T57" fmla="*/ 72 h 80"/>
                <a:gd name="T58" fmla="*/ 39 w 92"/>
                <a:gd name="T59" fmla="*/ 43 h 80"/>
                <a:gd name="T60" fmla="*/ 36 w 92"/>
                <a:gd name="T61" fmla="*/ 28 h 80"/>
                <a:gd name="T62" fmla="*/ 52 w 92"/>
                <a:gd name="T63" fmla="*/ 28 h 80"/>
                <a:gd name="T64" fmla="*/ 39 w 92"/>
                <a:gd name="T65" fmla="*/ 43 h 80"/>
                <a:gd name="T66" fmla="*/ 35 w 92"/>
                <a:gd name="T67" fmla="*/ 24 h 80"/>
                <a:gd name="T68" fmla="*/ 27 w 92"/>
                <a:gd name="T69" fmla="*/ 9 h 80"/>
                <a:gd name="T70" fmla="*/ 34 w 92"/>
                <a:gd name="T71" fmla="*/ 8 h 80"/>
                <a:gd name="T72" fmla="*/ 52 w 92"/>
                <a:gd name="T73" fmla="*/ 24 h 80"/>
                <a:gd name="T74" fmla="*/ 35 w 92"/>
                <a:gd name="T75" fmla="*/ 24 h 80"/>
                <a:gd name="T76" fmla="*/ 74 w 92"/>
                <a:gd name="T77" fmla="*/ 28 h 80"/>
                <a:gd name="T78" fmla="*/ 62 w 92"/>
                <a:gd name="T79" fmla="*/ 28 h 80"/>
                <a:gd name="T80" fmla="*/ 60 w 92"/>
                <a:gd name="T81" fmla="*/ 26 h 80"/>
                <a:gd name="T82" fmla="*/ 62 w 92"/>
                <a:gd name="T83" fmla="*/ 24 h 80"/>
                <a:gd name="T84" fmla="*/ 74 w 92"/>
                <a:gd name="T85" fmla="*/ 24 h 80"/>
                <a:gd name="T86" fmla="*/ 76 w 92"/>
                <a:gd name="T87" fmla="*/ 26 h 80"/>
                <a:gd name="T88" fmla="*/ 74 w 92"/>
                <a:gd name="T89" fmla="*/ 28 h 80"/>
                <a:gd name="T90" fmla="*/ 74 w 92"/>
                <a:gd name="T91" fmla="*/ 20 h 80"/>
                <a:gd name="T92" fmla="*/ 62 w 92"/>
                <a:gd name="T93" fmla="*/ 20 h 80"/>
                <a:gd name="T94" fmla="*/ 60 w 92"/>
                <a:gd name="T95" fmla="*/ 18 h 80"/>
                <a:gd name="T96" fmla="*/ 62 w 92"/>
                <a:gd name="T97" fmla="*/ 16 h 80"/>
                <a:gd name="T98" fmla="*/ 74 w 92"/>
                <a:gd name="T99" fmla="*/ 16 h 80"/>
                <a:gd name="T100" fmla="*/ 76 w 92"/>
                <a:gd name="T101" fmla="*/ 18 h 80"/>
                <a:gd name="T102" fmla="*/ 74 w 92"/>
                <a:gd name="T103" fmla="*/ 20 h 80"/>
                <a:gd name="T104" fmla="*/ 74 w 92"/>
                <a:gd name="T105" fmla="*/ 12 h 80"/>
                <a:gd name="T106" fmla="*/ 62 w 92"/>
                <a:gd name="T107" fmla="*/ 12 h 80"/>
                <a:gd name="T108" fmla="*/ 60 w 92"/>
                <a:gd name="T109" fmla="*/ 10 h 80"/>
                <a:gd name="T110" fmla="*/ 62 w 92"/>
                <a:gd name="T111" fmla="*/ 8 h 80"/>
                <a:gd name="T112" fmla="*/ 74 w 92"/>
                <a:gd name="T113" fmla="*/ 8 h 80"/>
                <a:gd name="T114" fmla="*/ 76 w 92"/>
                <a:gd name="T115" fmla="*/ 10 h 80"/>
                <a:gd name="T116" fmla="*/ 74 w 92"/>
                <a:gd name="T117"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2" h="80">
                  <a:moveTo>
                    <a:pt x="90" y="52"/>
                  </a:moveTo>
                  <a:cubicBezTo>
                    <a:pt x="84" y="52"/>
                    <a:pt x="84" y="52"/>
                    <a:pt x="84" y="52"/>
                  </a:cubicBezTo>
                  <a:cubicBezTo>
                    <a:pt x="84" y="0"/>
                    <a:pt x="84" y="0"/>
                    <a:pt x="84" y="0"/>
                  </a:cubicBezTo>
                  <a:cubicBezTo>
                    <a:pt x="8" y="0"/>
                    <a:pt x="8" y="0"/>
                    <a:pt x="8" y="0"/>
                  </a:cubicBezTo>
                  <a:cubicBezTo>
                    <a:pt x="8" y="52"/>
                    <a:pt x="8" y="52"/>
                    <a:pt x="8" y="52"/>
                  </a:cubicBezTo>
                  <a:cubicBezTo>
                    <a:pt x="2" y="52"/>
                    <a:pt x="2" y="52"/>
                    <a:pt x="2" y="52"/>
                  </a:cubicBezTo>
                  <a:cubicBezTo>
                    <a:pt x="1" y="52"/>
                    <a:pt x="0" y="53"/>
                    <a:pt x="0" y="54"/>
                  </a:cubicBezTo>
                  <a:cubicBezTo>
                    <a:pt x="0" y="55"/>
                    <a:pt x="1" y="56"/>
                    <a:pt x="2" y="56"/>
                  </a:cubicBezTo>
                  <a:cubicBezTo>
                    <a:pt x="44" y="56"/>
                    <a:pt x="44" y="56"/>
                    <a:pt x="44" y="56"/>
                  </a:cubicBezTo>
                  <a:cubicBezTo>
                    <a:pt x="44" y="64"/>
                    <a:pt x="44" y="64"/>
                    <a:pt x="44" y="64"/>
                  </a:cubicBezTo>
                  <a:cubicBezTo>
                    <a:pt x="41" y="65"/>
                    <a:pt x="38" y="68"/>
                    <a:pt x="38" y="72"/>
                  </a:cubicBezTo>
                  <a:cubicBezTo>
                    <a:pt x="38" y="76"/>
                    <a:pt x="42" y="80"/>
                    <a:pt x="46" y="80"/>
                  </a:cubicBezTo>
                  <a:cubicBezTo>
                    <a:pt x="50" y="80"/>
                    <a:pt x="54" y="76"/>
                    <a:pt x="54" y="72"/>
                  </a:cubicBezTo>
                  <a:cubicBezTo>
                    <a:pt x="54" y="68"/>
                    <a:pt x="51" y="65"/>
                    <a:pt x="48" y="64"/>
                  </a:cubicBezTo>
                  <a:cubicBezTo>
                    <a:pt x="48" y="56"/>
                    <a:pt x="48" y="56"/>
                    <a:pt x="48" y="56"/>
                  </a:cubicBezTo>
                  <a:cubicBezTo>
                    <a:pt x="90" y="56"/>
                    <a:pt x="90" y="56"/>
                    <a:pt x="90" y="56"/>
                  </a:cubicBezTo>
                  <a:cubicBezTo>
                    <a:pt x="91" y="56"/>
                    <a:pt x="92" y="55"/>
                    <a:pt x="92" y="54"/>
                  </a:cubicBezTo>
                  <a:cubicBezTo>
                    <a:pt x="92" y="53"/>
                    <a:pt x="91" y="52"/>
                    <a:pt x="90" y="52"/>
                  </a:cubicBezTo>
                  <a:close/>
                  <a:moveTo>
                    <a:pt x="34" y="44"/>
                  </a:moveTo>
                  <a:cubicBezTo>
                    <a:pt x="24" y="44"/>
                    <a:pt x="16" y="36"/>
                    <a:pt x="16" y="26"/>
                  </a:cubicBezTo>
                  <a:cubicBezTo>
                    <a:pt x="16" y="20"/>
                    <a:pt x="19" y="15"/>
                    <a:pt x="23" y="11"/>
                  </a:cubicBezTo>
                  <a:cubicBezTo>
                    <a:pt x="32" y="27"/>
                    <a:pt x="32" y="27"/>
                    <a:pt x="32" y="27"/>
                  </a:cubicBezTo>
                  <a:cubicBezTo>
                    <a:pt x="35" y="44"/>
                    <a:pt x="35" y="44"/>
                    <a:pt x="35" y="44"/>
                  </a:cubicBezTo>
                  <a:cubicBezTo>
                    <a:pt x="35" y="44"/>
                    <a:pt x="34" y="44"/>
                    <a:pt x="34" y="44"/>
                  </a:cubicBezTo>
                  <a:close/>
                  <a:moveTo>
                    <a:pt x="50" y="72"/>
                  </a:moveTo>
                  <a:cubicBezTo>
                    <a:pt x="50" y="74"/>
                    <a:pt x="48" y="76"/>
                    <a:pt x="46" y="76"/>
                  </a:cubicBezTo>
                  <a:cubicBezTo>
                    <a:pt x="44" y="76"/>
                    <a:pt x="42" y="74"/>
                    <a:pt x="42" y="72"/>
                  </a:cubicBezTo>
                  <a:cubicBezTo>
                    <a:pt x="42" y="70"/>
                    <a:pt x="44" y="68"/>
                    <a:pt x="46" y="68"/>
                  </a:cubicBezTo>
                  <a:cubicBezTo>
                    <a:pt x="48" y="68"/>
                    <a:pt x="50" y="70"/>
                    <a:pt x="50" y="72"/>
                  </a:cubicBezTo>
                  <a:close/>
                  <a:moveTo>
                    <a:pt x="39" y="43"/>
                  </a:moveTo>
                  <a:cubicBezTo>
                    <a:pt x="36" y="28"/>
                    <a:pt x="36" y="28"/>
                    <a:pt x="36" y="28"/>
                  </a:cubicBezTo>
                  <a:cubicBezTo>
                    <a:pt x="52" y="28"/>
                    <a:pt x="52" y="28"/>
                    <a:pt x="52" y="28"/>
                  </a:cubicBezTo>
                  <a:cubicBezTo>
                    <a:pt x="51" y="35"/>
                    <a:pt x="46" y="41"/>
                    <a:pt x="39" y="43"/>
                  </a:cubicBezTo>
                  <a:close/>
                  <a:moveTo>
                    <a:pt x="35" y="24"/>
                  </a:moveTo>
                  <a:cubicBezTo>
                    <a:pt x="27" y="9"/>
                    <a:pt x="27" y="9"/>
                    <a:pt x="27" y="9"/>
                  </a:cubicBezTo>
                  <a:cubicBezTo>
                    <a:pt x="29" y="9"/>
                    <a:pt x="31" y="8"/>
                    <a:pt x="34" y="8"/>
                  </a:cubicBezTo>
                  <a:cubicBezTo>
                    <a:pt x="43" y="8"/>
                    <a:pt x="51" y="15"/>
                    <a:pt x="52" y="24"/>
                  </a:cubicBezTo>
                  <a:lnTo>
                    <a:pt x="35" y="24"/>
                  </a:lnTo>
                  <a:close/>
                  <a:moveTo>
                    <a:pt x="74" y="28"/>
                  </a:moveTo>
                  <a:cubicBezTo>
                    <a:pt x="62" y="28"/>
                    <a:pt x="62" y="28"/>
                    <a:pt x="62" y="28"/>
                  </a:cubicBezTo>
                  <a:cubicBezTo>
                    <a:pt x="61" y="28"/>
                    <a:pt x="60" y="27"/>
                    <a:pt x="60" y="26"/>
                  </a:cubicBezTo>
                  <a:cubicBezTo>
                    <a:pt x="60" y="25"/>
                    <a:pt x="61" y="24"/>
                    <a:pt x="62" y="24"/>
                  </a:cubicBezTo>
                  <a:cubicBezTo>
                    <a:pt x="74" y="24"/>
                    <a:pt x="74" y="24"/>
                    <a:pt x="74" y="24"/>
                  </a:cubicBezTo>
                  <a:cubicBezTo>
                    <a:pt x="75" y="24"/>
                    <a:pt x="76" y="25"/>
                    <a:pt x="76" y="26"/>
                  </a:cubicBezTo>
                  <a:cubicBezTo>
                    <a:pt x="76" y="27"/>
                    <a:pt x="75" y="28"/>
                    <a:pt x="74" y="28"/>
                  </a:cubicBezTo>
                  <a:close/>
                  <a:moveTo>
                    <a:pt x="74" y="20"/>
                  </a:moveTo>
                  <a:cubicBezTo>
                    <a:pt x="62" y="20"/>
                    <a:pt x="62" y="20"/>
                    <a:pt x="62" y="20"/>
                  </a:cubicBezTo>
                  <a:cubicBezTo>
                    <a:pt x="61" y="20"/>
                    <a:pt x="60" y="19"/>
                    <a:pt x="60" y="18"/>
                  </a:cubicBezTo>
                  <a:cubicBezTo>
                    <a:pt x="60" y="17"/>
                    <a:pt x="61" y="16"/>
                    <a:pt x="62" y="16"/>
                  </a:cubicBezTo>
                  <a:cubicBezTo>
                    <a:pt x="74" y="16"/>
                    <a:pt x="74" y="16"/>
                    <a:pt x="74" y="16"/>
                  </a:cubicBezTo>
                  <a:cubicBezTo>
                    <a:pt x="75" y="16"/>
                    <a:pt x="76" y="17"/>
                    <a:pt x="76" y="18"/>
                  </a:cubicBezTo>
                  <a:cubicBezTo>
                    <a:pt x="76" y="19"/>
                    <a:pt x="75" y="20"/>
                    <a:pt x="74" y="20"/>
                  </a:cubicBezTo>
                  <a:close/>
                  <a:moveTo>
                    <a:pt x="74" y="12"/>
                  </a:moveTo>
                  <a:cubicBezTo>
                    <a:pt x="62" y="12"/>
                    <a:pt x="62" y="12"/>
                    <a:pt x="62" y="12"/>
                  </a:cubicBezTo>
                  <a:cubicBezTo>
                    <a:pt x="61" y="12"/>
                    <a:pt x="60" y="11"/>
                    <a:pt x="60" y="10"/>
                  </a:cubicBezTo>
                  <a:cubicBezTo>
                    <a:pt x="60" y="9"/>
                    <a:pt x="61" y="8"/>
                    <a:pt x="62" y="8"/>
                  </a:cubicBezTo>
                  <a:cubicBezTo>
                    <a:pt x="74" y="8"/>
                    <a:pt x="74" y="8"/>
                    <a:pt x="74" y="8"/>
                  </a:cubicBezTo>
                  <a:cubicBezTo>
                    <a:pt x="75" y="8"/>
                    <a:pt x="76" y="9"/>
                    <a:pt x="76" y="10"/>
                  </a:cubicBezTo>
                  <a:cubicBezTo>
                    <a:pt x="76" y="11"/>
                    <a:pt x="75" y="12"/>
                    <a:pt x="7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7" name="Rectangle 26">
            <a:extLst>
              <a:ext uri="{FF2B5EF4-FFF2-40B4-BE49-F238E27FC236}">
                <a16:creationId xmlns:a16="http://schemas.microsoft.com/office/drawing/2014/main" id="{7211ECB3-E34F-44B7-A71B-1CC613F72D0E}"/>
              </a:ext>
            </a:extLst>
          </p:cNvPr>
          <p:cNvSpPr/>
          <p:nvPr/>
        </p:nvSpPr>
        <p:spPr>
          <a:xfrm>
            <a:off x="304045" y="183376"/>
            <a:ext cx="7620651" cy="923330"/>
          </a:xfrm>
          <a:prstGeom prst="rect">
            <a:avLst/>
          </a:prstGeom>
        </p:spPr>
        <p:txBody>
          <a:bodyPr wrap="square" lIns="0" tIns="0" rIns="0" bIns="0" anchor="b" anchorCtr="0">
            <a:spAutoFit/>
          </a:bodyPr>
          <a:lstStyle/>
          <a:p>
            <a:r>
              <a:rPr lang="en-US" sz="6000" b="1" dirty="0">
                <a:solidFill>
                  <a:srgbClr val="8D198E"/>
                </a:solidFill>
                <a:latin typeface="Baskerville Old Face" panose="02020602080505020303" pitchFamily="18" charset="0"/>
                <a:ea typeface="Segoe UI Black" panose="020B0A02040204020203" pitchFamily="34" charset="0"/>
              </a:rPr>
              <a:t>Exploratory data analysis</a:t>
            </a:r>
          </a:p>
        </p:txBody>
      </p:sp>
      <p:cxnSp>
        <p:nvCxnSpPr>
          <p:cNvPr id="30" name="Straight Connector 29">
            <a:extLst>
              <a:ext uri="{FF2B5EF4-FFF2-40B4-BE49-F238E27FC236}">
                <a16:creationId xmlns:a16="http://schemas.microsoft.com/office/drawing/2014/main" id="{84D09BAF-01C6-4AF9-AE46-D2B1FF264480}"/>
              </a:ext>
            </a:extLst>
          </p:cNvPr>
          <p:cNvCxnSpPr>
            <a:cxnSpLocks/>
          </p:cNvCxnSpPr>
          <p:nvPr/>
        </p:nvCxnSpPr>
        <p:spPr>
          <a:xfrm>
            <a:off x="304045" y="3265842"/>
            <a:ext cx="6806874" cy="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2E9F111A-4873-477B-9604-D78EEF07A0C2}"/>
              </a:ext>
            </a:extLst>
          </p:cNvPr>
          <p:cNvSpPr txBox="1"/>
          <p:nvPr/>
        </p:nvSpPr>
        <p:spPr>
          <a:xfrm>
            <a:off x="450270" y="1234517"/>
            <a:ext cx="6988344" cy="2031325"/>
          </a:xfrm>
          <a:prstGeom prst="rect">
            <a:avLst/>
          </a:prstGeom>
          <a:noFill/>
        </p:spPr>
        <p:txBody>
          <a:bodyPr wrap="square">
            <a:spAutoFit/>
          </a:bodyPr>
          <a:lstStyle/>
          <a:p>
            <a:r>
              <a:rPr lang="en-US" b="0" dirty="0">
                <a:solidFill>
                  <a:srgbClr val="8D198E"/>
                </a:solidFill>
                <a:effectLst/>
                <a:latin typeface="Book Antiqua" panose="02040602050305030304" pitchFamily="18" charset="0"/>
              </a:rPr>
              <a:t>- Ask questions to find what are the key variables that are driving the churn</a:t>
            </a:r>
          </a:p>
          <a:p>
            <a:pPr marL="285750" indent="-285750">
              <a:buFontTx/>
              <a:buChar char="-"/>
            </a:pPr>
            <a:endParaRPr lang="en-US" b="0" dirty="0">
              <a:solidFill>
                <a:srgbClr val="8D198E"/>
              </a:solidFill>
              <a:effectLst/>
              <a:latin typeface="Book Antiqua" panose="02040602050305030304" pitchFamily="18" charset="0"/>
            </a:endParaRPr>
          </a:p>
          <a:p>
            <a:r>
              <a:rPr lang="en-US" b="0" dirty="0">
                <a:solidFill>
                  <a:srgbClr val="8D198E"/>
                </a:solidFill>
                <a:effectLst/>
                <a:latin typeface="Book Antiqua" panose="02040602050305030304" pitchFamily="18" charset="0"/>
              </a:rPr>
              <a:t>- Create visualizations for the churn rate for each variable</a:t>
            </a:r>
          </a:p>
          <a:p>
            <a:br>
              <a:rPr lang="en-US" b="0" dirty="0">
                <a:solidFill>
                  <a:srgbClr val="8D198E"/>
                </a:solidFill>
                <a:effectLst/>
                <a:latin typeface="Book Antiqua" panose="02040602050305030304" pitchFamily="18" charset="0"/>
              </a:rPr>
            </a:br>
            <a:r>
              <a:rPr lang="en-US" b="0" dirty="0">
                <a:solidFill>
                  <a:srgbClr val="8D198E"/>
                </a:solidFill>
                <a:effectLst/>
                <a:latin typeface="Book Antiqua" panose="02040602050305030304" pitchFamily="18" charset="0"/>
              </a:rPr>
              <a:t>- Explore each feature's dependency with churn and create visualization for each</a:t>
            </a:r>
          </a:p>
        </p:txBody>
      </p:sp>
      <p:sp>
        <p:nvSpPr>
          <p:cNvPr id="18" name="TextBox 17">
            <a:extLst>
              <a:ext uri="{FF2B5EF4-FFF2-40B4-BE49-F238E27FC236}">
                <a16:creationId xmlns:a16="http://schemas.microsoft.com/office/drawing/2014/main" id="{605610B0-A58B-410F-8A5E-FA47574E7576}"/>
              </a:ext>
            </a:extLst>
          </p:cNvPr>
          <p:cNvSpPr txBox="1"/>
          <p:nvPr/>
        </p:nvSpPr>
        <p:spPr>
          <a:xfrm>
            <a:off x="483369" y="3834803"/>
            <a:ext cx="5494395" cy="2862322"/>
          </a:xfrm>
          <a:prstGeom prst="rect">
            <a:avLst/>
          </a:prstGeom>
          <a:noFill/>
        </p:spPr>
        <p:txBody>
          <a:bodyPr wrap="square" rtlCol="0">
            <a:spAutoFit/>
          </a:bodyPr>
          <a:lstStyle/>
          <a:p>
            <a:r>
              <a:rPr lang="en-US" dirty="0">
                <a:solidFill>
                  <a:schemeClr val="bg1"/>
                </a:solidFill>
                <a:latin typeface="Book Antiqua" panose="02040602050305030304" pitchFamily="18" charset="0"/>
              </a:rPr>
              <a:t>1. Count plot shows the distribution of the churn rate in the data which showed an imbalance in the data.</a:t>
            </a:r>
          </a:p>
          <a:p>
            <a:r>
              <a:rPr lang="en-US" dirty="0">
                <a:solidFill>
                  <a:schemeClr val="bg1"/>
                </a:solidFill>
                <a:latin typeface="Book Antiqua" panose="02040602050305030304" pitchFamily="18" charset="0"/>
              </a:rPr>
              <a:t>2. Categorical features count plot insights:</a:t>
            </a:r>
          </a:p>
          <a:p>
            <a:r>
              <a:rPr lang="en-US" dirty="0">
                <a:solidFill>
                  <a:schemeClr val="bg1"/>
                </a:solidFill>
                <a:latin typeface="Book Antiqua" panose="02040602050305030304" pitchFamily="18" charset="0"/>
              </a:rPr>
              <a:t>    * Data is evenly distributed between the two genders; males and females, which might be useful in further analysis.</a:t>
            </a:r>
          </a:p>
          <a:p>
            <a:r>
              <a:rPr lang="en-US" dirty="0">
                <a:solidFill>
                  <a:schemeClr val="bg1"/>
                </a:solidFill>
                <a:latin typeface="Book Antiqua" panose="02040602050305030304" pitchFamily="18" charset="0"/>
              </a:rPr>
              <a:t>    *Replacing 'No Internet Service' and 'No Phone Service' entries with 'No'**.</a:t>
            </a:r>
          </a:p>
          <a:p>
            <a:endParaRPr lang="en-IL" dirty="0"/>
          </a:p>
        </p:txBody>
      </p:sp>
      <p:sp>
        <p:nvSpPr>
          <p:cNvPr id="17" name="Rectangle 34">
            <a:extLst>
              <a:ext uri="{FF2B5EF4-FFF2-40B4-BE49-F238E27FC236}">
                <a16:creationId xmlns:a16="http://schemas.microsoft.com/office/drawing/2014/main" id="{C19BDF46-192D-496B-826E-917CD53DF9BD}"/>
              </a:ext>
            </a:extLst>
          </p:cNvPr>
          <p:cNvSpPr/>
          <p:nvPr/>
        </p:nvSpPr>
        <p:spPr>
          <a:xfrm rot="10800000" flipV="1">
            <a:off x="-1" y="-30546"/>
            <a:ext cx="9184194" cy="3593005"/>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59199" y="93304"/>
                  <a:pt x="0" y="0"/>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0" name="Slide Number Placeholder 3">
            <a:extLst>
              <a:ext uri="{FF2B5EF4-FFF2-40B4-BE49-F238E27FC236}">
                <a16:creationId xmlns:a16="http://schemas.microsoft.com/office/drawing/2014/main" id="{5EAEF79E-91AF-41EB-B64D-EC9D1AD988EC}"/>
              </a:ext>
            </a:extLst>
          </p:cNvPr>
          <p:cNvSpPr txBox="1">
            <a:spLocks/>
          </p:cNvSpPr>
          <p:nvPr/>
        </p:nvSpPr>
        <p:spPr>
          <a:xfrm>
            <a:off x="11658612" y="6369817"/>
            <a:ext cx="367408" cy="27699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B84D2E29-67F4-44D8-B0E3-F54815B4F123}" type="slidenum">
              <a:rPr lang="en-US" sz="1200" smtClean="0">
                <a:solidFill>
                  <a:prstClr val="white"/>
                </a:solidFill>
                <a:latin typeface="Calibri" panose="020F0502020204030204"/>
              </a:rPr>
              <a:pPr algn="ctr"/>
              <a:t>9</a:t>
            </a:fld>
            <a:endParaRPr lang="en-US" sz="1200" dirty="0">
              <a:solidFill>
                <a:prstClr val="white"/>
              </a:solidFill>
              <a:latin typeface="Calibri" panose="020F0502020204030204"/>
            </a:endParaRPr>
          </a:p>
        </p:txBody>
      </p:sp>
    </p:spTree>
    <p:extLst>
      <p:ext uri="{BB962C8B-B14F-4D97-AF65-F5344CB8AC3E}">
        <p14:creationId xmlns:p14="http://schemas.microsoft.com/office/powerpoint/2010/main" val="16789079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Ujvd0OYssaufIkAFBUG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vYtTqbzdNWEvagXRU7He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_0IOEnPD.Cv4utU8_2uh7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vgZw2iL.2yQ.KwK62gA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crGeVB2J0.11dNmX_wK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KRBZtSHR3OuSJzhCtKm3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vYtTqbzdNWEvagXRU7Hew"/>
</p:tagLst>
</file>

<file path=ppt/theme/theme1.xml><?xml version="1.0" encoding="utf-8"?>
<a:theme xmlns:a="http://schemas.openxmlformats.org/drawingml/2006/main" name="Office Theme">
  <a:themeElements>
    <a:clrScheme name="Custom 30">
      <a:dk1>
        <a:sysClr val="windowText" lastClr="000000"/>
      </a:dk1>
      <a:lt1>
        <a:sysClr val="window" lastClr="FFFFFF"/>
      </a:lt1>
      <a:dk2>
        <a:srgbClr val="44546A"/>
      </a:dk2>
      <a:lt2>
        <a:srgbClr val="E7E6E6"/>
      </a:lt2>
      <a:accent1>
        <a:srgbClr val="652D74"/>
      </a:accent1>
      <a:accent2>
        <a:srgbClr val="A53975"/>
      </a:accent2>
      <a:accent3>
        <a:srgbClr val="1F8492"/>
      </a:accent3>
      <a:accent4>
        <a:srgbClr val="DBCBD8"/>
      </a:accent4>
      <a:accent5>
        <a:srgbClr val="564787"/>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a:gsLst>
            <a:gs pos="21000">
              <a:schemeClr val="accent1">
                <a:alpha val="85000"/>
              </a:schemeClr>
            </a:gs>
            <a:gs pos="100000">
              <a:schemeClr val="accent2">
                <a:alpha val="90000"/>
              </a:schemeClr>
            </a:gs>
          </a:gsLst>
          <a:lin ang="13500000" scaled="1"/>
        </a:gra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05</TotalTime>
  <Words>2793</Words>
  <Application>Microsoft Office PowerPoint</Application>
  <PresentationFormat>Widescreen</PresentationFormat>
  <Paragraphs>397</Paragraphs>
  <Slides>26</Slides>
  <Notes>19</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41" baseType="lpstr">
      <vt:lpstr>Arial</vt:lpstr>
      <vt:lpstr>Bahnschrift SemiBold</vt:lpstr>
      <vt:lpstr>Barlow Condensed</vt:lpstr>
      <vt:lpstr>Baskerville Old Face</vt:lpstr>
      <vt:lpstr>Book Antiqua</vt:lpstr>
      <vt:lpstr>Calibri</vt:lpstr>
      <vt:lpstr>Century Gothic</vt:lpstr>
      <vt:lpstr>Georgia</vt:lpstr>
      <vt:lpstr>Helvetica Light</vt:lpstr>
      <vt:lpstr>Lato</vt:lpstr>
      <vt:lpstr>Libre Baskerville</vt:lpstr>
      <vt:lpstr>Open Sans Light</vt:lpstr>
      <vt:lpstr>Roboto Regular</vt:lpstr>
      <vt:lpstr>Office Theme</vt:lpstr>
      <vt:lpstr>think-cell Slide</vt:lpstr>
      <vt:lpstr>Python Project</vt:lpstr>
      <vt:lpstr> The problem</vt:lpstr>
      <vt:lpstr>PowerPoint Presentation</vt:lpstr>
      <vt:lpstr>PowerPoint Presentation</vt:lpstr>
      <vt:lpstr>What is the distribution of the labels? _________________________________________________________________________________________________ </vt:lpstr>
      <vt:lpstr>Data  description:</vt:lpstr>
      <vt:lpstr>Initial Questions</vt:lpstr>
      <vt:lpstr>PowerPoint Presentation</vt:lpstr>
      <vt:lpstr>PowerPoint Presentation</vt:lpstr>
      <vt:lpstr>PowerPoint Presentation</vt:lpstr>
      <vt:lpstr>Tenure Group distribution</vt:lpstr>
      <vt:lpstr>Payment Method</vt:lpstr>
      <vt:lpstr> Distribution of Charges:</vt:lpstr>
      <vt:lpstr>PowerPoint Presentation</vt:lpstr>
      <vt:lpstr>Partner and Senior Citizen Analysis </vt:lpstr>
      <vt:lpstr>Correlation between numerical feature.</vt:lpstr>
      <vt:lpstr>Executive Summary</vt:lpstr>
      <vt:lpstr>ML Algorithms</vt:lpstr>
      <vt:lpstr>Best max depth and estimators for Classifiers!</vt:lpstr>
      <vt:lpstr>KNN - K Nearest Neighbors  (The best n_neighbors=8)</vt:lpstr>
      <vt:lpstr>PowerPoint Presentation</vt:lpstr>
      <vt:lpstr>Random Forest model</vt:lpstr>
      <vt:lpstr>PowerPoint Presentation</vt:lpstr>
      <vt:lpstr>PowerPoint Presentation</vt:lpstr>
      <vt:lpstr>PowerPoint Presentation</vt:lpstr>
      <vt:lpstr>Recommend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INALD</dc:creator>
  <cp:lastModifiedBy>Tatiana Shupik</cp:lastModifiedBy>
  <cp:revision>288</cp:revision>
  <dcterms:created xsi:type="dcterms:W3CDTF">2019-05-28T07:34:16Z</dcterms:created>
  <dcterms:modified xsi:type="dcterms:W3CDTF">2025-01-19T15:41:49Z</dcterms:modified>
</cp:coreProperties>
</file>